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1.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12.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ags/tag25.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26.xml" ContentType="application/vnd.openxmlformats-officedocument.presentationml.tags+xml"/>
  <Override PartName="/ppt/ink/ink1.xml" ContentType="application/inkml+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68" r:id="rId4"/>
    <p:sldMasterId id="2147483987" r:id="rId5"/>
    <p:sldMasterId id="2147484007" r:id="rId6"/>
    <p:sldMasterId id="2147484021" r:id="rId7"/>
    <p:sldMasterId id="2147484040" r:id="rId8"/>
  </p:sldMasterIdLst>
  <p:notesMasterIdLst>
    <p:notesMasterId r:id="rId12"/>
  </p:notesMasterIdLst>
  <p:handoutMasterIdLst>
    <p:handoutMasterId r:id="rId13"/>
  </p:handoutMasterIdLst>
  <p:sldIdLst>
    <p:sldId id="257" r:id="rId9"/>
    <p:sldId id="2147475029" r:id="rId10"/>
    <p:sldId id="2147475078" r:id="rId11"/>
  </p:sldIdLst>
  <p:sldSz cx="12192000" cy="6858000"/>
  <p:notesSz cx="6858000" cy="9144000"/>
  <p:custDataLst>
    <p:tags r:id="rId1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userDrawn="1">
          <p15:clr>
            <a:srgbClr val="A4A3A4"/>
          </p15:clr>
        </p15:guide>
        <p15:guide id="3" orient="horz"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312F708-EA4B-54E6-BFD2-71A8E7161317}" name="ROUYER Mila" initials="RM" userId="S::mila.rouyer@rte-france.com::d20ef8a9-40c3-449f-8c6c-ea5478f30131" providerId="AD"/>
  <p188:author id="{66B6F417-7EF1-FC5B-F4D6-571BC66CF653}" name="Becker, Paulina" initials="BP" userId="S::paulina.becker_tennet.eu#ext#@entsoe00.onmicrosoft.com::80db675b-a3a3-4c79-8c61-0a6da66acc24" providerId="AD"/>
  <p188:author id="{93586B1B-3AC9-A27E-4297-144F897B4504}" name="Tome Alonso, Marta" initials="TM" userId="S::mtome_ree.es#ext#@entsoe00.onmicrosoft.com::cdb75e97-54eb-459d-8e02-c6ff16a79468" providerId="AD"/>
  <p188:author id="{1934E32D-0888-EEE9-E7AD-E97F8217FEF9}" name="Henrik Winkler Mogensen" initials="HWM" userId="Henrik Winkler Mogensen" providerId="None"/>
  <p188:author id="{A1977130-E3DE-01C9-3662-57E52295B5F9}" name="Abert Ulrike" initials="AU" userId="S::u.abert_transnetbw.de#ext#@entsoe00.onmicrosoft.com::dc9ba775-2329-4037-9f4a-1f8d82039050" providerId="AD"/>
  <p188:author id="{C6CCEE31-D43E-47F3-7271-129B6F9BCD51}" name="Hrdlička Václav" initials="HV" userId="S::hrdlickav_ceps.cz#ext#@entsoe00.onmicrosoft.com::a4d2c2e5-e382-418d-b988-0be2d1e217b0" providerId="AD"/>
  <p188:author id="{DC172C42-2117-9AC0-481A-DE5F5552EFBB}" name="Henrik Winkler Mogensen" initials="HM" userId="S::hwm_energinet.dk#ext#@entsoe00.onmicrosoft.com::1895cd4d-559e-4c33-97f9-e92511e64d18" providerId="AD"/>
  <p188:author id="{8B34E556-B541-B333-3E12-DBCE4BCFA942}" name="Nicoletta Michael" initials="NM" userId="S::nmichael@entsoe.eu::fdafa4d3-970f-4618-bb55-6e85a6502b58" providerId="AD"/>
  <p188:author id="{B8999160-A5F1-DE5C-A873-9F5B4C5B57A1}" name="de Villenfagne Cyriac" initials="dC" userId="S::cyriac.devillenfagne_elia.be#ext#@entsoe00.onmicrosoft.com::ae018f7f-c493-4251-ba4e-ccb8c2cd22b2" providerId="AD"/>
  <p188:author id="{08B82862-98D0-5A6E-95C4-E30FE454F3FE}" name="Östberg, Håkan" initials="ÖH" userId="S::hakan.ostberg_svk.se#ext#@entsoe00.onmicrosoft.com::405706df-1361-4578-85e1-eca630ad01f3" providerId="AD"/>
  <p188:author id="{B9A6D76A-5E99-C76A-CCED-B9B244EA7891}" name="Visser, Sebastiaan" initials="SV" userId="S::Sebastiaan.Visser@tennet.eu::c18f0930-51da-4fb1-a371-a4fdce353bc7" providerId="AD"/>
  <p188:author id="{60B7826B-578D-374D-6F2B-A1263C1EA625}" name="Mariňák Sebastián" initials="MS" userId="S::marinak_ceps.cz#ext#@entsoe00.onmicrosoft.com::e44cdf97-4daa-4117-9e19-3f582a86502f" providerId="AD"/>
  <p188:author id="{2AB74886-50F7-35E6-70A2-B33DB425175C}" name="Svensson, Stefan" initials="SS" userId="S::stefan.svensson_svk.se#ext#@entsoe00.onmicrosoft.com::00cec28b-41e0-4081-bdd3-425d4b6f0b44" providerId="AD"/>
  <p188:author id="{27B7F786-6367-469A-0618-BCCDDEFEF7D8}" name="Thévenin Vincent (50HzT MK-I)" initials="TM" userId="S::vincent.thevenin_50hertz.com#ext#@entsoe00.onmicrosoft.com::55716687-e299-4b5e-8a55-fa904094b69a" providerId="AD"/>
  <p188:author id="{89F30694-4A8C-20C6-261A-4EFF523EF09E}" name="Van Campenhout Steve" initials="VS" userId="S::steve.vancampenhout_elia.be#ext#@entsoe00.onmicrosoft.com::227d3174-7197-42b8-8ed6-900ec3fac275" providerId="AD"/>
  <p188:author id="{5DFC9A9B-0A79-535F-2BE7-B3858656954B}" name="de Villenfagne Cyriac" initials="dVC" userId="S::CD0008@Belgrid.net::c0143e2d-19fe-4f5f-99bc-fbe2c8fa97c7" providerId="AD"/>
  <p188:author id="{F71E17AB-F6DA-95A5-8911-E90B07BEFA13}" name="Huxoll, Justus" initials="JH" userId="Huxoll, Justus" providerId="None"/>
  <p188:author id="{2BC1DBB3-0A01-BB3D-A770-A1D5ED0DE2BA}" name="Linnea Nyman" initials="LN" userId="S::lnyman1@entsoe.eu::25ee9df4-2755-463a-9de8-44cb4951d7ea" providerId="AD"/>
  <p188:author id="{CB69A4CD-1261-6E0B-EAAE-88A04DE60A79}" name="Kraus, Stefan" initials="KS" userId="S::stefan.kraus_amprion.net#ext#@entsoe00.onmicrosoft.com::d40d60b4-31ad-4990-9bb5-6df52d09bcc6" providerId="AD"/>
  <p188:author id="{7CC45AD4-1444-0FF2-5894-D765AD9AEEC5}" name="Visser, Sebastiaan" initials="VS" userId="S::sebastiaan.visser_tennet.eu#ext#@entsoe00.onmicrosoft.com::70e5fc77-d0d6-485a-983b-a5756250ad2d" providerId="AD"/>
  <p188:author id="{5AA314E0-513C-AD87-BF7F-CC13B8E1B48A}" name="Tobias Lehle" initials="TL" userId="S::t.lehle@magnus.nl::a035a51e-d010-41a5-bbff-eced4da23963" providerId="AD"/>
  <p188:author id="{7D5802E4-6956-A13C-FD80-F9C79DE6FF6C}" name="Valbuena Guerra, Alba" initials="VA" userId="S::alba.valbuena_ree.es#ext#@entsoe00.onmicrosoft.com::215291ad-a7a0-4362-a4d3-ba26139dcbd1" providerId="AD"/>
  <p188:author id="{735420E6-8D49-C925-9EC1-CBB248AF52BF}" name="Kamperin, Per" initials="KP" userId="S::per.kamperin_svk.se#ext#@entsoe00.onmicrosoft.com::c890ee40-f060-4b81-a989-5c04dd932fe9" providerId="AD"/>
  <p188:author id="{90FD17F6-E38E-15CF-0608-AEA116205A99}" name="Huxoll, Justus" initials="HJ" userId="S::justus.huxoll_amprion.net#ext#@entsoe00.onmicrosoft.com::f7d9b77f-c1f5-4458-880b-f3ff62071a88" providerId="AD"/>
  <p188:author id="{670958F9-8DC1-FE52-610D-E98EAAF8C896}" name="Thévenin Vincent (50HzT OK-X)" initials="VT" userId="S::vthevenin@corp.transmission-it.de::77f73074-9dd0-402c-bf24-8380db7d1b1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Ignacio Zubieta Ochoa" initials="IZO" lastIdx="12" clrIdx="0">
    <p:extLst>
      <p:ext uri="{19B8F6BF-5375-455C-9EA6-DF929625EA0E}">
        <p15:presenceInfo xmlns:p15="http://schemas.microsoft.com/office/powerpoint/2012/main" userId="S::IZubietaOchoa@entsoe.eu::31221497-765f-40fd-97db-d53dab6b8d7b" providerId="AD"/>
      </p:ext>
    </p:extLst>
  </p:cmAuthor>
  <p:cmAuthor id="2" name="Janine Kieftenburg" initials="JK" lastIdx="8" clrIdx="1">
    <p:extLst>
      <p:ext uri="{19B8F6BF-5375-455C-9EA6-DF929625EA0E}">
        <p15:presenceInfo xmlns:p15="http://schemas.microsoft.com/office/powerpoint/2012/main" userId="S::j.kieftenburg@magnus.nl::87b80e70-5142-47c5-964d-77cea50a85f2" providerId="AD"/>
      </p:ext>
    </p:extLst>
  </p:cmAuthor>
  <p:cmAuthor id="3" name="Anna Veronika Kiraly" initials="AVK [2]" lastIdx="2" clrIdx="2">
    <p:extLst>
      <p:ext uri="{19B8F6BF-5375-455C-9EA6-DF929625EA0E}">
        <p15:presenceInfo xmlns:p15="http://schemas.microsoft.com/office/powerpoint/2012/main" userId="Anna Veronika Kiral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1F99"/>
    <a:srgbClr val="0F218B"/>
    <a:srgbClr val="649A40"/>
    <a:srgbClr val="FF4D00"/>
    <a:srgbClr val="D6DCE4"/>
    <a:srgbClr val="D1E6C4"/>
    <a:srgbClr val="FFF2CC"/>
    <a:srgbClr val="E2EFDA"/>
    <a:srgbClr val="E6E6E6"/>
    <a:srgbClr val="00964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BF46688-D49E-1416-D7B6-8117B13B2EF3}" v="43" dt="2025-06-18T12:13:43.052"/>
    <p1510:client id="{7D3D2930-6641-5677-2D90-6457B1023616}" v="1" dt="2025-06-18T13:11:35.579"/>
    <p1510:client id="{C4E95FB4-7ED9-DB42-BC43-4C40151C81FB}" v="88" dt="2025-06-18T14:19:26.929"/>
  </p1510:revLst>
</p1510:revInfo>
</file>

<file path=ppt/tableStyles.xml><?xml version="1.0" encoding="utf-8"?>
<a:tblStyleLst xmlns:a="http://schemas.openxmlformats.org/drawingml/2006/main" def="{3B4B98B0-60AC-42C2-AFA5-B58CD77FA1E5}">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ittlere Formatvorlag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E171933-4619-4E11-9A3F-F7608DF75F80}" styleName="Mittlere Formatvorlage 1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ittlere Formatvorlage 1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75DCB02-9BB8-47FD-8907-85C794F793BA}" styleName="Designformatvorlage 1 - Akz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27102A9-8310-4765-A935-A1911B00CA55}" styleName="Style léger 1 - Accentuation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pos="3840"/>
        <p:guide orient="horz" pos="2160"/>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8/10/relationships/authors" Target="authors.xml"/><Relationship Id="rId7" Type="http://schemas.openxmlformats.org/officeDocument/2006/relationships/slideMaster" Target="slideMasters/slideMaster4.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5" Type="http://schemas.openxmlformats.org/officeDocument/2006/relationships/slideMaster" Target="slideMasters/slideMaster2.xml"/><Relationship Id="rId15" Type="http://schemas.openxmlformats.org/officeDocument/2006/relationships/commentAuthors" Target="commentAuthors.xml"/><Relationship Id="rId10" Type="http://schemas.openxmlformats.org/officeDocument/2006/relationships/slide" Target="slides/slide2.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_80000147_96CF21CE.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_80000148_6793E495.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_80000149_1A24C797.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_8000015A_42F8A478.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_8000015B_181EF958.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_8000015C_DCB473D7.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Title of chart</a:t>
            </a:r>
          </a:p>
        </c:rich>
      </c:tx>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barChart>
        <c:barDir val="col"/>
        <c:grouping val="stacked"/>
        <c:varyColors val="0"/>
        <c:ser>
          <c:idx val="0"/>
          <c:order val="0"/>
          <c:tx>
            <c:strRef>
              <c:f>Tabelle1!$B$1</c:f>
              <c:strCache>
                <c:ptCount val="1"/>
                <c:pt idx="0">
                  <c:v>Data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4.3</c:v>
                </c:pt>
                <c:pt idx="1">
                  <c:v>1.5</c:v>
                </c:pt>
                <c:pt idx="2">
                  <c:v>3.5</c:v>
                </c:pt>
                <c:pt idx="3">
                  <c:v>4.5</c:v>
                </c:pt>
              </c:numCache>
            </c:numRef>
          </c:val>
          <c:extLst>
            <c:ext xmlns:c16="http://schemas.microsoft.com/office/drawing/2014/chart" uri="{C3380CC4-5D6E-409C-BE32-E72D297353CC}">
              <c16:uniqueId val="{00000000-59B1-5B48-8B9E-0F434E37979F}"/>
            </c:ext>
          </c:extLst>
        </c:ser>
        <c:ser>
          <c:idx val="1"/>
          <c:order val="1"/>
          <c:tx>
            <c:strRef>
              <c:f>Tabelle1!$C$1</c:f>
              <c:strCache>
                <c:ptCount val="1"/>
                <c:pt idx="0">
                  <c:v>Data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C$2:$C$5</c:f>
              <c:numCache>
                <c:formatCode>General</c:formatCode>
                <c:ptCount val="4"/>
                <c:pt idx="0">
                  <c:v>2.4</c:v>
                </c:pt>
                <c:pt idx="1">
                  <c:v>2.4</c:v>
                </c:pt>
                <c:pt idx="2">
                  <c:v>1.8</c:v>
                </c:pt>
                <c:pt idx="3">
                  <c:v>2.8</c:v>
                </c:pt>
              </c:numCache>
            </c:numRef>
          </c:val>
          <c:extLst>
            <c:ext xmlns:c16="http://schemas.microsoft.com/office/drawing/2014/chart" uri="{C3380CC4-5D6E-409C-BE32-E72D297353CC}">
              <c16:uniqueId val="{00000001-59B1-5B48-8B9E-0F434E37979F}"/>
            </c:ext>
          </c:extLst>
        </c:ser>
        <c:ser>
          <c:idx val="2"/>
          <c:order val="2"/>
          <c:tx>
            <c:strRef>
              <c:f>Tabelle1!$D$1</c:f>
              <c:strCache>
                <c:ptCount val="1"/>
                <c:pt idx="0">
                  <c:v>Data 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59B1-5B48-8B9E-0F434E37979F}"/>
            </c:ext>
          </c:extLst>
        </c:ser>
        <c:dLbls>
          <c:showLegendKey val="0"/>
          <c:showVal val="0"/>
          <c:showCatName val="0"/>
          <c:showSerName val="0"/>
          <c:showPercent val="0"/>
          <c:showBubbleSize val="0"/>
        </c:dLbls>
        <c:gapWidth val="79"/>
        <c:overlap val="100"/>
        <c:axId val="112657952"/>
        <c:axId val="-79949744"/>
      </c:barChart>
      <c:catAx>
        <c:axId val="11265795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79949744"/>
        <c:crosses val="autoZero"/>
        <c:auto val="1"/>
        <c:lblAlgn val="ctr"/>
        <c:lblOffset val="100"/>
        <c:noMultiLvlLbl val="0"/>
      </c:catAx>
      <c:valAx>
        <c:axId val="-79949744"/>
        <c:scaling>
          <c:orientation val="minMax"/>
        </c:scaling>
        <c:delete val="1"/>
        <c:axPos val="l"/>
        <c:numFmt formatCode="General" sourceLinked="1"/>
        <c:majorTickMark val="none"/>
        <c:minorTickMark val="none"/>
        <c:tickLblPos val="nextTo"/>
        <c:crossAx val="112657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r>
              <a:rPr lang="de-DE"/>
              <a:t>Title of chart; edit data /colours by using the icons which appear on the right side if you click   </a:t>
            </a:r>
          </a:p>
        </c:rich>
      </c:tx>
      <c:overlay val="0"/>
      <c:spPr>
        <a:noFill/>
        <a:ln>
          <a:noFill/>
        </a:ln>
        <a:effectLst/>
      </c:spPr>
      <c:txPr>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endParaRPr lang="en-US"/>
        </a:p>
      </c:txPr>
    </c:title>
    <c:autoTitleDeleted val="0"/>
    <c:plotArea>
      <c:layout/>
      <c:areaChart>
        <c:grouping val="standard"/>
        <c:varyColors val="0"/>
        <c:ser>
          <c:idx val="0"/>
          <c:order val="0"/>
          <c:tx>
            <c:strRef>
              <c:f>Tabelle1!$B$1</c:f>
              <c:strCache>
                <c:ptCount val="1"/>
                <c:pt idx="0">
                  <c:v>Data 1</c:v>
                </c:pt>
              </c:strCache>
            </c:strRef>
          </c:tx>
          <c:spPr>
            <a:solidFill>
              <a:schemeClr val="accent1"/>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A135-0840-AE9B-B74998F1490A}"/>
            </c:ext>
          </c:extLst>
        </c:ser>
        <c:ser>
          <c:idx val="1"/>
          <c:order val="1"/>
          <c:tx>
            <c:strRef>
              <c:f>Tabelle1!$C$1</c:f>
              <c:strCache>
                <c:ptCount val="1"/>
                <c:pt idx="0">
                  <c:v>Data 2</c:v>
                </c:pt>
              </c:strCache>
            </c:strRef>
          </c:tx>
          <c:spPr>
            <a:solidFill>
              <a:schemeClr val="accent3"/>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A135-0840-AE9B-B74998F1490A}"/>
            </c:ext>
          </c:extLst>
        </c:ser>
        <c:ser>
          <c:idx val="2"/>
          <c:order val="2"/>
          <c:tx>
            <c:strRef>
              <c:f>Tabelle1!$D$1</c:f>
              <c:strCache>
                <c:ptCount val="1"/>
                <c:pt idx="0">
                  <c:v>Column 1</c:v>
                </c:pt>
              </c:strCache>
            </c:strRef>
          </c:tx>
          <c:spPr>
            <a:solidFill>
              <a:schemeClr val="accent5"/>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D$2:$D$6</c:f>
              <c:numCache>
                <c:formatCode>General</c:formatCode>
                <c:ptCount val="5"/>
              </c:numCache>
            </c:numRef>
          </c:val>
          <c:extLst>
            <c:ext xmlns:c16="http://schemas.microsoft.com/office/drawing/2014/chart" uri="{C3380CC4-5D6E-409C-BE32-E72D297353CC}">
              <c16:uniqueId val="{00000002-A135-0840-AE9B-B74998F1490A}"/>
            </c:ext>
          </c:extLst>
        </c:ser>
        <c:ser>
          <c:idx val="3"/>
          <c:order val="3"/>
          <c:tx>
            <c:strRef>
              <c:f>Tabelle1!$E$1</c:f>
              <c:strCache>
                <c:ptCount val="1"/>
                <c:pt idx="0">
                  <c:v>Column 2</c:v>
                </c:pt>
              </c:strCache>
            </c:strRef>
          </c:tx>
          <c:spPr>
            <a:solidFill>
              <a:schemeClr val="accent1">
                <a:lumMod val="60000"/>
              </a:schemeClr>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E$2:$E$6</c:f>
              <c:numCache>
                <c:formatCode>General</c:formatCode>
                <c:ptCount val="5"/>
              </c:numCache>
            </c:numRef>
          </c:val>
          <c:extLst>
            <c:ext xmlns:c16="http://schemas.microsoft.com/office/drawing/2014/chart" uri="{C3380CC4-5D6E-409C-BE32-E72D297353CC}">
              <c16:uniqueId val="{00000003-A135-0840-AE9B-B74998F1490A}"/>
            </c:ext>
          </c:extLst>
        </c:ser>
        <c:dLbls>
          <c:showLegendKey val="0"/>
          <c:showVal val="0"/>
          <c:showCatName val="0"/>
          <c:showSerName val="0"/>
          <c:showPercent val="0"/>
          <c:showBubbleSize val="0"/>
        </c:dLbls>
        <c:axId val="5862096"/>
        <c:axId val="90308880"/>
      </c:areaChart>
      <c:dateAx>
        <c:axId val="5862096"/>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90308880"/>
        <c:crosses val="autoZero"/>
        <c:auto val="1"/>
        <c:lblOffset val="100"/>
        <c:baseTimeUnit val="months"/>
      </c:dateAx>
      <c:valAx>
        <c:axId val="903088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586209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legend>
    <c:plotVisOnly val="1"/>
    <c:dispBlanksAs val="zero"/>
    <c:showDLblsOverMax val="0"/>
  </c:chart>
  <c:spPr>
    <a:noFill/>
    <a:ln>
      <a:noFill/>
    </a:ln>
    <a:effectLst/>
  </c:spPr>
  <c:txPr>
    <a:bodyPr/>
    <a:lstStyle/>
    <a:p>
      <a:pPr>
        <a:defRPr>
          <a:solidFill>
            <a:srgbClr val="313131"/>
          </a:solidFill>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Edit title of pie chart here</a:t>
            </a:r>
            <a:endParaRPr lang="en-US"/>
          </a:p>
        </c:rich>
      </c:tx>
      <c:layout>
        <c:manualLayout>
          <c:xMode val="edge"/>
          <c:yMode val="edge"/>
          <c:x val="0.171984797852507"/>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pieChart>
        <c:varyColors val="1"/>
        <c:ser>
          <c:idx val="0"/>
          <c:order val="0"/>
          <c:tx>
            <c:strRef>
              <c:f>Tabelle1!$B$1</c:f>
              <c:strCache>
                <c:ptCount val="1"/>
                <c:pt idx="0">
                  <c:v>Verkauf</c:v>
                </c:pt>
              </c:strCache>
            </c:strRef>
          </c:tx>
          <c:explosion val="1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723-114E-9886-4C74289445E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723-114E-9886-4C74289445E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723-114E-9886-4C74289445E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723-114E-9886-4C74289445EE}"/>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723-114E-9886-4C74289445EE}"/>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4723-114E-9886-4C74289445EE}"/>
              </c:ext>
            </c:extLst>
          </c:dPt>
          <c:cat>
            <c:strRef>
              <c:f>Tabelle1!$A$2:$A$7</c:f>
              <c:strCache>
                <c:ptCount val="6"/>
                <c:pt idx="0">
                  <c:v>1. Lorem</c:v>
                </c:pt>
                <c:pt idx="1">
                  <c:v>2. Lorem</c:v>
                </c:pt>
                <c:pt idx="2">
                  <c:v>3. Lorem</c:v>
                </c:pt>
                <c:pt idx="3">
                  <c:v>4. Lorem</c:v>
                </c:pt>
                <c:pt idx="4">
                  <c:v>5. Lorem</c:v>
                </c:pt>
                <c:pt idx="5">
                  <c:v>6.Lorem</c:v>
                </c:pt>
              </c:strCache>
            </c:strRef>
          </c:cat>
          <c:val>
            <c:numRef>
              <c:f>Tabelle1!$B$2:$B$7</c:f>
              <c:numCache>
                <c:formatCode>General</c:formatCode>
                <c:ptCount val="6"/>
                <c:pt idx="0">
                  <c:v>40</c:v>
                </c:pt>
                <c:pt idx="1">
                  <c:v>20</c:v>
                </c:pt>
                <c:pt idx="2">
                  <c:v>5</c:v>
                </c:pt>
                <c:pt idx="3">
                  <c:v>5</c:v>
                </c:pt>
                <c:pt idx="4">
                  <c:v>10</c:v>
                </c:pt>
                <c:pt idx="5">
                  <c:v>10</c:v>
                </c:pt>
              </c:numCache>
            </c:numRef>
          </c:val>
          <c:extLst>
            <c:ext xmlns:c16="http://schemas.microsoft.com/office/drawing/2014/chart" uri="{C3380CC4-5D6E-409C-BE32-E72D297353CC}">
              <c16:uniqueId val="{0000000C-4723-114E-9886-4C74289445EE}"/>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Title of chart</a:t>
            </a:r>
          </a:p>
        </c:rich>
      </c:tx>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barChart>
        <c:barDir val="col"/>
        <c:grouping val="stacked"/>
        <c:varyColors val="0"/>
        <c:ser>
          <c:idx val="0"/>
          <c:order val="0"/>
          <c:tx>
            <c:strRef>
              <c:f>Tabelle1!$B$1</c:f>
              <c:strCache>
                <c:ptCount val="1"/>
                <c:pt idx="0">
                  <c:v>Data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4.3</c:v>
                </c:pt>
                <c:pt idx="1">
                  <c:v>1.5</c:v>
                </c:pt>
                <c:pt idx="2">
                  <c:v>3.5</c:v>
                </c:pt>
                <c:pt idx="3">
                  <c:v>4.5</c:v>
                </c:pt>
              </c:numCache>
            </c:numRef>
          </c:val>
          <c:extLst>
            <c:ext xmlns:c16="http://schemas.microsoft.com/office/drawing/2014/chart" uri="{C3380CC4-5D6E-409C-BE32-E72D297353CC}">
              <c16:uniqueId val="{00000000-59B1-5B48-8B9E-0F434E37979F}"/>
            </c:ext>
          </c:extLst>
        </c:ser>
        <c:ser>
          <c:idx val="1"/>
          <c:order val="1"/>
          <c:tx>
            <c:strRef>
              <c:f>Tabelle1!$C$1</c:f>
              <c:strCache>
                <c:ptCount val="1"/>
                <c:pt idx="0">
                  <c:v>Data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C$2:$C$5</c:f>
              <c:numCache>
                <c:formatCode>General</c:formatCode>
                <c:ptCount val="4"/>
                <c:pt idx="0">
                  <c:v>2.4</c:v>
                </c:pt>
                <c:pt idx="1">
                  <c:v>2.4</c:v>
                </c:pt>
                <c:pt idx="2">
                  <c:v>1.8</c:v>
                </c:pt>
                <c:pt idx="3">
                  <c:v>2.8</c:v>
                </c:pt>
              </c:numCache>
            </c:numRef>
          </c:val>
          <c:extLst>
            <c:ext xmlns:c16="http://schemas.microsoft.com/office/drawing/2014/chart" uri="{C3380CC4-5D6E-409C-BE32-E72D297353CC}">
              <c16:uniqueId val="{00000001-59B1-5B48-8B9E-0F434E37979F}"/>
            </c:ext>
          </c:extLst>
        </c:ser>
        <c:ser>
          <c:idx val="2"/>
          <c:order val="2"/>
          <c:tx>
            <c:strRef>
              <c:f>Tabelle1!$D$1</c:f>
              <c:strCache>
                <c:ptCount val="1"/>
                <c:pt idx="0">
                  <c:v>Data 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59B1-5B48-8B9E-0F434E37979F}"/>
            </c:ext>
          </c:extLst>
        </c:ser>
        <c:dLbls>
          <c:showLegendKey val="0"/>
          <c:showVal val="0"/>
          <c:showCatName val="0"/>
          <c:showSerName val="0"/>
          <c:showPercent val="0"/>
          <c:showBubbleSize val="0"/>
        </c:dLbls>
        <c:gapWidth val="79"/>
        <c:overlap val="100"/>
        <c:axId val="112657952"/>
        <c:axId val="-79949744"/>
      </c:barChart>
      <c:catAx>
        <c:axId val="11265795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79949744"/>
        <c:crosses val="autoZero"/>
        <c:auto val="1"/>
        <c:lblAlgn val="ctr"/>
        <c:lblOffset val="100"/>
        <c:noMultiLvlLbl val="0"/>
      </c:catAx>
      <c:valAx>
        <c:axId val="-79949744"/>
        <c:scaling>
          <c:orientation val="minMax"/>
        </c:scaling>
        <c:delete val="1"/>
        <c:axPos val="l"/>
        <c:numFmt formatCode="General" sourceLinked="1"/>
        <c:majorTickMark val="none"/>
        <c:minorTickMark val="none"/>
        <c:tickLblPos val="nextTo"/>
        <c:crossAx val="112657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r>
              <a:rPr lang="de-DE"/>
              <a:t>Title of chart; edit data /colours by using the icons which appear on the right side if you click   </a:t>
            </a:r>
          </a:p>
        </c:rich>
      </c:tx>
      <c:overlay val="0"/>
      <c:spPr>
        <a:noFill/>
        <a:ln>
          <a:noFill/>
        </a:ln>
        <a:effectLst/>
      </c:spPr>
      <c:txPr>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endParaRPr lang="en-US"/>
        </a:p>
      </c:txPr>
    </c:title>
    <c:autoTitleDeleted val="0"/>
    <c:plotArea>
      <c:layout/>
      <c:areaChart>
        <c:grouping val="standard"/>
        <c:varyColors val="0"/>
        <c:ser>
          <c:idx val="0"/>
          <c:order val="0"/>
          <c:tx>
            <c:strRef>
              <c:f>Tabelle1!$B$1</c:f>
              <c:strCache>
                <c:ptCount val="1"/>
                <c:pt idx="0">
                  <c:v>Data 1</c:v>
                </c:pt>
              </c:strCache>
            </c:strRef>
          </c:tx>
          <c:spPr>
            <a:solidFill>
              <a:schemeClr val="accent1"/>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A135-0840-AE9B-B74998F1490A}"/>
            </c:ext>
          </c:extLst>
        </c:ser>
        <c:ser>
          <c:idx val="1"/>
          <c:order val="1"/>
          <c:tx>
            <c:strRef>
              <c:f>Tabelle1!$C$1</c:f>
              <c:strCache>
                <c:ptCount val="1"/>
                <c:pt idx="0">
                  <c:v>Data 2</c:v>
                </c:pt>
              </c:strCache>
            </c:strRef>
          </c:tx>
          <c:spPr>
            <a:solidFill>
              <a:schemeClr val="accent3"/>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A135-0840-AE9B-B74998F1490A}"/>
            </c:ext>
          </c:extLst>
        </c:ser>
        <c:ser>
          <c:idx val="2"/>
          <c:order val="2"/>
          <c:tx>
            <c:strRef>
              <c:f>Tabelle1!$D$1</c:f>
              <c:strCache>
                <c:ptCount val="1"/>
                <c:pt idx="0">
                  <c:v>Column 1</c:v>
                </c:pt>
              </c:strCache>
            </c:strRef>
          </c:tx>
          <c:spPr>
            <a:solidFill>
              <a:schemeClr val="accent5"/>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D$2:$D$6</c:f>
              <c:numCache>
                <c:formatCode>General</c:formatCode>
                <c:ptCount val="5"/>
              </c:numCache>
            </c:numRef>
          </c:val>
          <c:extLst>
            <c:ext xmlns:c16="http://schemas.microsoft.com/office/drawing/2014/chart" uri="{C3380CC4-5D6E-409C-BE32-E72D297353CC}">
              <c16:uniqueId val="{00000002-A135-0840-AE9B-B74998F1490A}"/>
            </c:ext>
          </c:extLst>
        </c:ser>
        <c:ser>
          <c:idx val="3"/>
          <c:order val="3"/>
          <c:tx>
            <c:strRef>
              <c:f>Tabelle1!$E$1</c:f>
              <c:strCache>
                <c:ptCount val="1"/>
                <c:pt idx="0">
                  <c:v>Column 2</c:v>
                </c:pt>
              </c:strCache>
            </c:strRef>
          </c:tx>
          <c:spPr>
            <a:solidFill>
              <a:schemeClr val="accent1">
                <a:lumMod val="60000"/>
              </a:schemeClr>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E$2:$E$6</c:f>
              <c:numCache>
                <c:formatCode>General</c:formatCode>
                <c:ptCount val="5"/>
              </c:numCache>
            </c:numRef>
          </c:val>
          <c:extLst>
            <c:ext xmlns:c16="http://schemas.microsoft.com/office/drawing/2014/chart" uri="{C3380CC4-5D6E-409C-BE32-E72D297353CC}">
              <c16:uniqueId val="{00000003-A135-0840-AE9B-B74998F1490A}"/>
            </c:ext>
          </c:extLst>
        </c:ser>
        <c:dLbls>
          <c:showLegendKey val="0"/>
          <c:showVal val="0"/>
          <c:showCatName val="0"/>
          <c:showSerName val="0"/>
          <c:showPercent val="0"/>
          <c:showBubbleSize val="0"/>
        </c:dLbls>
        <c:axId val="5862096"/>
        <c:axId val="90308880"/>
      </c:areaChart>
      <c:dateAx>
        <c:axId val="5862096"/>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90308880"/>
        <c:crosses val="autoZero"/>
        <c:auto val="1"/>
        <c:lblOffset val="100"/>
        <c:baseTimeUnit val="months"/>
      </c:dateAx>
      <c:valAx>
        <c:axId val="903088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586209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legend>
    <c:plotVisOnly val="1"/>
    <c:dispBlanksAs val="zero"/>
    <c:showDLblsOverMax val="0"/>
  </c:chart>
  <c:spPr>
    <a:noFill/>
    <a:ln>
      <a:noFill/>
    </a:ln>
    <a:effectLst/>
  </c:spPr>
  <c:txPr>
    <a:bodyPr/>
    <a:lstStyle/>
    <a:p>
      <a:pPr>
        <a:defRPr>
          <a:solidFill>
            <a:srgbClr val="313131"/>
          </a:solidFill>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Edit title of pie chart here</a:t>
            </a:r>
            <a:endParaRPr lang="en-US"/>
          </a:p>
        </c:rich>
      </c:tx>
      <c:layout>
        <c:manualLayout>
          <c:xMode val="edge"/>
          <c:yMode val="edge"/>
          <c:x val="0.171984797852507"/>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pieChart>
        <c:varyColors val="1"/>
        <c:ser>
          <c:idx val="0"/>
          <c:order val="0"/>
          <c:tx>
            <c:strRef>
              <c:f>Tabelle1!$B$1</c:f>
              <c:strCache>
                <c:ptCount val="1"/>
                <c:pt idx="0">
                  <c:v>Verkauf</c:v>
                </c:pt>
              </c:strCache>
            </c:strRef>
          </c:tx>
          <c:explosion val="1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723-114E-9886-4C74289445E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723-114E-9886-4C74289445E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723-114E-9886-4C74289445E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723-114E-9886-4C74289445EE}"/>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723-114E-9886-4C74289445EE}"/>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4723-114E-9886-4C74289445EE}"/>
              </c:ext>
            </c:extLst>
          </c:dPt>
          <c:cat>
            <c:strRef>
              <c:f>Tabelle1!$A$2:$A$7</c:f>
              <c:strCache>
                <c:ptCount val="6"/>
                <c:pt idx="0">
                  <c:v>1. Lorem</c:v>
                </c:pt>
                <c:pt idx="1">
                  <c:v>2. Lorem</c:v>
                </c:pt>
                <c:pt idx="2">
                  <c:v>3. Lorem</c:v>
                </c:pt>
                <c:pt idx="3">
                  <c:v>4. Lorem</c:v>
                </c:pt>
                <c:pt idx="4">
                  <c:v>5. Lorem</c:v>
                </c:pt>
                <c:pt idx="5">
                  <c:v>6.Lorem</c:v>
                </c:pt>
              </c:strCache>
            </c:strRef>
          </c:cat>
          <c:val>
            <c:numRef>
              <c:f>Tabelle1!$B$2:$B$7</c:f>
              <c:numCache>
                <c:formatCode>General</c:formatCode>
                <c:ptCount val="6"/>
                <c:pt idx="0">
                  <c:v>40</c:v>
                </c:pt>
                <c:pt idx="1">
                  <c:v>20</c:v>
                </c:pt>
                <c:pt idx="2">
                  <c:v>5</c:v>
                </c:pt>
                <c:pt idx="3">
                  <c:v>5</c:v>
                </c:pt>
                <c:pt idx="4">
                  <c:v>10</c:v>
                </c:pt>
                <c:pt idx="5">
                  <c:v>10</c:v>
                </c:pt>
              </c:numCache>
            </c:numRef>
          </c:val>
          <c:extLst>
            <c:ext xmlns:c16="http://schemas.microsoft.com/office/drawing/2014/chart" uri="{C3380CC4-5D6E-409C-BE32-E72D297353CC}">
              <c16:uniqueId val="{0000000C-4723-114E-9886-4C74289445EE}"/>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F372191-0C9C-40E7-8E87-45CA8E3AA4CF}" type="doc">
      <dgm:prSet loTypeId="urn:microsoft.com/office/officeart/2005/8/layout/hList6" loCatId="list" qsTypeId="urn:microsoft.com/office/officeart/2005/8/quickstyle/simple2" qsCatId="simple" csTypeId="urn:microsoft.com/office/officeart/2005/8/colors/accent1_5" csCatId="accent1" phldr="1"/>
      <dgm:spPr/>
      <dgm:t>
        <a:bodyPr/>
        <a:lstStyle/>
        <a:p>
          <a:endParaRPr lang="de-DE"/>
        </a:p>
      </dgm:t>
    </dgm:pt>
    <dgm:pt modelId="{41D35DD2-60D8-418D-85EC-2DDDB1333EEC}">
      <dgm:prSet phldrT="[Text]" custT="1"/>
      <dgm:spPr/>
      <dgm:t>
        <a:bodyPr lIns="108000" rIns="108000" anchor="t" anchorCtr="0"/>
        <a:lstStyle/>
        <a:p>
          <a:endParaRPr lang="de-DE" sz="1800" b="0">
            <a:latin typeface="Calibri" panose="020F0502020204030204" pitchFamily="34" charset="0"/>
            <a:cs typeface="Calibri" panose="020F0502020204030204" pitchFamily="34" charset="0"/>
          </a:endParaRPr>
        </a:p>
        <a:p>
          <a:r>
            <a:rPr lang="de-DE" sz="1800" b="0">
              <a:latin typeface="Calibri" panose="020F0502020204030204" pitchFamily="34" charset="0"/>
              <a:cs typeface="Calibri" panose="020F0502020204030204" pitchFamily="34" charset="0"/>
            </a:rPr>
            <a:t>Text Phase 1</a:t>
          </a:r>
          <a:br>
            <a:rPr lang="de-DE" sz="1800" b="0">
              <a:latin typeface="Calibri" panose="020F0502020204030204" pitchFamily="34" charset="0"/>
              <a:cs typeface="Calibri" panose="020F0502020204030204" pitchFamily="34" charset="0"/>
            </a:rPr>
          </a:br>
          <a:endParaRPr lang="de-DE" sz="1800" b="0">
            <a:latin typeface="Calibri" panose="020F0502020204030204" pitchFamily="34" charset="0"/>
            <a:cs typeface="Calibri" panose="020F0502020204030204" pitchFamily="34" charset="0"/>
          </a:endParaRPr>
        </a:p>
      </dgm:t>
    </dgm:pt>
    <dgm:pt modelId="{617E6F74-656E-4031-B0C9-6840FFD898DE}" type="parTrans" cxnId="{FCEA10CF-153D-4DF2-9E7A-CBFE2382D518}">
      <dgm:prSet/>
      <dgm:spPr/>
      <dgm:t>
        <a:bodyPr/>
        <a:lstStyle/>
        <a:p>
          <a:endParaRPr lang="de-DE"/>
        </a:p>
      </dgm:t>
    </dgm:pt>
    <dgm:pt modelId="{F616E22F-A0A4-400D-A2EF-AB771AFFDA0D}" type="sibTrans" cxnId="{FCEA10CF-153D-4DF2-9E7A-CBFE2382D518}">
      <dgm:prSet/>
      <dgm:spPr/>
      <dgm:t>
        <a:bodyPr/>
        <a:lstStyle/>
        <a:p>
          <a:endParaRPr lang="de-DE"/>
        </a:p>
      </dgm:t>
    </dgm:pt>
    <dgm:pt modelId="{F1327EE5-B19C-44E8-BECC-3DD8D56DEB1B}">
      <dgm:prSet phldrT="[Text]" custT="1"/>
      <dgm:spPr/>
      <dgm:t>
        <a:bodyPr lIns="108000" rIns="108000" anchor="t" anchorCtr="0"/>
        <a:lstStyle/>
        <a:p>
          <a:r>
            <a:rPr lang="de-DE" sz="1800">
              <a:latin typeface="Calibri" panose="020F0502020204030204" pitchFamily="34" charset="0"/>
              <a:cs typeface="Calibri" panose="020F0502020204030204" pitchFamily="34" charset="0"/>
            </a:rPr>
            <a:t>Bullet 2</a:t>
          </a:r>
        </a:p>
      </dgm:t>
    </dgm:pt>
    <dgm:pt modelId="{BE1CEAA6-FF0C-48B7-A410-4A9AB2DEB41D}" type="parTrans" cxnId="{ED2B1FDF-C923-403B-912F-9EADBAEA238D}">
      <dgm:prSet/>
      <dgm:spPr/>
      <dgm:t>
        <a:bodyPr/>
        <a:lstStyle/>
        <a:p>
          <a:endParaRPr lang="de-DE"/>
        </a:p>
      </dgm:t>
    </dgm:pt>
    <dgm:pt modelId="{9D20CA89-5A5B-4A1B-8F03-45934064D1D7}" type="sibTrans" cxnId="{ED2B1FDF-C923-403B-912F-9EADBAEA238D}">
      <dgm:prSet/>
      <dgm:spPr/>
      <dgm:t>
        <a:bodyPr/>
        <a:lstStyle/>
        <a:p>
          <a:endParaRPr lang="de-DE"/>
        </a:p>
      </dgm:t>
    </dgm:pt>
    <dgm:pt modelId="{EE8AF158-0E30-4505-B8A3-A23D841EE20A}">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b="0" kern="1200">
              <a:latin typeface="Calibri" panose="020F0502020204030204" pitchFamily="34" charset="0"/>
              <a:cs typeface="Calibri" panose="020F0502020204030204" pitchFamily="34" charset="0"/>
            </a:rPr>
            <a:t>Text Phase 2</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kern="1200">
              <a:latin typeface="Calibri" panose="020F0502020204030204" pitchFamily="34" charset="0"/>
              <a:cs typeface="Calibri" panose="020F0502020204030204" pitchFamily="34" charset="0"/>
            </a:rPr>
            <a:t>text</a:t>
          </a:r>
        </a:p>
      </dgm:t>
    </dgm:pt>
    <dgm:pt modelId="{63AD07C9-E0D7-47A1-9B0E-8B9AD0943242}" type="parTrans" cxnId="{42B4191B-AA71-43DD-B7AB-E77E73091A3D}">
      <dgm:prSet/>
      <dgm:spPr/>
      <dgm:t>
        <a:bodyPr/>
        <a:lstStyle/>
        <a:p>
          <a:endParaRPr lang="de-DE"/>
        </a:p>
      </dgm:t>
    </dgm:pt>
    <dgm:pt modelId="{9441BC0C-AF0E-4D63-8062-EC704073BDAE}" type="sibTrans" cxnId="{42B4191B-AA71-43DD-B7AB-E77E73091A3D}">
      <dgm:prSet/>
      <dgm:spPr/>
      <dgm:t>
        <a:bodyPr/>
        <a:lstStyle/>
        <a:p>
          <a:endParaRPr lang="de-DE"/>
        </a:p>
      </dgm:t>
    </dgm:pt>
    <dgm:pt modelId="{60165A43-387F-48C1-9A6D-CDB9DC2B8430}">
      <dgm:prSet phldrT="[Text]" custT="1"/>
      <dgm:spPr/>
      <dgm:t>
        <a:bodyPr lIns="108000" rIns="108000" anchor="t" anchorCtr="0"/>
        <a:lstStyle/>
        <a:p>
          <a:pPr algn="ctr"/>
          <a:endParaRPr lang="de-DE" sz="1800" kern="1200">
            <a:latin typeface="Calibri" panose="020F0502020204030204" pitchFamily="34" charset="0"/>
            <a:cs typeface="Calibri" panose="020F0502020204030204" pitchFamily="34" charset="0"/>
          </a:endParaRPr>
        </a:p>
        <a:p>
          <a:pPr algn="l"/>
          <a:r>
            <a:rPr lang="de-DE" sz="1800" b="0" kern="1200">
              <a:latin typeface="Calibri" panose="020F0502020204030204" pitchFamily="34" charset="0"/>
              <a:cs typeface="Calibri" panose="020F0502020204030204" pitchFamily="34" charset="0"/>
            </a:rPr>
            <a:t>Text Phase 3</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algn="l"/>
          <a:r>
            <a:rPr lang="en-US" sz="1800" kern="1200">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gm:t>
    </dgm:pt>
    <dgm:pt modelId="{7B818567-8CD9-4F41-BB00-176963A304E0}" type="parTrans" cxnId="{326793B2-D1DB-41A0-9B7A-91690CBD1914}">
      <dgm:prSet/>
      <dgm:spPr/>
      <dgm:t>
        <a:bodyPr/>
        <a:lstStyle/>
        <a:p>
          <a:endParaRPr lang="de-DE"/>
        </a:p>
      </dgm:t>
    </dgm:pt>
    <dgm:pt modelId="{A20C13DE-89C7-41E8-A4A2-44CE8C7F3A82}" type="sibTrans" cxnId="{326793B2-D1DB-41A0-9B7A-91690CBD1914}">
      <dgm:prSet/>
      <dgm:spPr/>
      <dgm:t>
        <a:bodyPr/>
        <a:lstStyle/>
        <a:p>
          <a:endParaRPr lang="de-DE"/>
        </a:p>
      </dgm:t>
    </dgm:pt>
    <dgm:pt modelId="{C84332FE-BA2D-4E3A-B596-1F7D570FDBDC}">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4</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en-US" sz="1800" kern="1200">
              <a:latin typeface="Calibri" panose="020F0502020204030204" pitchFamily="34" charset="0"/>
              <a:cs typeface="Calibri" panose="020F0502020204030204" pitchFamily="34" charset="0"/>
            </a:rPr>
            <a:t>Dummy text</a:t>
          </a:r>
          <a:endParaRPr lang="de-DE" sz="1800" kern="1200">
            <a:latin typeface="Calibri" panose="020F0502020204030204" pitchFamily="34" charset="0"/>
            <a:cs typeface="Calibri" panose="020F0502020204030204" pitchFamily="34" charset="0"/>
          </a:endParaRPr>
        </a:p>
      </dgm:t>
    </dgm:pt>
    <dgm:pt modelId="{1CF4CA44-FE56-4CE3-B513-6B0AA8660336}" type="parTrans" cxnId="{9E7CF060-AB35-4E5B-A20E-8260A214D4EB}">
      <dgm:prSet/>
      <dgm:spPr/>
      <dgm:t>
        <a:bodyPr/>
        <a:lstStyle/>
        <a:p>
          <a:endParaRPr lang="de-DE"/>
        </a:p>
      </dgm:t>
    </dgm:pt>
    <dgm:pt modelId="{56AEA3D6-0921-4F14-A536-6639BB6C77B0}" type="sibTrans" cxnId="{9E7CF060-AB35-4E5B-A20E-8260A214D4EB}">
      <dgm:prSet/>
      <dgm:spPr/>
      <dgm:t>
        <a:bodyPr/>
        <a:lstStyle/>
        <a:p>
          <a:endParaRPr lang="de-DE"/>
        </a:p>
      </dgm:t>
    </dgm:pt>
    <dgm:pt modelId="{6739F360-3A3D-4D48-9318-6DD1CAAAB06B}">
      <dgm:prSet phldrT="[Text]" custT="1"/>
      <dgm:spPr/>
      <dgm:t>
        <a:bodyPr lIns="108000" rIns="108000" anchor="t" anchorCtr="0"/>
        <a:lstStyle/>
        <a:p>
          <a:r>
            <a:rPr lang="en-US" sz="1800">
              <a:latin typeface="Calibri" panose="020F0502020204030204" pitchFamily="34" charset="0"/>
              <a:cs typeface="Calibri" panose="020F0502020204030204" pitchFamily="34" charset="0"/>
            </a:rPr>
            <a:t>Bullet 1</a:t>
          </a:r>
          <a:endParaRPr lang="de-DE" sz="1800">
            <a:latin typeface="Calibri" panose="020F0502020204030204" pitchFamily="34" charset="0"/>
            <a:cs typeface="Calibri" panose="020F0502020204030204" pitchFamily="34" charset="0"/>
          </a:endParaRPr>
        </a:p>
      </dgm:t>
    </dgm:pt>
    <dgm:pt modelId="{4E5F70DF-B890-47C8-8BEA-DC8FC9CF5083}" type="sibTrans" cxnId="{6F8514AC-6131-4A35-90AD-D7289116BB05}">
      <dgm:prSet/>
      <dgm:spPr/>
      <dgm:t>
        <a:bodyPr/>
        <a:lstStyle/>
        <a:p>
          <a:endParaRPr lang="de-DE"/>
        </a:p>
      </dgm:t>
    </dgm:pt>
    <dgm:pt modelId="{0EFD0371-0338-466E-9D6C-1A23492C1D5A}" type="parTrans" cxnId="{6F8514AC-6131-4A35-90AD-D7289116BB05}">
      <dgm:prSet/>
      <dgm:spPr/>
      <dgm:t>
        <a:bodyPr/>
        <a:lstStyle/>
        <a:p>
          <a:endParaRPr lang="de-DE"/>
        </a:p>
      </dgm:t>
    </dgm:pt>
    <dgm:pt modelId="{27E9E500-62EC-46C2-B7C8-3723367EE8E7}" type="pres">
      <dgm:prSet presAssocID="{BF372191-0C9C-40E7-8E87-45CA8E3AA4CF}" presName="Name0" presStyleCnt="0">
        <dgm:presLayoutVars>
          <dgm:dir/>
          <dgm:resizeHandles val="exact"/>
        </dgm:presLayoutVars>
      </dgm:prSet>
      <dgm:spPr/>
    </dgm:pt>
    <dgm:pt modelId="{32E9553A-2CF3-4DEA-AB3F-F65A55D7581E}" type="pres">
      <dgm:prSet presAssocID="{41D35DD2-60D8-418D-85EC-2DDDB1333EEC}" presName="node" presStyleLbl="node1" presStyleIdx="0" presStyleCnt="4" custScaleX="2000000">
        <dgm:presLayoutVars>
          <dgm:bulletEnabled val="1"/>
        </dgm:presLayoutVars>
      </dgm:prSet>
      <dgm:spPr/>
    </dgm:pt>
    <dgm:pt modelId="{354721F1-31E2-437B-87FF-1DCD623A0331}" type="pres">
      <dgm:prSet presAssocID="{F616E22F-A0A4-400D-A2EF-AB771AFFDA0D}" presName="sibTrans" presStyleCnt="0"/>
      <dgm:spPr/>
    </dgm:pt>
    <dgm:pt modelId="{32C5A92E-6BF7-4147-8D3B-45A0624571ED}" type="pres">
      <dgm:prSet presAssocID="{EE8AF158-0E30-4505-B8A3-A23D841EE20A}" presName="node" presStyleLbl="node1" presStyleIdx="1" presStyleCnt="4" custScaleX="2000000" custLinFactX="-722" custLinFactNeighborX="-100000">
        <dgm:presLayoutVars>
          <dgm:bulletEnabled val="1"/>
        </dgm:presLayoutVars>
      </dgm:prSet>
      <dgm:spPr/>
    </dgm:pt>
    <dgm:pt modelId="{F98F8A01-25FC-4155-B2B1-DB023B1A6F31}" type="pres">
      <dgm:prSet presAssocID="{9441BC0C-AF0E-4D63-8062-EC704073BDAE}" presName="sibTrans" presStyleCnt="0"/>
      <dgm:spPr/>
    </dgm:pt>
    <dgm:pt modelId="{0D7987FC-DBC8-4B03-95AC-7CE716B69BC3}" type="pres">
      <dgm:prSet presAssocID="{60165A43-387F-48C1-9A6D-CDB9DC2B8430}" presName="node" presStyleLbl="node1" presStyleIdx="2" presStyleCnt="4" custScaleX="2000000" custLinFactX="-8852" custLinFactNeighborX="-100000">
        <dgm:presLayoutVars>
          <dgm:bulletEnabled val="1"/>
        </dgm:presLayoutVars>
      </dgm:prSet>
      <dgm:spPr/>
    </dgm:pt>
    <dgm:pt modelId="{CAC38D8F-F77B-418F-9A56-E69D8EFBDE3E}" type="pres">
      <dgm:prSet presAssocID="{A20C13DE-89C7-41E8-A4A2-44CE8C7F3A82}" presName="sibTrans" presStyleCnt="0"/>
      <dgm:spPr/>
    </dgm:pt>
    <dgm:pt modelId="{64FECA9A-90D8-40C5-9C04-32EF5BF4A107}" type="pres">
      <dgm:prSet presAssocID="{C84332FE-BA2D-4E3A-B596-1F7D570FDBDC}" presName="node" presStyleLbl="node1" presStyleIdx="3" presStyleCnt="4" custScaleX="2000000" custLinFactX="-17611" custLinFactNeighborX="-100000">
        <dgm:presLayoutVars>
          <dgm:bulletEnabled val="1"/>
        </dgm:presLayoutVars>
      </dgm:prSet>
      <dgm:spPr/>
    </dgm:pt>
  </dgm:ptLst>
  <dgm:cxnLst>
    <dgm:cxn modelId="{42B4191B-AA71-43DD-B7AB-E77E73091A3D}" srcId="{BF372191-0C9C-40E7-8E87-45CA8E3AA4CF}" destId="{EE8AF158-0E30-4505-B8A3-A23D841EE20A}" srcOrd="1" destOrd="0" parTransId="{63AD07C9-E0D7-47A1-9B0E-8B9AD0943242}" sibTransId="{9441BC0C-AF0E-4D63-8062-EC704073BDAE}"/>
    <dgm:cxn modelId="{9E7CF060-AB35-4E5B-A20E-8260A214D4EB}" srcId="{BF372191-0C9C-40E7-8E87-45CA8E3AA4CF}" destId="{C84332FE-BA2D-4E3A-B596-1F7D570FDBDC}" srcOrd="3" destOrd="0" parTransId="{1CF4CA44-FE56-4CE3-B513-6B0AA8660336}" sibTransId="{56AEA3D6-0921-4F14-A536-6639BB6C77B0}"/>
    <dgm:cxn modelId="{42341C4E-0DB5-48CE-B829-9A8ACA39153C}" type="presOf" srcId="{60165A43-387F-48C1-9A6D-CDB9DC2B8430}" destId="{0D7987FC-DBC8-4B03-95AC-7CE716B69BC3}" srcOrd="0" destOrd="0" presId="urn:microsoft.com/office/officeart/2005/8/layout/hList6"/>
    <dgm:cxn modelId="{89641750-0E14-4BD0-9FCF-BA00DD5DD845}" type="presOf" srcId="{F1327EE5-B19C-44E8-BECC-3DD8D56DEB1B}" destId="{32E9553A-2CF3-4DEA-AB3F-F65A55D7581E}" srcOrd="0" destOrd="2" presId="urn:microsoft.com/office/officeart/2005/8/layout/hList6"/>
    <dgm:cxn modelId="{EE65E686-8852-4148-9116-50CC671776BE}" type="presOf" srcId="{C84332FE-BA2D-4E3A-B596-1F7D570FDBDC}" destId="{64FECA9A-90D8-40C5-9C04-32EF5BF4A107}" srcOrd="0" destOrd="0" presId="urn:microsoft.com/office/officeart/2005/8/layout/hList6"/>
    <dgm:cxn modelId="{542B9995-5998-4C5C-B379-1D415980D7C4}" type="presOf" srcId="{6739F360-3A3D-4D48-9318-6DD1CAAAB06B}" destId="{32E9553A-2CF3-4DEA-AB3F-F65A55D7581E}" srcOrd="0" destOrd="1" presId="urn:microsoft.com/office/officeart/2005/8/layout/hList6"/>
    <dgm:cxn modelId="{6F8514AC-6131-4A35-90AD-D7289116BB05}" srcId="{41D35DD2-60D8-418D-85EC-2DDDB1333EEC}" destId="{6739F360-3A3D-4D48-9318-6DD1CAAAB06B}" srcOrd="0" destOrd="0" parTransId="{0EFD0371-0338-466E-9D6C-1A23492C1D5A}" sibTransId="{4E5F70DF-B890-47C8-8BEA-DC8FC9CF5083}"/>
    <dgm:cxn modelId="{95B80FAF-C2D0-4DDB-A7AC-5497C7950D4A}" type="presOf" srcId="{EE8AF158-0E30-4505-B8A3-A23D841EE20A}" destId="{32C5A92E-6BF7-4147-8D3B-45A0624571ED}" srcOrd="0" destOrd="0" presId="urn:microsoft.com/office/officeart/2005/8/layout/hList6"/>
    <dgm:cxn modelId="{326793B2-D1DB-41A0-9B7A-91690CBD1914}" srcId="{BF372191-0C9C-40E7-8E87-45CA8E3AA4CF}" destId="{60165A43-387F-48C1-9A6D-CDB9DC2B8430}" srcOrd="2" destOrd="0" parTransId="{7B818567-8CD9-4F41-BB00-176963A304E0}" sibTransId="{A20C13DE-89C7-41E8-A4A2-44CE8C7F3A82}"/>
    <dgm:cxn modelId="{FCEA10CF-153D-4DF2-9E7A-CBFE2382D518}" srcId="{BF372191-0C9C-40E7-8E87-45CA8E3AA4CF}" destId="{41D35DD2-60D8-418D-85EC-2DDDB1333EEC}" srcOrd="0" destOrd="0" parTransId="{617E6F74-656E-4031-B0C9-6840FFD898DE}" sibTransId="{F616E22F-A0A4-400D-A2EF-AB771AFFDA0D}"/>
    <dgm:cxn modelId="{76213BD7-296A-436C-A49B-23941C6A30F7}" type="presOf" srcId="{BF372191-0C9C-40E7-8E87-45CA8E3AA4CF}" destId="{27E9E500-62EC-46C2-B7C8-3723367EE8E7}" srcOrd="0" destOrd="0" presId="urn:microsoft.com/office/officeart/2005/8/layout/hList6"/>
    <dgm:cxn modelId="{ED2B1FDF-C923-403B-912F-9EADBAEA238D}" srcId="{41D35DD2-60D8-418D-85EC-2DDDB1333EEC}" destId="{F1327EE5-B19C-44E8-BECC-3DD8D56DEB1B}" srcOrd="1" destOrd="0" parTransId="{BE1CEAA6-FF0C-48B7-A410-4A9AB2DEB41D}" sibTransId="{9D20CA89-5A5B-4A1B-8F03-45934064D1D7}"/>
    <dgm:cxn modelId="{80DD3DE9-85C5-46CF-8081-029E3F2E455A}" type="presOf" srcId="{41D35DD2-60D8-418D-85EC-2DDDB1333EEC}" destId="{32E9553A-2CF3-4DEA-AB3F-F65A55D7581E}" srcOrd="0" destOrd="0" presId="urn:microsoft.com/office/officeart/2005/8/layout/hList6"/>
    <dgm:cxn modelId="{21DBEA06-4A0F-4380-B799-A445590166B9}" type="presParOf" srcId="{27E9E500-62EC-46C2-B7C8-3723367EE8E7}" destId="{32E9553A-2CF3-4DEA-AB3F-F65A55D7581E}" srcOrd="0" destOrd="0" presId="urn:microsoft.com/office/officeart/2005/8/layout/hList6"/>
    <dgm:cxn modelId="{2809CFB1-CB12-4958-A710-357B61F07CCF}" type="presParOf" srcId="{27E9E500-62EC-46C2-B7C8-3723367EE8E7}" destId="{354721F1-31E2-437B-87FF-1DCD623A0331}" srcOrd="1" destOrd="0" presId="urn:microsoft.com/office/officeart/2005/8/layout/hList6"/>
    <dgm:cxn modelId="{D219A034-DBA9-4926-8904-723EA6DCD6FA}" type="presParOf" srcId="{27E9E500-62EC-46C2-B7C8-3723367EE8E7}" destId="{32C5A92E-6BF7-4147-8D3B-45A0624571ED}" srcOrd="2" destOrd="0" presId="urn:microsoft.com/office/officeart/2005/8/layout/hList6"/>
    <dgm:cxn modelId="{440649F8-F7DE-4A05-8721-07A47041511D}" type="presParOf" srcId="{27E9E500-62EC-46C2-B7C8-3723367EE8E7}" destId="{F98F8A01-25FC-4155-B2B1-DB023B1A6F31}" srcOrd="3" destOrd="0" presId="urn:microsoft.com/office/officeart/2005/8/layout/hList6"/>
    <dgm:cxn modelId="{9F49BF33-FF4D-4960-8284-A158ED87A694}" type="presParOf" srcId="{27E9E500-62EC-46C2-B7C8-3723367EE8E7}" destId="{0D7987FC-DBC8-4B03-95AC-7CE716B69BC3}" srcOrd="4" destOrd="0" presId="urn:microsoft.com/office/officeart/2005/8/layout/hList6"/>
    <dgm:cxn modelId="{64DF3763-3B95-4946-BE04-FD418C428C9E}" type="presParOf" srcId="{27E9E500-62EC-46C2-B7C8-3723367EE8E7}" destId="{CAC38D8F-F77B-418F-9A56-E69D8EFBDE3E}" srcOrd="5" destOrd="0" presId="urn:microsoft.com/office/officeart/2005/8/layout/hList6"/>
    <dgm:cxn modelId="{00BDA26C-7818-41DC-8CE8-703463AACF55}" type="presParOf" srcId="{27E9E500-62EC-46C2-B7C8-3723367EE8E7}" destId="{64FECA9A-90D8-40C5-9C04-32EF5BF4A107}" srcOrd="6" destOrd="0" presId="urn:microsoft.com/office/officeart/2005/8/layout/hList6"/>
  </dgm:cxnLst>
  <dgm:bg>
    <a:effect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F372191-0C9C-40E7-8E87-45CA8E3AA4CF}" type="doc">
      <dgm:prSet loTypeId="urn:microsoft.com/office/officeart/2005/8/layout/hList6" loCatId="list" qsTypeId="urn:microsoft.com/office/officeart/2005/8/quickstyle/simple2" qsCatId="simple" csTypeId="urn:microsoft.com/office/officeart/2005/8/colors/accent1_5" csCatId="accent1" phldr="1"/>
      <dgm:spPr/>
      <dgm:t>
        <a:bodyPr/>
        <a:lstStyle/>
        <a:p>
          <a:endParaRPr lang="de-DE"/>
        </a:p>
      </dgm:t>
    </dgm:pt>
    <dgm:pt modelId="{41D35DD2-60D8-418D-85EC-2DDDB1333EEC}">
      <dgm:prSet phldrT="[Text]" custT="1"/>
      <dgm:spPr/>
      <dgm:t>
        <a:bodyPr lIns="108000" rIns="108000" anchor="t" anchorCtr="0"/>
        <a:lstStyle/>
        <a:p>
          <a:pPr rtl="0"/>
          <a:endParaRPr lang="en-IE" sz="1800" b="0">
            <a:latin typeface="Calibri" panose="020F0502020204030204" pitchFamily="34" charset="0"/>
            <a:cs typeface="Calibri" panose="020F0502020204030204" pitchFamily="34" charset="0"/>
          </a:endParaRPr>
        </a:p>
        <a:p>
          <a:pPr rtl="0"/>
          <a:r>
            <a:rPr lang="en-IE" sz="1800" b="0">
              <a:latin typeface="Calibri" panose="020F0502020204030204" pitchFamily="34" charset="0"/>
              <a:cs typeface="Calibri" panose="020F0502020204030204" pitchFamily="34" charset="0"/>
            </a:rPr>
            <a:t>Text Phase 1</a:t>
          </a:r>
          <a:br>
            <a:rPr lang="en-IE" sz="1800" b="0">
              <a:latin typeface="Calibri" panose="020F0502020204030204" pitchFamily="34" charset="0"/>
              <a:cs typeface="Calibri" panose="020F0502020204030204" pitchFamily="34" charset="0"/>
            </a:rPr>
          </a:br>
          <a:endParaRPr lang="en-IE" sz="1800" b="0">
            <a:latin typeface="Calibri" panose="020F0502020204030204" pitchFamily="34" charset="0"/>
            <a:cs typeface="Calibri" panose="020F0502020204030204" pitchFamily="34" charset="0"/>
          </a:endParaRPr>
        </a:p>
      </dgm:t>
    </dgm:pt>
    <dgm:pt modelId="{617E6F74-656E-4031-B0C9-6840FFD898DE}" type="parTrans" cxnId="{FCEA10CF-153D-4DF2-9E7A-CBFE2382D518}">
      <dgm:prSet/>
      <dgm:spPr/>
      <dgm:t>
        <a:bodyPr/>
        <a:lstStyle/>
        <a:p>
          <a:endParaRPr lang="de-DE"/>
        </a:p>
      </dgm:t>
    </dgm:pt>
    <dgm:pt modelId="{F616E22F-A0A4-400D-A2EF-AB771AFFDA0D}" type="sibTrans" cxnId="{FCEA10CF-153D-4DF2-9E7A-CBFE2382D518}">
      <dgm:prSet/>
      <dgm:spPr/>
      <dgm:t>
        <a:bodyPr/>
        <a:lstStyle/>
        <a:p>
          <a:endParaRPr lang="de-DE"/>
        </a:p>
      </dgm:t>
    </dgm:pt>
    <dgm:pt modelId="{F1327EE5-B19C-44E8-BECC-3DD8D56DEB1B}">
      <dgm:prSet phldrT="[Text]" custT="1"/>
      <dgm:spPr/>
      <dgm:t>
        <a:bodyPr lIns="108000" rIns="108000" anchor="t" anchorCtr="0"/>
        <a:lstStyle/>
        <a:p>
          <a:pPr rtl="0"/>
          <a:r>
            <a:rPr lang="en-IE" sz="1800">
              <a:latin typeface="Calibri" panose="020F0502020204030204" pitchFamily="34" charset="0"/>
              <a:cs typeface="Calibri" panose="020F0502020204030204" pitchFamily="34" charset="0"/>
            </a:rPr>
            <a:t>Bullet 2</a:t>
          </a:r>
        </a:p>
      </dgm:t>
    </dgm:pt>
    <dgm:pt modelId="{BE1CEAA6-FF0C-48B7-A410-4A9AB2DEB41D}" type="parTrans" cxnId="{ED2B1FDF-C923-403B-912F-9EADBAEA238D}">
      <dgm:prSet/>
      <dgm:spPr/>
      <dgm:t>
        <a:bodyPr/>
        <a:lstStyle/>
        <a:p>
          <a:endParaRPr lang="de-DE"/>
        </a:p>
      </dgm:t>
    </dgm:pt>
    <dgm:pt modelId="{9D20CA89-5A5B-4A1B-8F03-45934064D1D7}" type="sibTrans" cxnId="{ED2B1FDF-C923-403B-912F-9EADBAEA238D}">
      <dgm:prSet/>
      <dgm:spPr/>
      <dgm:t>
        <a:bodyPr/>
        <a:lstStyle/>
        <a:p>
          <a:endParaRPr lang="de-DE"/>
        </a:p>
      </dgm:t>
    </dgm:pt>
    <dgm:pt modelId="{EE8AF158-0E30-4505-B8A3-A23D841EE20A}">
      <dgm:prSet phldrT="[Text]" custT="1"/>
      <dgm:spPr/>
      <dgm:t>
        <a:bodyPr lIns="108000" rIns="108000" anchor="t" anchorCtr="0"/>
        <a:lstStyle/>
        <a:p>
          <a:pPr marL="0" lvl="0" algn="l" defTabSz="800100" rtl="0">
            <a:lnSpc>
              <a:spcPct val="90000"/>
            </a:lnSpc>
            <a:spcBef>
              <a:spcPct val="0"/>
            </a:spcBef>
            <a:spcAft>
              <a:spcPct val="35000"/>
            </a:spcAft>
            <a:buNone/>
          </a:pPr>
          <a:endParaRPr lang="en-IE" sz="1800" b="0" kern="1200">
            <a:latin typeface="Calibri" panose="020F0502020204030204" pitchFamily="34" charset="0"/>
            <a:cs typeface="Calibri" panose="020F0502020204030204" pitchFamily="34" charset="0"/>
          </a:endParaRPr>
        </a:p>
        <a:p>
          <a:pPr marL="0" lvl="0" algn="l" defTabSz="800100" rtl="0">
            <a:lnSpc>
              <a:spcPct val="90000"/>
            </a:lnSpc>
            <a:spcBef>
              <a:spcPct val="0"/>
            </a:spcBef>
            <a:spcAft>
              <a:spcPct val="35000"/>
            </a:spcAft>
          </a:pPr>
          <a:r>
            <a:rPr lang="en-IE" sz="1800" b="0" kern="1200">
              <a:latin typeface="Calibri" panose="020F0502020204030204" pitchFamily="34" charset="0"/>
              <a:cs typeface="Calibri" panose="020F0502020204030204" pitchFamily="34" charset="0"/>
            </a:rPr>
            <a:t>Text Phase 2</a:t>
          </a:r>
          <a:br>
            <a:rPr lang="en-IE" sz="1800" b="0" kern="1200">
              <a:latin typeface="Calibri" panose="020F0502020204030204" pitchFamily="34" charset="0"/>
              <a:cs typeface="Calibri" panose="020F0502020204030204" pitchFamily="34" charset="0"/>
            </a:rPr>
          </a:br>
          <a:endParaRPr lang="en-IE" sz="1800" b="0" kern="1200">
            <a:latin typeface="Calibri" panose="020F0502020204030204" pitchFamily="34" charset="0"/>
            <a:cs typeface="Calibri" panose="020F0502020204030204" pitchFamily="34" charset="0"/>
          </a:endParaRPr>
        </a:p>
        <a:p>
          <a:pPr marL="0" lvl="0" algn="l" defTabSz="800100" rtl="0">
            <a:lnSpc>
              <a:spcPct val="90000"/>
            </a:lnSpc>
            <a:spcBef>
              <a:spcPct val="0"/>
            </a:spcBef>
            <a:spcAft>
              <a:spcPct val="35000"/>
            </a:spcAft>
          </a:pPr>
          <a:r>
            <a:rPr lang="en-IE" sz="1800" kern="1200">
              <a:latin typeface="Calibri" panose="020F0502020204030204" pitchFamily="34" charset="0"/>
              <a:cs typeface="Calibri" panose="020F0502020204030204" pitchFamily="34" charset="0"/>
            </a:rPr>
            <a:t>text</a:t>
          </a:r>
        </a:p>
      </dgm:t>
    </dgm:pt>
    <dgm:pt modelId="{63AD07C9-E0D7-47A1-9B0E-8B9AD0943242}" type="parTrans" cxnId="{42B4191B-AA71-43DD-B7AB-E77E73091A3D}">
      <dgm:prSet/>
      <dgm:spPr/>
      <dgm:t>
        <a:bodyPr/>
        <a:lstStyle/>
        <a:p>
          <a:endParaRPr lang="de-DE"/>
        </a:p>
      </dgm:t>
    </dgm:pt>
    <dgm:pt modelId="{9441BC0C-AF0E-4D63-8062-EC704073BDAE}" type="sibTrans" cxnId="{42B4191B-AA71-43DD-B7AB-E77E73091A3D}">
      <dgm:prSet/>
      <dgm:spPr/>
      <dgm:t>
        <a:bodyPr/>
        <a:lstStyle/>
        <a:p>
          <a:endParaRPr lang="de-DE"/>
        </a:p>
      </dgm:t>
    </dgm:pt>
    <dgm:pt modelId="{60165A43-387F-48C1-9A6D-CDB9DC2B8430}">
      <dgm:prSet phldrT="[Text]" custT="1"/>
      <dgm:spPr/>
      <dgm:t>
        <a:bodyPr lIns="108000" rIns="108000" anchor="t" anchorCtr="0"/>
        <a:lstStyle/>
        <a:p>
          <a:pPr algn="ctr" rtl="0"/>
          <a:endParaRPr lang="en-IE" sz="1800" kern="1200">
            <a:latin typeface="Calibri" panose="020F0502020204030204" pitchFamily="34" charset="0"/>
            <a:cs typeface="Calibri" panose="020F0502020204030204" pitchFamily="34" charset="0"/>
          </a:endParaRPr>
        </a:p>
        <a:p>
          <a:pPr algn="l" rtl="0"/>
          <a:r>
            <a:rPr lang="en-IE" sz="1800" b="0" kern="1200">
              <a:latin typeface="Calibri" panose="020F0502020204030204" pitchFamily="34" charset="0"/>
              <a:cs typeface="Calibri" panose="020F0502020204030204" pitchFamily="34" charset="0"/>
            </a:rPr>
            <a:t>Text Phase 3</a:t>
          </a:r>
          <a:br>
            <a:rPr lang="en-IE" sz="1800" b="0" kern="1200">
              <a:latin typeface="Calibri" panose="020F0502020204030204" pitchFamily="34" charset="0"/>
              <a:cs typeface="Calibri" panose="020F0502020204030204" pitchFamily="34" charset="0"/>
            </a:rPr>
          </a:br>
          <a:endParaRPr lang="en-IE" sz="1800" b="0" kern="1200">
            <a:latin typeface="Calibri" panose="020F0502020204030204" pitchFamily="34" charset="0"/>
            <a:cs typeface="Calibri" panose="020F0502020204030204" pitchFamily="34" charset="0"/>
          </a:endParaRPr>
        </a:p>
        <a:p>
          <a:pPr algn="l" rtl="0"/>
          <a:r>
            <a:rPr lang="en-IE" sz="1800" kern="1200">
              <a:latin typeface="Calibri" panose="020F0502020204030204" pitchFamily="34" charset="0"/>
              <a:cs typeface="Calibri" panose="020F0502020204030204" pitchFamily="34" charset="0"/>
            </a:rPr>
            <a:t>text</a:t>
          </a:r>
        </a:p>
      </dgm:t>
    </dgm:pt>
    <dgm:pt modelId="{7B818567-8CD9-4F41-BB00-176963A304E0}" type="parTrans" cxnId="{326793B2-D1DB-41A0-9B7A-91690CBD1914}">
      <dgm:prSet/>
      <dgm:spPr/>
      <dgm:t>
        <a:bodyPr/>
        <a:lstStyle/>
        <a:p>
          <a:endParaRPr lang="de-DE"/>
        </a:p>
      </dgm:t>
    </dgm:pt>
    <dgm:pt modelId="{A20C13DE-89C7-41E8-A4A2-44CE8C7F3A82}" type="sibTrans" cxnId="{326793B2-D1DB-41A0-9B7A-91690CBD1914}">
      <dgm:prSet/>
      <dgm:spPr/>
      <dgm:t>
        <a:bodyPr/>
        <a:lstStyle/>
        <a:p>
          <a:endParaRPr lang="de-DE"/>
        </a:p>
      </dgm:t>
    </dgm:pt>
    <dgm:pt modelId="{C84332FE-BA2D-4E3A-B596-1F7D570FDBDC}">
      <dgm:prSet phldrT="[Text]" custT="1"/>
      <dgm:spPr/>
      <dgm:t>
        <a:bodyPr lIns="108000" rIns="108000" anchor="t" anchorCtr="0"/>
        <a:lstStyle/>
        <a:p>
          <a:pPr marL="0" lvl="0" algn="l" defTabSz="800100" rtl="0">
            <a:lnSpc>
              <a:spcPct val="90000"/>
            </a:lnSpc>
            <a:spcBef>
              <a:spcPct val="0"/>
            </a:spcBef>
            <a:spcAft>
              <a:spcPct val="35000"/>
            </a:spcAft>
            <a:buNone/>
          </a:pPr>
          <a:endParaRPr lang="en-IE" sz="1800" b="0" kern="1200">
            <a:latin typeface="Calibri" panose="020F0502020204030204" pitchFamily="34" charset="0"/>
            <a:cs typeface="Calibri" panose="020F0502020204030204" pitchFamily="34" charset="0"/>
          </a:endParaRPr>
        </a:p>
        <a:p>
          <a:pPr marL="0" lvl="0" algn="l" defTabSz="800100" rtl="0">
            <a:lnSpc>
              <a:spcPct val="90000"/>
            </a:lnSpc>
            <a:spcBef>
              <a:spcPct val="0"/>
            </a:spcBef>
            <a:spcAft>
              <a:spcPct val="35000"/>
            </a:spcAft>
            <a:buNone/>
          </a:pPr>
          <a:r>
            <a:rPr lang="en-IE" sz="1800" b="0" kern="1200">
              <a:latin typeface="Calibri" panose="020F0502020204030204" pitchFamily="34" charset="0"/>
              <a:cs typeface="Calibri" panose="020F0502020204030204" pitchFamily="34" charset="0"/>
            </a:rPr>
            <a:t>Text Phase 4</a:t>
          </a:r>
          <a:br>
            <a:rPr lang="en-IE" sz="1800" b="0" kern="1200">
              <a:latin typeface="Calibri" panose="020F0502020204030204" pitchFamily="34" charset="0"/>
              <a:cs typeface="Calibri" panose="020F0502020204030204" pitchFamily="34" charset="0"/>
            </a:rPr>
          </a:br>
          <a:endParaRPr lang="en-IE" sz="1800" b="0" kern="1200">
            <a:latin typeface="Calibri" panose="020F0502020204030204" pitchFamily="34" charset="0"/>
            <a:cs typeface="Calibri" panose="020F0502020204030204" pitchFamily="34" charset="0"/>
          </a:endParaRPr>
        </a:p>
        <a:p>
          <a:pPr marL="0" lvl="0" algn="l" defTabSz="800100" rtl="0">
            <a:lnSpc>
              <a:spcPct val="90000"/>
            </a:lnSpc>
            <a:spcBef>
              <a:spcPct val="0"/>
            </a:spcBef>
            <a:spcAft>
              <a:spcPct val="35000"/>
            </a:spcAft>
          </a:pPr>
          <a:r>
            <a:rPr lang="en-IE" sz="1800" kern="1200">
              <a:latin typeface="Calibri" panose="020F0502020204030204" pitchFamily="34" charset="0"/>
              <a:cs typeface="Calibri" panose="020F0502020204030204" pitchFamily="34" charset="0"/>
            </a:rPr>
            <a:t>Dummy text</a:t>
          </a:r>
        </a:p>
      </dgm:t>
    </dgm:pt>
    <dgm:pt modelId="{1CF4CA44-FE56-4CE3-B513-6B0AA8660336}" type="parTrans" cxnId="{9E7CF060-AB35-4E5B-A20E-8260A214D4EB}">
      <dgm:prSet/>
      <dgm:spPr/>
      <dgm:t>
        <a:bodyPr/>
        <a:lstStyle/>
        <a:p>
          <a:endParaRPr lang="de-DE"/>
        </a:p>
      </dgm:t>
    </dgm:pt>
    <dgm:pt modelId="{56AEA3D6-0921-4F14-A536-6639BB6C77B0}" type="sibTrans" cxnId="{9E7CF060-AB35-4E5B-A20E-8260A214D4EB}">
      <dgm:prSet/>
      <dgm:spPr/>
      <dgm:t>
        <a:bodyPr/>
        <a:lstStyle/>
        <a:p>
          <a:endParaRPr lang="de-DE"/>
        </a:p>
      </dgm:t>
    </dgm:pt>
    <dgm:pt modelId="{6739F360-3A3D-4D48-9318-6DD1CAAAB06B}">
      <dgm:prSet phldrT="[Text]" custT="1"/>
      <dgm:spPr/>
      <dgm:t>
        <a:bodyPr lIns="108000" rIns="108000" anchor="t" anchorCtr="0"/>
        <a:lstStyle/>
        <a:p>
          <a:pPr rtl="0"/>
          <a:r>
            <a:rPr lang="en-IE" sz="1800">
              <a:latin typeface="Calibri" panose="020F0502020204030204" pitchFamily="34" charset="0"/>
              <a:cs typeface="Calibri" panose="020F0502020204030204" pitchFamily="34" charset="0"/>
            </a:rPr>
            <a:t>Bullet 1</a:t>
          </a:r>
        </a:p>
      </dgm:t>
    </dgm:pt>
    <dgm:pt modelId="{4E5F70DF-B890-47C8-8BEA-DC8FC9CF5083}" type="sibTrans" cxnId="{6F8514AC-6131-4A35-90AD-D7289116BB05}">
      <dgm:prSet/>
      <dgm:spPr/>
      <dgm:t>
        <a:bodyPr/>
        <a:lstStyle/>
        <a:p>
          <a:endParaRPr lang="de-DE"/>
        </a:p>
      </dgm:t>
    </dgm:pt>
    <dgm:pt modelId="{0EFD0371-0338-466E-9D6C-1A23492C1D5A}" type="parTrans" cxnId="{6F8514AC-6131-4A35-90AD-D7289116BB05}">
      <dgm:prSet/>
      <dgm:spPr/>
      <dgm:t>
        <a:bodyPr/>
        <a:lstStyle/>
        <a:p>
          <a:endParaRPr lang="de-DE"/>
        </a:p>
      </dgm:t>
    </dgm:pt>
    <dgm:pt modelId="{27E9E500-62EC-46C2-B7C8-3723367EE8E7}" type="pres">
      <dgm:prSet presAssocID="{BF372191-0C9C-40E7-8E87-45CA8E3AA4CF}" presName="Name0" presStyleCnt="0">
        <dgm:presLayoutVars>
          <dgm:dir/>
          <dgm:resizeHandles val="exact"/>
        </dgm:presLayoutVars>
      </dgm:prSet>
      <dgm:spPr/>
    </dgm:pt>
    <dgm:pt modelId="{32E9553A-2CF3-4DEA-AB3F-F65A55D7581E}" type="pres">
      <dgm:prSet presAssocID="{41D35DD2-60D8-418D-85EC-2DDDB1333EEC}" presName="node" presStyleLbl="node1" presStyleIdx="0" presStyleCnt="4" custScaleX="2000000">
        <dgm:presLayoutVars>
          <dgm:bulletEnabled val="1"/>
        </dgm:presLayoutVars>
      </dgm:prSet>
      <dgm:spPr/>
    </dgm:pt>
    <dgm:pt modelId="{354721F1-31E2-437B-87FF-1DCD623A0331}" type="pres">
      <dgm:prSet presAssocID="{F616E22F-A0A4-400D-A2EF-AB771AFFDA0D}" presName="sibTrans" presStyleCnt="0"/>
      <dgm:spPr/>
    </dgm:pt>
    <dgm:pt modelId="{32C5A92E-6BF7-4147-8D3B-45A0624571ED}" type="pres">
      <dgm:prSet presAssocID="{EE8AF158-0E30-4505-B8A3-A23D841EE20A}" presName="node" presStyleLbl="node1" presStyleIdx="1" presStyleCnt="4" custScaleX="2000000" custLinFactX="-722" custLinFactNeighborX="-100000">
        <dgm:presLayoutVars>
          <dgm:bulletEnabled val="1"/>
        </dgm:presLayoutVars>
      </dgm:prSet>
      <dgm:spPr/>
    </dgm:pt>
    <dgm:pt modelId="{F98F8A01-25FC-4155-B2B1-DB023B1A6F31}" type="pres">
      <dgm:prSet presAssocID="{9441BC0C-AF0E-4D63-8062-EC704073BDAE}" presName="sibTrans" presStyleCnt="0"/>
      <dgm:spPr/>
    </dgm:pt>
    <dgm:pt modelId="{0D7987FC-DBC8-4B03-95AC-7CE716B69BC3}" type="pres">
      <dgm:prSet presAssocID="{60165A43-387F-48C1-9A6D-CDB9DC2B8430}" presName="node" presStyleLbl="node1" presStyleIdx="2" presStyleCnt="4" custScaleX="2000000" custLinFactX="-8852" custLinFactNeighborX="-100000">
        <dgm:presLayoutVars>
          <dgm:bulletEnabled val="1"/>
        </dgm:presLayoutVars>
      </dgm:prSet>
      <dgm:spPr/>
    </dgm:pt>
    <dgm:pt modelId="{CAC38D8F-F77B-418F-9A56-E69D8EFBDE3E}" type="pres">
      <dgm:prSet presAssocID="{A20C13DE-89C7-41E8-A4A2-44CE8C7F3A82}" presName="sibTrans" presStyleCnt="0"/>
      <dgm:spPr/>
    </dgm:pt>
    <dgm:pt modelId="{64FECA9A-90D8-40C5-9C04-32EF5BF4A107}" type="pres">
      <dgm:prSet presAssocID="{C84332FE-BA2D-4E3A-B596-1F7D570FDBDC}" presName="node" presStyleLbl="node1" presStyleIdx="3" presStyleCnt="4" custScaleX="2000000" custLinFactX="-17611" custLinFactNeighborX="-100000">
        <dgm:presLayoutVars>
          <dgm:bulletEnabled val="1"/>
        </dgm:presLayoutVars>
      </dgm:prSet>
      <dgm:spPr/>
    </dgm:pt>
  </dgm:ptLst>
  <dgm:cxnLst>
    <dgm:cxn modelId="{42B4191B-AA71-43DD-B7AB-E77E73091A3D}" srcId="{BF372191-0C9C-40E7-8E87-45CA8E3AA4CF}" destId="{EE8AF158-0E30-4505-B8A3-A23D841EE20A}" srcOrd="1" destOrd="0" parTransId="{63AD07C9-E0D7-47A1-9B0E-8B9AD0943242}" sibTransId="{9441BC0C-AF0E-4D63-8062-EC704073BDAE}"/>
    <dgm:cxn modelId="{9E7CF060-AB35-4E5B-A20E-8260A214D4EB}" srcId="{BF372191-0C9C-40E7-8E87-45CA8E3AA4CF}" destId="{C84332FE-BA2D-4E3A-B596-1F7D570FDBDC}" srcOrd="3" destOrd="0" parTransId="{1CF4CA44-FE56-4CE3-B513-6B0AA8660336}" sibTransId="{56AEA3D6-0921-4F14-A536-6639BB6C77B0}"/>
    <dgm:cxn modelId="{42341C4E-0DB5-48CE-B829-9A8ACA39153C}" type="presOf" srcId="{60165A43-387F-48C1-9A6D-CDB9DC2B8430}" destId="{0D7987FC-DBC8-4B03-95AC-7CE716B69BC3}" srcOrd="0" destOrd="0" presId="urn:microsoft.com/office/officeart/2005/8/layout/hList6"/>
    <dgm:cxn modelId="{89641750-0E14-4BD0-9FCF-BA00DD5DD845}" type="presOf" srcId="{F1327EE5-B19C-44E8-BECC-3DD8D56DEB1B}" destId="{32E9553A-2CF3-4DEA-AB3F-F65A55D7581E}" srcOrd="0" destOrd="2" presId="urn:microsoft.com/office/officeart/2005/8/layout/hList6"/>
    <dgm:cxn modelId="{EE65E686-8852-4148-9116-50CC671776BE}" type="presOf" srcId="{C84332FE-BA2D-4E3A-B596-1F7D570FDBDC}" destId="{64FECA9A-90D8-40C5-9C04-32EF5BF4A107}" srcOrd="0" destOrd="0" presId="urn:microsoft.com/office/officeart/2005/8/layout/hList6"/>
    <dgm:cxn modelId="{542B9995-5998-4C5C-B379-1D415980D7C4}" type="presOf" srcId="{6739F360-3A3D-4D48-9318-6DD1CAAAB06B}" destId="{32E9553A-2CF3-4DEA-AB3F-F65A55D7581E}" srcOrd="0" destOrd="1" presId="urn:microsoft.com/office/officeart/2005/8/layout/hList6"/>
    <dgm:cxn modelId="{6F8514AC-6131-4A35-90AD-D7289116BB05}" srcId="{41D35DD2-60D8-418D-85EC-2DDDB1333EEC}" destId="{6739F360-3A3D-4D48-9318-6DD1CAAAB06B}" srcOrd="0" destOrd="0" parTransId="{0EFD0371-0338-466E-9D6C-1A23492C1D5A}" sibTransId="{4E5F70DF-B890-47C8-8BEA-DC8FC9CF5083}"/>
    <dgm:cxn modelId="{95B80FAF-C2D0-4DDB-A7AC-5497C7950D4A}" type="presOf" srcId="{EE8AF158-0E30-4505-B8A3-A23D841EE20A}" destId="{32C5A92E-6BF7-4147-8D3B-45A0624571ED}" srcOrd="0" destOrd="0" presId="urn:microsoft.com/office/officeart/2005/8/layout/hList6"/>
    <dgm:cxn modelId="{326793B2-D1DB-41A0-9B7A-91690CBD1914}" srcId="{BF372191-0C9C-40E7-8E87-45CA8E3AA4CF}" destId="{60165A43-387F-48C1-9A6D-CDB9DC2B8430}" srcOrd="2" destOrd="0" parTransId="{7B818567-8CD9-4F41-BB00-176963A304E0}" sibTransId="{A20C13DE-89C7-41E8-A4A2-44CE8C7F3A82}"/>
    <dgm:cxn modelId="{FCEA10CF-153D-4DF2-9E7A-CBFE2382D518}" srcId="{BF372191-0C9C-40E7-8E87-45CA8E3AA4CF}" destId="{41D35DD2-60D8-418D-85EC-2DDDB1333EEC}" srcOrd="0" destOrd="0" parTransId="{617E6F74-656E-4031-B0C9-6840FFD898DE}" sibTransId="{F616E22F-A0A4-400D-A2EF-AB771AFFDA0D}"/>
    <dgm:cxn modelId="{76213BD7-296A-436C-A49B-23941C6A30F7}" type="presOf" srcId="{BF372191-0C9C-40E7-8E87-45CA8E3AA4CF}" destId="{27E9E500-62EC-46C2-B7C8-3723367EE8E7}" srcOrd="0" destOrd="0" presId="urn:microsoft.com/office/officeart/2005/8/layout/hList6"/>
    <dgm:cxn modelId="{ED2B1FDF-C923-403B-912F-9EADBAEA238D}" srcId="{41D35DD2-60D8-418D-85EC-2DDDB1333EEC}" destId="{F1327EE5-B19C-44E8-BECC-3DD8D56DEB1B}" srcOrd="1" destOrd="0" parTransId="{BE1CEAA6-FF0C-48B7-A410-4A9AB2DEB41D}" sibTransId="{9D20CA89-5A5B-4A1B-8F03-45934064D1D7}"/>
    <dgm:cxn modelId="{80DD3DE9-85C5-46CF-8081-029E3F2E455A}" type="presOf" srcId="{41D35DD2-60D8-418D-85EC-2DDDB1333EEC}" destId="{32E9553A-2CF3-4DEA-AB3F-F65A55D7581E}" srcOrd="0" destOrd="0" presId="urn:microsoft.com/office/officeart/2005/8/layout/hList6"/>
    <dgm:cxn modelId="{21DBEA06-4A0F-4380-B799-A445590166B9}" type="presParOf" srcId="{27E9E500-62EC-46C2-B7C8-3723367EE8E7}" destId="{32E9553A-2CF3-4DEA-AB3F-F65A55D7581E}" srcOrd="0" destOrd="0" presId="urn:microsoft.com/office/officeart/2005/8/layout/hList6"/>
    <dgm:cxn modelId="{2809CFB1-CB12-4958-A710-357B61F07CCF}" type="presParOf" srcId="{27E9E500-62EC-46C2-B7C8-3723367EE8E7}" destId="{354721F1-31E2-437B-87FF-1DCD623A0331}" srcOrd="1" destOrd="0" presId="urn:microsoft.com/office/officeart/2005/8/layout/hList6"/>
    <dgm:cxn modelId="{D219A034-DBA9-4926-8904-723EA6DCD6FA}" type="presParOf" srcId="{27E9E500-62EC-46C2-B7C8-3723367EE8E7}" destId="{32C5A92E-6BF7-4147-8D3B-45A0624571ED}" srcOrd="2" destOrd="0" presId="urn:microsoft.com/office/officeart/2005/8/layout/hList6"/>
    <dgm:cxn modelId="{440649F8-F7DE-4A05-8721-07A47041511D}" type="presParOf" srcId="{27E9E500-62EC-46C2-B7C8-3723367EE8E7}" destId="{F98F8A01-25FC-4155-B2B1-DB023B1A6F31}" srcOrd="3" destOrd="0" presId="urn:microsoft.com/office/officeart/2005/8/layout/hList6"/>
    <dgm:cxn modelId="{9F49BF33-FF4D-4960-8284-A158ED87A694}" type="presParOf" srcId="{27E9E500-62EC-46C2-B7C8-3723367EE8E7}" destId="{0D7987FC-DBC8-4B03-95AC-7CE716B69BC3}" srcOrd="4" destOrd="0" presId="urn:microsoft.com/office/officeart/2005/8/layout/hList6"/>
    <dgm:cxn modelId="{64DF3763-3B95-4946-BE04-FD418C428C9E}" type="presParOf" srcId="{27E9E500-62EC-46C2-B7C8-3723367EE8E7}" destId="{CAC38D8F-F77B-418F-9A56-E69D8EFBDE3E}" srcOrd="5" destOrd="0" presId="urn:microsoft.com/office/officeart/2005/8/layout/hList6"/>
    <dgm:cxn modelId="{00BDA26C-7818-41DC-8CE8-703463AACF55}" type="presParOf" srcId="{27E9E500-62EC-46C2-B7C8-3723367EE8E7}" destId="{64FECA9A-90D8-40C5-9C04-32EF5BF4A107}" srcOrd="6" destOrd="0" presId="urn:microsoft.com/office/officeart/2005/8/layout/hList6"/>
  </dgm:cxnLst>
  <dgm:bg>
    <a:effect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E9553A-2CF3-4DEA-AB3F-F65A55D7581E}">
      <dsp:nvSpPr>
        <dsp:cNvPr id="0" name=""/>
        <dsp:cNvSpPr/>
      </dsp:nvSpPr>
      <dsp:spPr>
        <a:xfrm rot="16200000">
          <a:off x="-88930" y="95294"/>
          <a:ext cx="3059856" cy="2869266"/>
        </a:xfrm>
        <a:prstGeom prst="flowChartManualOperation">
          <a:avLst/>
        </a:prstGeom>
        <a:solidFill>
          <a:schemeClr val="accent1">
            <a:alpha val="9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1</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en-US" sz="1800" kern="1200">
              <a:latin typeface="Calibri" panose="020F0502020204030204" pitchFamily="34" charset="0"/>
              <a:cs typeface="Calibri" panose="020F0502020204030204" pitchFamily="34" charset="0"/>
            </a:rPr>
            <a:t>Bullet 1</a:t>
          </a:r>
          <a:endParaRPr lang="de-DE" sz="1800" kern="120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de-DE" sz="1800" kern="1200">
              <a:latin typeface="Calibri" panose="020F0502020204030204" pitchFamily="34" charset="0"/>
              <a:cs typeface="Calibri" panose="020F0502020204030204" pitchFamily="34" charset="0"/>
            </a:rPr>
            <a:t>Bullet 2</a:t>
          </a:r>
        </a:p>
      </dsp:txBody>
      <dsp:txXfrm rot="5400000">
        <a:off x="6365" y="611970"/>
        <a:ext cx="2869266" cy="1835914"/>
      </dsp:txXfrm>
    </dsp:sp>
    <dsp:sp modelId="{32C5A92E-6BF7-4147-8D3B-45A0624571ED}">
      <dsp:nvSpPr>
        <dsp:cNvPr id="0" name=""/>
        <dsp:cNvSpPr/>
      </dsp:nvSpPr>
      <dsp:spPr>
        <a:xfrm rot="16200000">
          <a:off x="2779300" y="95294"/>
          <a:ext cx="3059856" cy="2869266"/>
        </a:xfrm>
        <a:prstGeom prst="flowChartManualOperation">
          <a:avLst/>
        </a:prstGeom>
        <a:solidFill>
          <a:schemeClr val="accent1">
            <a:alpha val="90000"/>
            <a:hueOff val="0"/>
            <a:satOff val="0"/>
            <a:lumOff val="0"/>
            <a:alphaOff val="-13333"/>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2</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kern="1200">
              <a:latin typeface="Calibri" panose="020F0502020204030204" pitchFamily="34" charset="0"/>
              <a:cs typeface="Calibri" panose="020F0502020204030204" pitchFamily="34" charset="0"/>
            </a:rPr>
            <a:t>text</a:t>
          </a:r>
        </a:p>
      </dsp:txBody>
      <dsp:txXfrm rot="5400000">
        <a:off x="2874595" y="611970"/>
        <a:ext cx="2869266" cy="1835914"/>
      </dsp:txXfrm>
    </dsp:sp>
    <dsp:sp modelId="{0D7987FC-DBC8-4B03-95AC-7CE716B69BC3}">
      <dsp:nvSpPr>
        <dsp:cNvPr id="0" name=""/>
        <dsp:cNvSpPr/>
      </dsp:nvSpPr>
      <dsp:spPr>
        <a:xfrm rot="16200000">
          <a:off x="5647663" y="95294"/>
          <a:ext cx="3059856" cy="2869266"/>
        </a:xfrm>
        <a:prstGeom prst="flowChartManualOperation">
          <a:avLst/>
        </a:prstGeom>
        <a:solidFill>
          <a:schemeClr val="accent1">
            <a:alpha val="90000"/>
            <a:hueOff val="0"/>
            <a:satOff val="0"/>
            <a:lumOff val="0"/>
            <a:alphaOff val="-26667"/>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ctr" defTabSz="800100">
            <a:lnSpc>
              <a:spcPct val="90000"/>
            </a:lnSpc>
            <a:spcBef>
              <a:spcPct val="0"/>
            </a:spcBef>
            <a:spcAft>
              <a:spcPct val="35000"/>
            </a:spcAft>
            <a:buNone/>
          </a:pPr>
          <a:endParaRPr lang="de-DE" sz="180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3</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sp:txBody>
      <dsp:txXfrm rot="5400000">
        <a:off x="5742958" y="611970"/>
        <a:ext cx="2869266" cy="1835914"/>
      </dsp:txXfrm>
    </dsp:sp>
    <dsp:sp modelId="{64FECA9A-90D8-40C5-9C04-32EF5BF4A107}">
      <dsp:nvSpPr>
        <dsp:cNvPr id="0" name=""/>
        <dsp:cNvSpPr/>
      </dsp:nvSpPr>
      <dsp:spPr>
        <a:xfrm rot="16200000">
          <a:off x="8515124" y="95294"/>
          <a:ext cx="3059856" cy="2869266"/>
        </a:xfrm>
        <a:prstGeom prst="flowChartManualOperation">
          <a:avLst/>
        </a:prstGeom>
        <a:solidFill>
          <a:schemeClr val="accent1">
            <a:alpha val="90000"/>
            <a:hueOff val="0"/>
            <a:satOff val="0"/>
            <a:lumOff val="0"/>
            <a:alphaOff val="-4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4</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Dummy text</a:t>
          </a:r>
          <a:endParaRPr lang="de-DE" sz="1800" kern="1200">
            <a:latin typeface="Calibri" panose="020F0502020204030204" pitchFamily="34" charset="0"/>
            <a:cs typeface="Calibri" panose="020F0502020204030204" pitchFamily="34" charset="0"/>
          </a:endParaRPr>
        </a:p>
      </dsp:txBody>
      <dsp:txXfrm rot="5400000">
        <a:off x="8610419" y="611970"/>
        <a:ext cx="2869266" cy="183591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E9553A-2CF3-4DEA-AB3F-F65A55D7581E}">
      <dsp:nvSpPr>
        <dsp:cNvPr id="0" name=""/>
        <dsp:cNvSpPr/>
      </dsp:nvSpPr>
      <dsp:spPr>
        <a:xfrm rot="16200000">
          <a:off x="-88930" y="95294"/>
          <a:ext cx="3059856" cy="2869266"/>
        </a:xfrm>
        <a:prstGeom prst="flowChartManualOperation">
          <a:avLst/>
        </a:prstGeom>
        <a:solidFill>
          <a:schemeClr val="accent1">
            <a:alpha val="9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rtl="0">
            <a:lnSpc>
              <a:spcPct val="90000"/>
            </a:lnSpc>
            <a:spcBef>
              <a:spcPct val="0"/>
            </a:spcBef>
            <a:spcAft>
              <a:spcPct val="35000"/>
            </a:spcAft>
            <a:buNone/>
          </a:pPr>
          <a:endParaRPr lang="en-IE" sz="1800" b="0" kern="120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IE" sz="1800" b="0" kern="1200">
              <a:latin typeface="Calibri" panose="020F0502020204030204" pitchFamily="34" charset="0"/>
              <a:cs typeface="Calibri" panose="020F0502020204030204" pitchFamily="34" charset="0"/>
            </a:rPr>
            <a:t>Text Phase 1</a:t>
          </a:r>
          <a:br>
            <a:rPr lang="en-IE" sz="1800" b="0" kern="1200">
              <a:latin typeface="Calibri" panose="020F0502020204030204" pitchFamily="34" charset="0"/>
              <a:cs typeface="Calibri" panose="020F0502020204030204" pitchFamily="34" charset="0"/>
            </a:rPr>
          </a:br>
          <a:endParaRPr lang="en-IE" sz="1800" b="0" kern="1200">
            <a:latin typeface="Calibri" panose="020F0502020204030204" pitchFamily="34" charset="0"/>
            <a:cs typeface="Calibri" panose="020F0502020204030204" pitchFamily="34" charset="0"/>
          </a:endParaRPr>
        </a:p>
        <a:p>
          <a:pPr marL="171450" lvl="1" indent="-171450" algn="l" defTabSz="800100" rtl="0">
            <a:lnSpc>
              <a:spcPct val="90000"/>
            </a:lnSpc>
            <a:spcBef>
              <a:spcPct val="0"/>
            </a:spcBef>
            <a:spcAft>
              <a:spcPct val="15000"/>
            </a:spcAft>
            <a:buChar char="•"/>
          </a:pPr>
          <a:r>
            <a:rPr lang="en-IE" sz="1800" kern="1200">
              <a:latin typeface="Calibri" panose="020F0502020204030204" pitchFamily="34" charset="0"/>
              <a:cs typeface="Calibri" panose="020F0502020204030204" pitchFamily="34" charset="0"/>
            </a:rPr>
            <a:t>Bullet 1</a:t>
          </a:r>
        </a:p>
        <a:p>
          <a:pPr marL="171450" lvl="1" indent="-171450" algn="l" defTabSz="800100" rtl="0">
            <a:lnSpc>
              <a:spcPct val="90000"/>
            </a:lnSpc>
            <a:spcBef>
              <a:spcPct val="0"/>
            </a:spcBef>
            <a:spcAft>
              <a:spcPct val="15000"/>
            </a:spcAft>
            <a:buChar char="•"/>
          </a:pPr>
          <a:r>
            <a:rPr lang="en-IE" sz="1800" kern="1200">
              <a:latin typeface="Calibri" panose="020F0502020204030204" pitchFamily="34" charset="0"/>
              <a:cs typeface="Calibri" panose="020F0502020204030204" pitchFamily="34" charset="0"/>
            </a:rPr>
            <a:t>Bullet 2</a:t>
          </a:r>
        </a:p>
      </dsp:txBody>
      <dsp:txXfrm rot="5400000">
        <a:off x="6365" y="611970"/>
        <a:ext cx="2869266" cy="1835914"/>
      </dsp:txXfrm>
    </dsp:sp>
    <dsp:sp modelId="{32C5A92E-6BF7-4147-8D3B-45A0624571ED}">
      <dsp:nvSpPr>
        <dsp:cNvPr id="0" name=""/>
        <dsp:cNvSpPr/>
      </dsp:nvSpPr>
      <dsp:spPr>
        <a:xfrm rot="16200000">
          <a:off x="2779300" y="95294"/>
          <a:ext cx="3059856" cy="2869266"/>
        </a:xfrm>
        <a:prstGeom prst="flowChartManualOperation">
          <a:avLst/>
        </a:prstGeom>
        <a:solidFill>
          <a:schemeClr val="accent1">
            <a:alpha val="90000"/>
            <a:hueOff val="0"/>
            <a:satOff val="0"/>
            <a:lumOff val="0"/>
            <a:alphaOff val="-13333"/>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rtl="0">
            <a:lnSpc>
              <a:spcPct val="90000"/>
            </a:lnSpc>
            <a:spcBef>
              <a:spcPct val="0"/>
            </a:spcBef>
            <a:spcAft>
              <a:spcPct val="35000"/>
            </a:spcAft>
            <a:buNone/>
          </a:pPr>
          <a:endParaRPr lang="en-IE" sz="1800" b="0" kern="120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IE" sz="1800" b="0" kern="1200">
              <a:latin typeface="Calibri" panose="020F0502020204030204" pitchFamily="34" charset="0"/>
              <a:cs typeface="Calibri" panose="020F0502020204030204" pitchFamily="34" charset="0"/>
            </a:rPr>
            <a:t>Text Phase 2</a:t>
          </a:r>
          <a:br>
            <a:rPr lang="en-IE" sz="1800" b="0" kern="1200">
              <a:latin typeface="Calibri" panose="020F0502020204030204" pitchFamily="34" charset="0"/>
              <a:cs typeface="Calibri" panose="020F0502020204030204" pitchFamily="34" charset="0"/>
            </a:rPr>
          </a:br>
          <a:endParaRPr lang="en-IE" sz="1800" b="0" kern="120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IE" sz="1800" kern="1200">
              <a:latin typeface="Calibri" panose="020F0502020204030204" pitchFamily="34" charset="0"/>
              <a:cs typeface="Calibri" panose="020F0502020204030204" pitchFamily="34" charset="0"/>
            </a:rPr>
            <a:t>text</a:t>
          </a:r>
        </a:p>
      </dsp:txBody>
      <dsp:txXfrm rot="5400000">
        <a:off x="2874595" y="611970"/>
        <a:ext cx="2869266" cy="1835914"/>
      </dsp:txXfrm>
    </dsp:sp>
    <dsp:sp modelId="{0D7987FC-DBC8-4B03-95AC-7CE716B69BC3}">
      <dsp:nvSpPr>
        <dsp:cNvPr id="0" name=""/>
        <dsp:cNvSpPr/>
      </dsp:nvSpPr>
      <dsp:spPr>
        <a:xfrm rot="16200000">
          <a:off x="5647663" y="95294"/>
          <a:ext cx="3059856" cy="2869266"/>
        </a:xfrm>
        <a:prstGeom prst="flowChartManualOperation">
          <a:avLst/>
        </a:prstGeom>
        <a:solidFill>
          <a:schemeClr val="accent1">
            <a:alpha val="90000"/>
            <a:hueOff val="0"/>
            <a:satOff val="0"/>
            <a:lumOff val="0"/>
            <a:alphaOff val="-26667"/>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ctr" defTabSz="800100" rtl="0">
            <a:lnSpc>
              <a:spcPct val="90000"/>
            </a:lnSpc>
            <a:spcBef>
              <a:spcPct val="0"/>
            </a:spcBef>
            <a:spcAft>
              <a:spcPct val="35000"/>
            </a:spcAft>
            <a:buNone/>
          </a:pPr>
          <a:endParaRPr lang="en-IE" sz="1800" kern="120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IE" sz="1800" b="0" kern="1200">
              <a:latin typeface="Calibri" panose="020F0502020204030204" pitchFamily="34" charset="0"/>
              <a:cs typeface="Calibri" panose="020F0502020204030204" pitchFamily="34" charset="0"/>
            </a:rPr>
            <a:t>Text Phase 3</a:t>
          </a:r>
          <a:br>
            <a:rPr lang="en-IE" sz="1800" b="0" kern="1200">
              <a:latin typeface="Calibri" panose="020F0502020204030204" pitchFamily="34" charset="0"/>
              <a:cs typeface="Calibri" panose="020F0502020204030204" pitchFamily="34" charset="0"/>
            </a:rPr>
          </a:br>
          <a:endParaRPr lang="en-IE" sz="1800" b="0" kern="120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IE" sz="1800" kern="1200">
              <a:latin typeface="Calibri" panose="020F0502020204030204" pitchFamily="34" charset="0"/>
              <a:cs typeface="Calibri" panose="020F0502020204030204" pitchFamily="34" charset="0"/>
            </a:rPr>
            <a:t>text</a:t>
          </a:r>
        </a:p>
      </dsp:txBody>
      <dsp:txXfrm rot="5400000">
        <a:off x="5742958" y="611970"/>
        <a:ext cx="2869266" cy="1835914"/>
      </dsp:txXfrm>
    </dsp:sp>
    <dsp:sp modelId="{64FECA9A-90D8-40C5-9C04-32EF5BF4A107}">
      <dsp:nvSpPr>
        <dsp:cNvPr id="0" name=""/>
        <dsp:cNvSpPr/>
      </dsp:nvSpPr>
      <dsp:spPr>
        <a:xfrm rot="16200000">
          <a:off x="8515124" y="95294"/>
          <a:ext cx="3059856" cy="2869266"/>
        </a:xfrm>
        <a:prstGeom prst="flowChartManualOperation">
          <a:avLst/>
        </a:prstGeom>
        <a:solidFill>
          <a:schemeClr val="accent1">
            <a:alpha val="90000"/>
            <a:hueOff val="0"/>
            <a:satOff val="0"/>
            <a:lumOff val="0"/>
            <a:alphaOff val="-4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rtl="0">
            <a:lnSpc>
              <a:spcPct val="90000"/>
            </a:lnSpc>
            <a:spcBef>
              <a:spcPct val="0"/>
            </a:spcBef>
            <a:spcAft>
              <a:spcPct val="35000"/>
            </a:spcAft>
            <a:buNone/>
          </a:pPr>
          <a:endParaRPr lang="en-IE" sz="1800" b="0" kern="120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IE" sz="1800" b="0" kern="1200">
              <a:latin typeface="Calibri" panose="020F0502020204030204" pitchFamily="34" charset="0"/>
              <a:cs typeface="Calibri" panose="020F0502020204030204" pitchFamily="34" charset="0"/>
            </a:rPr>
            <a:t>Text Phase 4</a:t>
          </a:r>
          <a:br>
            <a:rPr lang="en-IE" sz="1800" b="0" kern="1200">
              <a:latin typeface="Calibri" panose="020F0502020204030204" pitchFamily="34" charset="0"/>
              <a:cs typeface="Calibri" panose="020F0502020204030204" pitchFamily="34" charset="0"/>
            </a:rPr>
          </a:br>
          <a:endParaRPr lang="en-IE" sz="1800" b="0" kern="120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IE" sz="1800" kern="1200">
              <a:latin typeface="Calibri" panose="020F0502020204030204" pitchFamily="34" charset="0"/>
              <a:cs typeface="Calibri" panose="020F0502020204030204" pitchFamily="34" charset="0"/>
            </a:rPr>
            <a:t>Dummy text</a:t>
          </a:r>
        </a:p>
      </dsp:txBody>
      <dsp:txXfrm rot="5400000">
        <a:off x="8610419" y="611970"/>
        <a:ext cx="2869266" cy="1835914"/>
      </dsp:txXfrm>
    </dsp:sp>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BDAC4D7-E809-3C42-8861-7253F4E2F86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6605ABE4-7D4C-EB44-877F-96C2F4B4655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55A7DDC-5DB1-6244-9F79-DA6A8A626651}" type="datetimeFigureOut">
              <a:rPr lang="en-GB" smtClean="0"/>
              <a:t>18/06/2025</a:t>
            </a:fld>
            <a:endParaRPr lang="en-GB"/>
          </a:p>
        </p:txBody>
      </p:sp>
      <p:sp>
        <p:nvSpPr>
          <p:cNvPr id="4" name="Footer Placeholder 3">
            <a:extLst>
              <a:ext uri="{FF2B5EF4-FFF2-40B4-BE49-F238E27FC236}">
                <a16:creationId xmlns:a16="http://schemas.microsoft.com/office/drawing/2014/main" id="{49D3555D-255B-734E-9D75-8A5DABF465A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3BF88CAD-A74E-4D49-B670-8C8BEAA6E9A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4B0514D-EA06-A748-83B4-912498E611A8}" type="slidenum">
              <a:rPr lang="en-GB" smtClean="0"/>
              <a:t>‹#›</a:t>
            </a:fld>
            <a:endParaRPr lang="en-GB"/>
          </a:p>
        </p:txBody>
      </p:sp>
    </p:spTree>
    <p:extLst>
      <p:ext uri="{BB962C8B-B14F-4D97-AF65-F5344CB8AC3E}">
        <p14:creationId xmlns:p14="http://schemas.microsoft.com/office/powerpoint/2010/main" val="4026226003"/>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5-06-11T11:06:39.336"/>
    </inkml:context>
    <inkml:brush xml:id="br0">
      <inkml:brushProperty name="width" value="0.1" units="cm"/>
      <inkml:brushProperty name="height" value="0.1" units="cm"/>
      <inkml:brushProperty name="color" value="#E71224"/>
    </inkml:brush>
  </inkml:definitions>
  <inkml:trace contextRef="#ctx0" brushRef="#br0">21745 11647 16383 0 0,'0'0'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en-I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5F59A86B-9331-47F8-9CB8-30AFD1F6D4A5}" type="datetimeFigureOut">
              <a:rPr lang="en-IE" smtClean="0"/>
              <a:pPr/>
              <a:t>18/06/2025</a:t>
            </a:fld>
            <a:endParaRPr lang="en-I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IE"/>
              <a:t>Formatvorlagen des Textmasters bearbeiten</a:t>
            </a:r>
          </a:p>
          <a:p>
            <a:pPr lvl="1"/>
            <a:r>
              <a:rPr lang="en-IE"/>
              <a:t>Zweite Ebene</a:t>
            </a:r>
          </a:p>
          <a:p>
            <a:pPr lvl="2"/>
            <a:r>
              <a:rPr lang="en-IE"/>
              <a:t>Dritte Ebene</a:t>
            </a:r>
          </a:p>
          <a:p>
            <a:pPr lvl="3"/>
            <a:r>
              <a:rPr lang="en-IE"/>
              <a:t>Vierte Ebene</a:t>
            </a:r>
          </a:p>
          <a:p>
            <a:pPr lvl="4"/>
            <a:r>
              <a:rPr lang="en-I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en-I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527DFC0B-81FF-47CA-B58A-4F5611807459}" type="slidenum">
              <a:rPr lang="en-IE" smtClean="0"/>
              <a:pPr/>
              <a:t>‹#›</a:t>
            </a:fld>
            <a:endParaRPr lang="en-IE"/>
          </a:p>
        </p:txBody>
      </p:sp>
    </p:spTree>
    <p:extLst>
      <p:ext uri="{BB962C8B-B14F-4D97-AF65-F5344CB8AC3E}">
        <p14:creationId xmlns:p14="http://schemas.microsoft.com/office/powerpoint/2010/main" val="2780195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27DFC0B-81FF-47CA-B58A-4F5611807459}" type="slidenum">
              <a:rPr lang="en-IE" smtClean="0"/>
              <a:pPr/>
              <a:t>1</a:t>
            </a:fld>
            <a:endParaRPr lang="en-IE"/>
          </a:p>
        </p:txBody>
      </p:sp>
    </p:spTree>
    <p:extLst>
      <p:ext uri="{BB962C8B-B14F-4D97-AF65-F5344CB8AC3E}">
        <p14:creationId xmlns:p14="http://schemas.microsoft.com/office/powerpoint/2010/main" val="25504386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Master" Target="../slideMasters/slideMaster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5" Type="http://schemas.openxmlformats.org/officeDocument/2006/relationships/chart" Target="../charts/chart4.xml"/><Relationship Id="rId4" Type="http://schemas.openxmlformats.org/officeDocument/2006/relationships/image" Target="../media/image12.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5" Type="http://schemas.openxmlformats.org/officeDocument/2006/relationships/chart" Target="../charts/chart5.xml"/><Relationship Id="rId4" Type="http://schemas.openxmlformats.org/officeDocument/2006/relationships/image" Target="../media/image1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2.xml"/><Relationship Id="rId5" Type="http://schemas.openxmlformats.org/officeDocument/2006/relationships/chart" Target="../charts/chart6.xml"/><Relationship Id="rId4" Type="http://schemas.openxmlformats.org/officeDocument/2006/relationships/image" Target="../media/image1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12.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1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1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oleObject" Target="../embeddings/oleObject16.bin"/><Relationship Id="rId7" Type="http://schemas.openxmlformats.org/officeDocument/2006/relationships/diagramQuickStyle" Target="../diagrams/quickStyle2.xml"/><Relationship Id="rId2" Type="http://schemas.openxmlformats.org/officeDocument/2006/relationships/slideMaster" Target="../slideMasters/slideMaster2.xml"/><Relationship Id="rId1" Type="http://schemas.openxmlformats.org/officeDocument/2006/relationships/tags" Target="../tags/tag17.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image" Target="../media/image12.emf"/><Relationship Id="rId9" Type="http://schemas.microsoft.com/office/2007/relationships/diagramDrawing" Target="../diagrams/drawing2.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12.emf"/></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18.bin"/><Relationship Id="rId7"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9.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12.emf"/><Relationship Id="rId9" Type="http://schemas.openxmlformats.org/officeDocument/2006/relationships/image" Target="../media/image7.png"/></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12.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12.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3.xml"/><Relationship Id="rId1" Type="http://schemas.openxmlformats.org/officeDocument/2006/relationships/tags" Target="../tags/tag23.xml"/><Relationship Id="rId4" Type="http://schemas.openxmlformats.org/officeDocument/2006/relationships/image" Target="../media/image16.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24.xml"/><Relationship Id="rId4" Type="http://schemas.openxmlformats.org/officeDocument/2006/relationships/image" Target="../media/image17.emf"/></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24.gif"/><Relationship Id="rId13" Type="http://schemas.openxmlformats.org/officeDocument/2006/relationships/image" Target="../media/image29.jpeg"/><Relationship Id="rId18" Type="http://schemas.openxmlformats.org/officeDocument/2006/relationships/image" Target="../media/image34.svg"/><Relationship Id="rId3" Type="http://schemas.openxmlformats.org/officeDocument/2006/relationships/image" Target="../media/image19.png"/><Relationship Id="rId7" Type="http://schemas.openxmlformats.org/officeDocument/2006/relationships/image" Target="../media/image23.jpeg"/><Relationship Id="rId12" Type="http://schemas.openxmlformats.org/officeDocument/2006/relationships/image" Target="../media/image28.png"/><Relationship Id="rId17" Type="http://schemas.openxmlformats.org/officeDocument/2006/relationships/image" Target="../media/image33.png"/><Relationship Id="rId2" Type="http://schemas.openxmlformats.org/officeDocument/2006/relationships/image" Target="../media/image18.jpeg"/><Relationship Id="rId16" Type="http://schemas.openxmlformats.org/officeDocument/2006/relationships/image" Target="../media/image32.svg"/><Relationship Id="rId1" Type="http://schemas.openxmlformats.org/officeDocument/2006/relationships/slideMaster" Target="../slideMasters/slideMaster3.xml"/><Relationship Id="rId6" Type="http://schemas.openxmlformats.org/officeDocument/2006/relationships/image" Target="../media/image22.jpeg"/><Relationship Id="rId11" Type="http://schemas.openxmlformats.org/officeDocument/2006/relationships/image" Target="../media/image27.jpeg"/><Relationship Id="rId5" Type="http://schemas.openxmlformats.org/officeDocument/2006/relationships/image" Target="../media/image21.jpeg"/><Relationship Id="rId15" Type="http://schemas.openxmlformats.org/officeDocument/2006/relationships/image" Target="../media/image31.png"/><Relationship Id="rId10" Type="http://schemas.openxmlformats.org/officeDocument/2006/relationships/image" Target="../media/image26.png"/><Relationship Id="rId4" Type="http://schemas.openxmlformats.org/officeDocument/2006/relationships/image" Target="../media/image20.jpeg"/><Relationship Id="rId9" Type="http://schemas.openxmlformats.org/officeDocument/2006/relationships/image" Target="../media/image25.png"/><Relationship Id="rId14" Type="http://schemas.openxmlformats.org/officeDocument/2006/relationships/image" Target="../media/image30.jpeg"/></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24.gif"/><Relationship Id="rId13" Type="http://schemas.openxmlformats.org/officeDocument/2006/relationships/image" Target="../media/image29.jpeg"/><Relationship Id="rId18" Type="http://schemas.openxmlformats.org/officeDocument/2006/relationships/image" Target="../media/image34.svg"/><Relationship Id="rId3" Type="http://schemas.openxmlformats.org/officeDocument/2006/relationships/image" Target="../media/image19.png"/><Relationship Id="rId7" Type="http://schemas.openxmlformats.org/officeDocument/2006/relationships/image" Target="../media/image23.jpeg"/><Relationship Id="rId12" Type="http://schemas.openxmlformats.org/officeDocument/2006/relationships/image" Target="../media/image28.png"/><Relationship Id="rId17" Type="http://schemas.openxmlformats.org/officeDocument/2006/relationships/image" Target="../media/image33.png"/><Relationship Id="rId2" Type="http://schemas.openxmlformats.org/officeDocument/2006/relationships/image" Target="../media/image18.jpeg"/><Relationship Id="rId16" Type="http://schemas.openxmlformats.org/officeDocument/2006/relationships/image" Target="../media/image32.svg"/><Relationship Id="rId1" Type="http://schemas.openxmlformats.org/officeDocument/2006/relationships/slideMaster" Target="../slideMasters/slideMaster3.xml"/><Relationship Id="rId6" Type="http://schemas.openxmlformats.org/officeDocument/2006/relationships/image" Target="../media/image22.jpeg"/><Relationship Id="rId11" Type="http://schemas.openxmlformats.org/officeDocument/2006/relationships/image" Target="../media/image27.jpeg"/><Relationship Id="rId5" Type="http://schemas.openxmlformats.org/officeDocument/2006/relationships/image" Target="../media/image21.jpeg"/><Relationship Id="rId15" Type="http://schemas.openxmlformats.org/officeDocument/2006/relationships/image" Target="../media/image31.png"/><Relationship Id="rId10" Type="http://schemas.openxmlformats.org/officeDocument/2006/relationships/image" Target="../media/image26.png"/><Relationship Id="rId4" Type="http://schemas.openxmlformats.org/officeDocument/2006/relationships/image" Target="../media/image20.jpeg"/><Relationship Id="rId9" Type="http://schemas.openxmlformats.org/officeDocument/2006/relationships/image" Target="../media/image25.png"/><Relationship Id="rId14" Type="http://schemas.openxmlformats.org/officeDocument/2006/relationships/image" Target="../media/image30.jpe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25.xml"/><Relationship Id="rId4" Type="http://schemas.openxmlformats.org/officeDocument/2006/relationships/image" Target="../media/image36.emf"/></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image" Target="../media/image41.png"/><Relationship Id="rId1" Type="http://schemas.openxmlformats.org/officeDocument/2006/relationships/slideMaster" Target="../slideMasters/slideMaster5.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 Id="rId9" Type="http://schemas.openxmlformats.org/officeDocument/2006/relationships/image" Target="../media/image48.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5.xml"/><Relationship Id="rId4" Type="http://schemas.openxmlformats.org/officeDocument/2006/relationships/image" Target="../media/image51.jpe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Tree>
    <p:extLst>
      <p:ext uri="{BB962C8B-B14F-4D97-AF65-F5344CB8AC3E}">
        <p14:creationId xmlns:p14="http://schemas.microsoft.com/office/powerpoint/2010/main" val="79413047"/>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7" name="Inhaltsplatzhalter 1">
            <a:extLst>
              <a:ext uri="{FF2B5EF4-FFF2-40B4-BE49-F238E27FC236}">
                <a16:creationId xmlns:a16="http://schemas.microsoft.com/office/drawing/2014/main" id="{C1F9600C-DD2A-3D4A-B5B0-19ADE1EE280E}"/>
              </a:ext>
            </a:extLst>
          </p:cNvPr>
          <p:cNvSpPr>
            <a:spLocks noGrp="1"/>
          </p:cNvSpPr>
          <p:nvPr>
            <p:ph idx="18"/>
          </p:nvPr>
        </p:nvSpPr>
        <p:spPr>
          <a:xfrm>
            <a:off x="349412" y="854984"/>
            <a:ext cx="3648000" cy="3311525"/>
          </a:xfrm>
        </p:spPr>
        <p:txBody>
          <a:bodyPr>
            <a:noAutofit/>
          </a:bodyPr>
          <a:lstStyle>
            <a:lvl1pPr>
              <a:defRPr sz="1800"/>
            </a:lvl1pPr>
          </a:lstStyle>
          <a:p>
            <a:r>
              <a:rPr lang="de-DE" err="1">
                <a:latin typeface="Calibri" panose="020F0502020204030204" pitchFamily="34" charset="0"/>
                <a:cs typeface="Calibri" panose="020F0502020204030204" pitchFamily="34" charset="0"/>
              </a:rPr>
              <a:t>Examples</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for</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bulle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points</a:t>
            </a:r>
            <a:r>
              <a:rPr lang="de-DE">
                <a:latin typeface="Calibri" panose="020F0502020204030204" pitchFamily="34" charset="0"/>
                <a:cs typeface="Calibri" panose="020F0502020204030204" pitchFamily="34" charset="0"/>
              </a:rPr>
              <a:t>.</a:t>
            </a:r>
          </a:p>
          <a:p>
            <a:r>
              <a:rPr lang="en-US">
                <a:latin typeface="Calibri" panose="020F0502020204030204" pitchFamily="34" charset="0"/>
                <a:cs typeface="Calibri" panose="020F0502020204030204" pitchFamily="34" charset="0"/>
              </a:rPr>
              <a:t>Be aware that there is a significant difference between using only the enter-key and using the combination of enter- and shift-key.</a:t>
            </a:r>
          </a:p>
          <a:p>
            <a:r>
              <a:rPr lang="en-US">
                <a:latin typeface="Calibri" panose="020F0502020204030204" pitchFamily="34" charset="0"/>
                <a:cs typeface="Calibri" panose="020F0502020204030204" pitchFamily="34" charset="0"/>
              </a:rPr>
              <a:t>Using only the enter-key will create a new bullet point.</a:t>
            </a:r>
            <a:br>
              <a:rPr lang="en-US">
                <a:latin typeface="Calibri" panose="020F0502020204030204" pitchFamily="34" charset="0"/>
                <a:cs typeface="Calibri" panose="020F0502020204030204" pitchFamily="34" charset="0"/>
              </a:rPr>
            </a:br>
            <a:r>
              <a:rPr lang="en-US">
                <a:latin typeface="Calibri" panose="020F0502020204030204" pitchFamily="34" charset="0"/>
                <a:cs typeface="Calibri" panose="020F0502020204030204" pitchFamily="34" charset="0"/>
              </a:rPr>
              <a:t> </a:t>
            </a:r>
            <a:br>
              <a:rPr lang="en-US">
                <a:latin typeface="Calibri" panose="020F0502020204030204" pitchFamily="34" charset="0"/>
                <a:cs typeface="Calibri" panose="020F0502020204030204" pitchFamily="34" charset="0"/>
              </a:rPr>
            </a:br>
            <a:r>
              <a:rPr lang="en-US">
                <a:latin typeface="Calibri" panose="020F0502020204030204" pitchFamily="34" charset="0"/>
                <a:cs typeface="Calibri" panose="020F0502020204030204" pitchFamily="34" charset="0"/>
              </a:rPr>
              <a:t>If you only want to start the text in a new line (like this sentence) and keep the numeration, use shift-enter. </a:t>
            </a:r>
          </a:p>
          <a:p>
            <a:r>
              <a:rPr lang="en-US">
                <a:latin typeface="Calibri" panose="020F0502020204030204" pitchFamily="34" charset="0"/>
                <a:cs typeface="Calibri" panose="020F0502020204030204" pitchFamily="34" charset="0"/>
              </a:rPr>
              <a:t>Text will resize automatically.</a:t>
            </a:r>
          </a:p>
          <a:p>
            <a:endParaRPr lang="de-DE">
              <a:latin typeface="Calibri" panose="020F0502020204030204" pitchFamily="34" charset="0"/>
              <a:cs typeface="Calibri" panose="020F0502020204030204" pitchFamily="34" charset="0"/>
            </a:endParaRPr>
          </a:p>
          <a:p>
            <a:endParaRPr lang="en-US">
              <a:latin typeface="Calibri" panose="020F0502020204030204" pitchFamily="34" charset="0"/>
              <a:cs typeface="Calibri" panose="020F0502020204030204" pitchFamily="34" charset="0"/>
            </a:endParaRPr>
          </a:p>
        </p:txBody>
      </p:sp>
      <p:sp>
        <p:nvSpPr>
          <p:cNvPr id="8" name="Inhaltsplatzhalter 2">
            <a:extLst>
              <a:ext uri="{FF2B5EF4-FFF2-40B4-BE49-F238E27FC236}">
                <a16:creationId xmlns:a16="http://schemas.microsoft.com/office/drawing/2014/main" id="{C36A1AC1-56A4-4346-B7AD-92B4196EBB80}"/>
              </a:ext>
            </a:extLst>
          </p:cNvPr>
          <p:cNvSpPr>
            <a:spLocks noGrp="1"/>
          </p:cNvSpPr>
          <p:nvPr>
            <p:ph idx="19"/>
          </p:nvPr>
        </p:nvSpPr>
        <p:spPr>
          <a:xfrm>
            <a:off x="7752184" y="836362"/>
            <a:ext cx="3648000" cy="3311525"/>
          </a:xfrm>
        </p:spPr>
        <p:txBody>
          <a:bodyPr/>
          <a:lstStyle>
            <a:lvl1pPr>
              <a:defRPr sz="1800"/>
            </a:lvl1pPr>
            <a:lvl2pPr>
              <a:defRPr sz="1800"/>
            </a:lvl2pPr>
            <a:lvl3pPr>
              <a:defRPr sz="1800"/>
            </a:lvl3pPr>
            <a:lvl4pPr>
              <a:defRPr sz="1800"/>
            </a:lvl4pPr>
            <a:lvl5pPr>
              <a:defRPr sz="1800"/>
            </a:lvl5pPr>
          </a:lstStyle>
          <a:p>
            <a:r>
              <a:rPr lang="de-DE" err="1">
                <a:latin typeface="Calibri" panose="020F0502020204030204" pitchFamily="34" charset="0"/>
                <a:cs typeface="Calibri" panose="020F0502020204030204" pitchFamily="34" charset="0"/>
              </a:rPr>
              <a:t>Example</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for</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bulle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points</a:t>
            </a:r>
            <a:br>
              <a:rPr lang="de-DE">
                <a:latin typeface="Calibri" panose="020F0502020204030204" pitchFamily="34" charset="0"/>
                <a:cs typeface="Calibri" panose="020F0502020204030204" pitchFamily="34" charset="0"/>
              </a:rPr>
            </a:br>
            <a:endParaRPr lang="de-DE">
              <a:latin typeface="Calibri" panose="020F0502020204030204" pitchFamily="34" charset="0"/>
              <a:cs typeface="Calibri" panose="020F0502020204030204" pitchFamily="34" charset="0"/>
            </a:endParaRPr>
          </a:p>
          <a:p>
            <a:r>
              <a:rPr lang="de-DE">
                <a:latin typeface="Calibri" panose="020F0502020204030204" pitchFamily="34" charset="0"/>
                <a:cs typeface="Calibri" panose="020F0502020204030204" pitchFamily="34" charset="0"/>
              </a:rPr>
              <a:t>Dummy </a:t>
            </a:r>
            <a:r>
              <a:rPr lang="de-DE" err="1">
                <a:latin typeface="Calibri" panose="020F0502020204030204" pitchFamily="34" charset="0"/>
                <a:cs typeface="Calibri" panose="020F0502020204030204" pitchFamily="34" charset="0"/>
              </a:rPr>
              <a:t>tex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here</a:t>
            </a:r>
            <a:endParaRPr lang="de-DE">
              <a:latin typeface="Calibri" panose="020F0502020204030204" pitchFamily="34" charset="0"/>
              <a:cs typeface="Calibri" panose="020F0502020204030204" pitchFamily="34" charset="0"/>
            </a:endParaRPr>
          </a:p>
          <a:p>
            <a:pPr lvl="1"/>
            <a:r>
              <a:rPr lang="de-DE">
                <a:latin typeface="Calibri" panose="020F0502020204030204" pitchFamily="34" charset="0"/>
                <a:cs typeface="Calibri" panose="020F0502020204030204" pitchFamily="34" charset="0"/>
              </a:rPr>
              <a:t>Second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2"/>
            <a:r>
              <a:rPr lang="de-DE">
                <a:latin typeface="Calibri" panose="020F0502020204030204" pitchFamily="34" charset="0"/>
                <a:cs typeface="Calibri" panose="020F0502020204030204" pitchFamily="34" charset="0"/>
              </a:rPr>
              <a:t>Third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3"/>
            <a:r>
              <a:rPr lang="de-DE" err="1">
                <a:latin typeface="Calibri" panose="020F0502020204030204" pitchFamily="34" charset="0"/>
                <a:cs typeface="Calibri" panose="020F0502020204030204" pitchFamily="34" charset="0"/>
              </a:rPr>
              <a:t>Fourth</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4"/>
            <a:r>
              <a:rPr lang="de-DE" err="1">
                <a:latin typeface="Calibri" panose="020F0502020204030204" pitchFamily="34" charset="0"/>
                <a:cs typeface="Calibri" panose="020F0502020204030204" pitchFamily="34" charset="0"/>
              </a:rPr>
              <a:t>Fifth</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p:txBody>
      </p:sp>
      <p:graphicFrame>
        <p:nvGraphicFramePr>
          <p:cNvPr id="9" name="Inhaltsplatzhalter 7" title="Infobox Platzhalter">
            <a:extLst>
              <a:ext uri="{FF2B5EF4-FFF2-40B4-BE49-F238E27FC236}">
                <a16:creationId xmlns:a16="http://schemas.microsoft.com/office/drawing/2014/main" id="{03B3DB83-3BE0-1D49-9913-2E54862A2869}"/>
              </a:ext>
            </a:extLst>
          </p:cNvPr>
          <p:cNvGraphicFramePr>
            <a:graphicFrameLocks/>
          </p:cNvGraphicFramePr>
          <p:nvPr userDrawn="1">
            <p:extLst>
              <p:ext uri="{D42A27DB-BD31-4B8C-83A1-F6EECF244321}">
                <p14:modId xmlns:p14="http://schemas.microsoft.com/office/powerpoint/2010/main" val="2580603730"/>
              </p:ext>
            </p:extLst>
          </p:nvPr>
        </p:nvGraphicFramePr>
        <p:xfrm>
          <a:off x="4079776" y="836362"/>
          <a:ext cx="3474386" cy="3203797"/>
        </p:xfrm>
        <a:graphic>
          <a:graphicData uri="http://schemas.openxmlformats.org/drawingml/2006/table">
            <a:tbl>
              <a:tblPr bandCol="1">
                <a:tableStyleId>{3B4B98B0-60AC-42C2-AFA5-B58CD77FA1E5}</a:tableStyleId>
              </a:tblPr>
              <a:tblGrid>
                <a:gridCol w="3474386">
                  <a:extLst>
                    <a:ext uri="{9D8B030D-6E8A-4147-A177-3AD203B41FA5}">
                      <a16:colId xmlns:a16="http://schemas.microsoft.com/office/drawing/2014/main" val="1090517882"/>
                    </a:ext>
                  </a:extLst>
                </a:gridCol>
              </a:tblGrid>
              <a:tr h="3203797">
                <a:tc>
                  <a:txBody>
                    <a:bodyPr/>
                    <a:lstStyle/>
                    <a:p>
                      <a:r>
                        <a:rPr lang="de-DE" sz="1800" b="1">
                          <a:solidFill>
                            <a:srgbClr val="015092"/>
                          </a:solidFill>
                          <a:latin typeface="Calibri" panose="020F0502020204030204" pitchFamily="34" charset="0"/>
                          <a:cs typeface="Calibri" panose="020F0502020204030204" pitchFamily="34" charset="0"/>
                        </a:rPr>
                        <a:t>Infobox </a:t>
                      </a:r>
                    </a:p>
                    <a:p>
                      <a:endParaRPr lang="de-DE" sz="1800" b="1">
                        <a:solidFill>
                          <a:srgbClr val="015092"/>
                        </a:solidFill>
                        <a:latin typeface="Calibri" panose="020F0502020204030204" pitchFamily="34" charset="0"/>
                        <a:cs typeface="Calibri" panose="020F0502020204030204" pitchFamily="34" charset="0"/>
                      </a:endParaRPr>
                    </a:p>
                    <a:p>
                      <a:r>
                        <a:rPr lang="de-DE" sz="1800">
                          <a:solidFill>
                            <a:srgbClr val="015092"/>
                          </a:solidFill>
                          <a:latin typeface="Calibri" panose="020F0502020204030204" pitchFamily="34" charset="0"/>
                          <a:cs typeface="Calibri" panose="020F0502020204030204" pitchFamily="34" charset="0"/>
                        </a:rPr>
                        <a:t>By using the buttons ‚increase indent‘ and ‚decrease indent‘ in the ‚Start‘ menu, you can switch between indention levels. This is valid for all kinds of listings, e.g. bullet points and enumerati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alpha val="20000"/>
                      </a:schemeClr>
                    </a:solidFill>
                  </a:tcPr>
                </a:tc>
                <a:extLst>
                  <a:ext uri="{0D108BD9-81ED-4DB2-BD59-A6C34878D82A}">
                    <a16:rowId xmlns:a16="http://schemas.microsoft.com/office/drawing/2014/main" val="2331007764"/>
                  </a:ext>
                </a:extLst>
              </a:tr>
            </a:tbl>
          </a:graphicData>
        </a:graphic>
      </p:graphicFrame>
    </p:spTree>
    <p:extLst>
      <p:ext uri="{BB962C8B-B14F-4D97-AF65-F5344CB8AC3E}">
        <p14:creationId xmlns:p14="http://schemas.microsoft.com/office/powerpoint/2010/main" val="1482494923"/>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
            <a:extLst>
              <a:ext uri="{FF2B5EF4-FFF2-40B4-BE49-F238E27FC236}">
                <a16:creationId xmlns:a16="http://schemas.microsoft.com/office/drawing/2014/main" id="{63F95587-91DB-574E-BF98-C631A8B7FEB8}"/>
              </a:ext>
            </a:extLst>
          </p:cNvPr>
          <p:cNvSpPr>
            <a:spLocks noGrp="1"/>
          </p:cNvSpPr>
          <p:nvPr>
            <p:ph idx="4294967295"/>
          </p:nvPr>
        </p:nvSpPr>
        <p:spPr>
          <a:xfrm>
            <a:off x="359864" y="1124744"/>
            <a:ext cx="11521546" cy="3311810"/>
          </a:xfrm>
        </p:spPr>
        <p:txBody>
          <a:bodyPr numCol="2" spcCol="216000">
            <a:normAutofit/>
          </a:bodyPr>
          <a:lstStyle/>
          <a:p>
            <a:pPr marL="342900" indent="-342900">
              <a:lnSpc>
                <a:spcPct val="120000"/>
              </a:lnSpc>
              <a:buClr>
                <a:srgbClr val="707F86"/>
              </a:buClr>
              <a:buFont typeface="+mj-lt"/>
              <a:buAutoNum type="arabicParenBoth"/>
            </a:pPr>
            <a:r>
              <a:rPr lang="en-US"/>
              <a:t>The size of this copy will adapt automatically, depending on how many words you insert or write. If the size of the copy appears too small – rather try editing the text than </a:t>
            </a:r>
            <a:r>
              <a:rPr lang="en-US" err="1"/>
              <a:t>maximising</a:t>
            </a:r>
            <a:r>
              <a:rPr lang="en-US"/>
              <a:t> the size of the text box. </a:t>
            </a:r>
          </a:p>
          <a:p>
            <a:pPr marL="342900" indent="-342900">
              <a:lnSpc>
                <a:spcPct val="120000"/>
              </a:lnSpc>
              <a:buClr>
                <a:srgbClr val="707F86"/>
              </a:buClr>
              <a:buFont typeface="+mj-lt"/>
              <a:buAutoNum type="arabicParenBoth"/>
            </a:pPr>
            <a:r>
              <a:rPr lang="de-DE"/>
              <a:t>In </a:t>
            </a:r>
            <a:r>
              <a:rPr lang="de-DE" err="1"/>
              <a:t>general</a:t>
            </a:r>
            <a:r>
              <a:rPr lang="de-DE"/>
              <a:t>, </a:t>
            </a:r>
            <a:r>
              <a:rPr lang="de-DE" err="1"/>
              <a:t>it</a:t>
            </a:r>
            <a:r>
              <a:rPr lang="de-DE"/>
              <a:t> </a:t>
            </a:r>
            <a:r>
              <a:rPr lang="de-DE" err="1"/>
              <a:t>is</a:t>
            </a:r>
            <a:r>
              <a:rPr lang="de-DE"/>
              <a:t> a </a:t>
            </a:r>
            <a:r>
              <a:rPr lang="de-DE" err="1"/>
              <a:t>good</a:t>
            </a:r>
            <a:r>
              <a:rPr lang="de-DE"/>
              <a:t> </a:t>
            </a:r>
            <a:r>
              <a:rPr lang="de-DE" err="1"/>
              <a:t>idea</a:t>
            </a:r>
            <a:r>
              <a:rPr lang="de-DE"/>
              <a:t> just </a:t>
            </a:r>
            <a:r>
              <a:rPr lang="de-DE" err="1"/>
              <a:t>to</a:t>
            </a:r>
            <a:r>
              <a:rPr lang="de-DE"/>
              <a:t> </a:t>
            </a:r>
            <a:r>
              <a:rPr lang="de-DE" err="1"/>
              <a:t>provide</a:t>
            </a:r>
            <a:r>
              <a:rPr lang="de-DE"/>
              <a:t> </a:t>
            </a:r>
            <a:r>
              <a:rPr lang="de-DE" err="1"/>
              <a:t>abstracts</a:t>
            </a:r>
            <a:r>
              <a:rPr lang="de-DE"/>
              <a:t> - </a:t>
            </a:r>
            <a:r>
              <a:rPr lang="de-DE" err="1"/>
              <a:t>this</a:t>
            </a:r>
            <a:r>
              <a:rPr lang="de-DE"/>
              <a:t> </a:t>
            </a:r>
            <a:r>
              <a:rPr lang="de-DE" err="1"/>
              <a:t>is</a:t>
            </a:r>
            <a:r>
              <a:rPr lang="de-DE"/>
              <a:t> a screen </a:t>
            </a:r>
            <a:r>
              <a:rPr lang="de-DE" err="1"/>
              <a:t>presentation</a:t>
            </a:r>
            <a:r>
              <a:rPr lang="de-DE"/>
              <a:t>, and </a:t>
            </a:r>
            <a:r>
              <a:rPr lang="de-DE" err="1"/>
              <a:t>nobody</a:t>
            </a:r>
            <a:r>
              <a:rPr lang="de-DE"/>
              <a:t> </a:t>
            </a:r>
            <a:r>
              <a:rPr lang="de-DE" err="1"/>
              <a:t>likes</a:t>
            </a:r>
            <a:r>
              <a:rPr lang="de-DE"/>
              <a:t> </a:t>
            </a:r>
            <a:r>
              <a:rPr lang="de-DE" err="1"/>
              <a:t>to</a:t>
            </a:r>
            <a:r>
              <a:rPr lang="de-DE"/>
              <a:t> </a:t>
            </a:r>
            <a:r>
              <a:rPr lang="de-DE" err="1"/>
              <a:t>read</a:t>
            </a:r>
            <a:r>
              <a:rPr lang="de-DE"/>
              <a:t> </a:t>
            </a:r>
            <a:r>
              <a:rPr lang="de-DE" err="1"/>
              <a:t>much</a:t>
            </a:r>
            <a:r>
              <a:rPr lang="de-DE"/>
              <a:t> </a:t>
            </a:r>
            <a:r>
              <a:rPr lang="de-DE" err="1"/>
              <a:t>text</a:t>
            </a:r>
            <a:r>
              <a:rPr lang="de-DE"/>
              <a:t> on </a:t>
            </a:r>
            <a:r>
              <a:rPr lang="de-DE" err="1"/>
              <a:t>the</a:t>
            </a:r>
            <a:r>
              <a:rPr lang="de-DE"/>
              <a:t> screen. </a:t>
            </a:r>
          </a:p>
          <a:p>
            <a:pPr marL="342900" indent="-342900">
              <a:lnSpc>
                <a:spcPct val="120000"/>
              </a:lnSpc>
              <a:buClr>
                <a:srgbClr val="707F86"/>
              </a:buClr>
              <a:buFont typeface="+mj-lt"/>
              <a:buAutoNum type="arabicParenBoth"/>
            </a:pPr>
            <a:endParaRPr lang="de-DE"/>
          </a:p>
          <a:p>
            <a:pPr marL="342900" indent="-342900">
              <a:lnSpc>
                <a:spcPct val="120000"/>
              </a:lnSpc>
              <a:buClr>
                <a:srgbClr val="707F86"/>
              </a:buClr>
              <a:buFont typeface="+mj-lt"/>
              <a:buAutoNum type="arabicParenBoth"/>
            </a:pPr>
            <a:r>
              <a:rPr lang="en-US"/>
              <a:t>Be aware that there is a significant difference between using only the enter-key and using the combination of enter- and shift-key</a:t>
            </a:r>
            <a:r>
              <a:rPr lang="de-DE"/>
              <a:t>.</a:t>
            </a:r>
          </a:p>
          <a:p>
            <a:pPr marL="342900" indent="-342900">
              <a:lnSpc>
                <a:spcPct val="120000"/>
              </a:lnSpc>
              <a:buClr>
                <a:srgbClr val="707F86"/>
              </a:buClr>
              <a:buFont typeface="+mj-lt"/>
              <a:buAutoNum type="arabicParenBoth"/>
            </a:pPr>
            <a:r>
              <a:rPr lang="de-DE"/>
              <a:t>In </a:t>
            </a:r>
            <a:r>
              <a:rPr lang="de-DE" err="1"/>
              <a:t>this</a:t>
            </a:r>
            <a:r>
              <a:rPr lang="de-DE"/>
              <a:t> </a:t>
            </a:r>
            <a:r>
              <a:rPr lang="de-DE" err="1"/>
              <a:t>textbox</a:t>
            </a:r>
            <a:r>
              <a:rPr lang="de-DE"/>
              <a:t>, </a:t>
            </a:r>
            <a:r>
              <a:rPr lang="de-DE" err="1"/>
              <a:t>using</a:t>
            </a:r>
            <a:r>
              <a:rPr lang="de-DE"/>
              <a:t> </a:t>
            </a:r>
            <a:r>
              <a:rPr lang="de-DE" err="1"/>
              <a:t>only</a:t>
            </a:r>
            <a:r>
              <a:rPr lang="de-DE"/>
              <a:t> </a:t>
            </a:r>
            <a:r>
              <a:rPr lang="de-DE" err="1"/>
              <a:t>the</a:t>
            </a:r>
            <a:r>
              <a:rPr lang="de-DE"/>
              <a:t> enter-</a:t>
            </a:r>
            <a:r>
              <a:rPr lang="de-DE" err="1"/>
              <a:t>key</a:t>
            </a:r>
            <a:r>
              <a:rPr lang="de-DE"/>
              <a:t> will </a:t>
            </a:r>
            <a:r>
              <a:rPr lang="de-DE" err="1"/>
              <a:t>create</a:t>
            </a:r>
            <a:r>
              <a:rPr lang="de-DE"/>
              <a:t> a </a:t>
            </a:r>
            <a:r>
              <a:rPr lang="de-DE" err="1"/>
              <a:t>new</a:t>
            </a:r>
            <a:r>
              <a:rPr lang="de-DE"/>
              <a:t> </a:t>
            </a:r>
            <a:r>
              <a:rPr lang="de-DE" err="1"/>
              <a:t>paragraph</a:t>
            </a:r>
            <a:r>
              <a:rPr lang="de-DE"/>
              <a:t>, </a:t>
            </a:r>
            <a:r>
              <a:rPr lang="de-DE" err="1"/>
              <a:t>causing</a:t>
            </a:r>
            <a:r>
              <a:rPr lang="de-DE"/>
              <a:t> a </a:t>
            </a:r>
            <a:r>
              <a:rPr lang="de-DE" err="1"/>
              <a:t>new</a:t>
            </a:r>
            <a:r>
              <a:rPr lang="de-DE"/>
              <a:t> </a:t>
            </a:r>
            <a:r>
              <a:rPr lang="de-DE" err="1"/>
              <a:t>numeration</a:t>
            </a:r>
            <a:r>
              <a:rPr lang="de-DE"/>
              <a:t>. </a:t>
            </a:r>
            <a:br>
              <a:rPr lang="de-DE"/>
            </a:br>
            <a:r>
              <a:rPr lang="de-DE" err="1"/>
              <a:t>If</a:t>
            </a:r>
            <a:r>
              <a:rPr lang="de-DE"/>
              <a:t> </a:t>
            </a:r>
            <a:r>
              <a:rPr lang="de-DE" err="1"/>
              <a:t>you</a:t>
            </a:r>
            <a:r>
              <a:rPr lang="de-DE"/>
              <a:t> </a:t>
            </a:r>
            <a:r>
              <a:rPr lang="de-DE" err="1"/>
              <a:t>only</a:t>
            </a:r>
            <a:r>
              <a:rPr lang="de-DE"/>
              <a:t> </a:t>
            </a:r>
            <a:r>
              <a:rPr lang="de-DE" err="1"/>
              <a:t>want</a:t>
            </a:r>
            <a:r>
              <a:rPr lang="de-DE"/>
              <a:t> </a:t>
            </a:r>
            <a:r>
              <a:rPr lang="de-DE" err="1"/>
              <a:t>to</a:t>
            </a:r>
            <a:r>
              <a:rPr lang="de-DE"/>
              <a:t> </a:t>
            </a:r>
            <a:r>
              <a:rPr lang="de-DE" err="1"/>
              <a:t>start</a:t>
            </a:r>
            <a:r>
              <a:rPr lang="de-DE"/>
              <a:t> </a:t>
            </a:r>
            <a:r>
              <a:rPr lang="de-DE" err="1"/>
              <a:t>the</a:t>
            </a:r>
            <a:r>
              <a:rPr lang="de-DE"/>
              <a:t> </a:t>
            </a:r>
            <a:r>
              <a:rPr lang="de-DE" err="1"/>
              <a:t>text</a:t>
            </a:r>
            <a:r>
              <a:rPr lang="de-DE"/>
              <a:t> in a </a:t>
            </a:r>
            <a:r>
              <a:rPr lang="de-DE" err="1"/>
              <a:t>new</a:t>
            </a:r>
            <a:r>
              <a:rPr lang="de-DE"/>
              <a:t> </a:t>
            </a:r>
            <a:r>
              <a:rPr lang="de-DE" err="1"/>
              <a:t>line</a:t>
            </a:r>
            <a:r>
              <a:rPr lang="de-DE"/>
              <a:t> (like </a:t>
            </a:r>
            <a:r>
              <a:rPr lang="de-DE" err="1"/>
              <a:t>this</a:t>
            </a:r>
            <a:r>
              <a:rPr lang="de-DE"/>
              <a:t> </a:t>
            </a:r>
            <a:r>
              <a:rPr lang="de-DE" err="1"/>
              <a:t>sentence</a:t>
            </a:r>
            <a:r>
              <a:rPr lang="de-DE"/>
              <a:t>) and </a:t>
            </a:r>
            <a:r>
              <a:rPr lang="de-DE" err="1"/>
              <a:t>keep</a:t>
            </a:r>
            <a:r>
              <a:rPr lang="de-DE"/>
              <a:t> </a:t>
            </a:r>
            <a:r>
              <a:rPr lang="de-DE" err="1"/>
              <a:t>the</a:t>
            </a:r>
            <a:r>
              <a:rPr lang="de-DE"/>
              <a:t> </a:t>
            </a:r>
            <a:r>
              <a:rPr lang="de-DE" err="1"/>
              <a:t>numeration</a:t>
            </a:r>
            <a:r>
              <a:rPr lang="de-DE"/>
              <a:t>, </a:t>
            </a:r>
            <a:r>
              <a:rPr lang="de-DE" err="1"/>
              <a:t>use</a:t>
            </a:r>
            <a:r>
              <a:rPr lang="de-DE"/>
              <a:t> shift-</a:t>
            </a:r>
            <a:r>
              <a:rPr lang="de-DE" err="1"/>
              <a:t>enter</a:t>
            </a:r>
            <a:r>
              <a:rPr lang="de-DE"/>
              <a:t>.  </a:t>
            </a:r>
          </a:p>
        </p:txBody>
      </p:sp>
    </p:spTree>
    <p:extLst>
      <p:ext uri="{BB962C8B-B14F-4D97-AF65-F5344CB8AC3E}">
        <p14:creationId xmlns:p14="http://schemas.microsoft.com/office/powerpoint/2010/main" val="442208097"/>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
            <a:extLst>
              <a:ext uri="{FF2B5EF4-FFF2-40B4-BE49-F238E27FC236}">
                <a16:creationId xmlns:a16="http://schemas.microsoft.com/office/drawing/2014/main" id="{045ED79A-32AA-D64E-AAD5-54B4B9C4DE4E}"/>
              </a:ext>
            </a:extLst>
          </p:cNvPr>
          <p:cNvSpPr>
            <a:spLocks noGrp="1"/>
          </p:cNvSpPr>
          <p:nvPr>
            <p:ph idx="1"/>
          </p:nvPr>
        </p:nvSpPr>
        <p:spPr>
          <a:xfrm>
            <a:off x="397842" y="939341"/>
            <a:ext cx="11506291" cy="4829919"/>
          </a:xfrm>
        </p:spPr>
        <p:txBody>
          <a:bodyPr/>
          <a:lstStyle>
            <a:lvl1pPr>
              <a:defRPr>
                <a:solidFill>
                  <a:schemeClr val="tx1">
                    <a:lumMod val="50000"/>
                  </a:schemeClr>
                </a:solidFill>
              </a:defRPr>
            </a:lvl1pPr>
          </a:lstStyle>
          <a:p>
            <a:r>
              <a:rPr lang="de-DE">
                <a:solidFill>
                  <a:srgbClr val="0F218B"/>
                </a:solidFill>
              </a:rPr>
              <a:t>Headline 3 – Edit </a:t>
            </a:r>
            <a:r>
              <a:rPr lang="de-DE" err="1">
                <a:solidFill>
                  <a:srgbClr val="0F218B"/>
                </a:solidFill>
              </a:rPr>
              <a:t>text</a:t>
            </a:r>
            <a:r>
              <a:rPr lang="de-DE">
                <a:solidFill>
                  <a:srgbClr val="0F218B"/>
                </a:solidFill>
              </a:rPr>
              <a:t> </a:t>
            </a:r>
            <a:r>
              <a:rPr lang="de-DE" err="1">
                <a:solidFill>
                  <a:srgbClr val="0F218B"/>
                </a:solidFill>
              </a:rPr>
              <a:t>here</a:t>
            </a:r>
            <a:r>
              <a:rPr lang="de-DE">
                <a:solidFill>
                  <a:srgbClr val="0F218B"/>
                </a:solidFill>
              </a:rPr>
              <a:t>.</a:t>
            </a:r>
            <a:endParaRPr lang="de-DE" i="1">
              <a:solidFill>
                <a:srgbClr val="0F218B"/>
              </a:solidFill>
            </a:endParaRPr>
          </a:p>
        </p:txBody>
      </p:sp>
      <p:grpSp>
        <p:nvGrpSpPr>
          <p:cNvPr id="4" name="Group 3553" title="6-Monats-Zeitleiste Platzhalter">
            <a:extLst>
              <a:ext uri="{FF2B5EF4-FFF2-40B4-BE49-F238E27FC236}">
                <a16:creationId xmlns:a16="http://schemas.microsoft.com/office/drawing/2014/main" id="{104D80E7-590A-6F45-BD68-8611B65301C7}"/>
              </a:ext>
            </a:extLst>
          </p:cNvPr>
          <p:cNvGrpSpPr/>
          <p:nvPr userDrawn="1"/>
        </p:nvGrpSpPr>
        <p:grpSpPr>
          <a:xfrm>
            <a:off x="1811339" y="2381327"/>
            <a:ext cx="8569325" cy="3224119"/>
            <a:chOff x="0" y="359738"/>
            <a:chExt cx="10490200" cy="5139089"/>
          </a:xfrm>
        </p:grpSpPr>
        <p:grpSp>
          <p:nvGrpSpPr>
            <p:cNvPr id="6" name="Group 3530">
              <a:extLst>
                <a:ext uri="{FF2B5EF4-FFF2-40B4-BE49-F238E27FC236}">
                  <a16:creationId xmlns:a16="http://schemas.microsoft.com/office/drawing/2014/main" id="{0F489A34-EB0D-9844-8E5C-68A73CD91E77}"/>
                </a:ext>
              </a:extLst>
            </p:cNvPr>
            <p:cNvGrpSpPr/>
            <p:nvPr/>
          </p:nvGrpSpPr>
          <p:grpSpPr>
            <a:xfrm>
              <a:off x="463551" y="803442"/>
              <a:ext cx="5797974" cy="4695385"/>
              <a:chOff x="545" y="358575"/>
              <a:chExt cx="5797973" cy="4695384"/>
            </a:xfrm>
          </p:grpSpPr>
          <p:sp>
            <p:nvSpPr>
              <p:cNvPr id="15" name="Shape 3525">
                <a:extLst>
                  <a:ext uri="{FF2B5EF4-FFF2-40B4-BE49-F238E27FC236}">
                    <a16:creationId xmlns:a16="http://schemas.microsoft.com/office/drawing/2014/main" id="{A153CEA7-30AE-F849-A6F4-864E0256893E}"/>
                  </a:ext>
                </a:extLst>
              </p:cNvPr>
              <p:cNvSpPr/>
              <p:nvPr/>
            </p:nvSpPr>
            <p:spPr>
              <a:xfrm flipV="1">
                <a:off x="545" y="358575"/>
                <a:ext cx="0" cy="241032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6" name="Shape 3526">
                <a:extLst>
                  <a:ext uri="{FF2B5EF4-FFF2-40B4-BE49-F238E27FC236}">
                    <a16:creationId xmlns:a16="http://schemas.microsoft.com/office/drawing/2014/main" id="{60C53EF1-C062-D545-8D50-5E5A151EAEF2}"/>
                  </a:ext>
                </a:extLst>
              </p:cNvPr>
              <p:cNvSpPr/>
              <p:nvPr/>
            </p:nvSpPr>
            <p:spPr>
              <a:xfrm flipV="1">
                <a:off x="755773" y="1567594"/>
                <a:ext cx="0" cy="1201303"/>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7" name="Shape 3527">
                <a:extLst>
                  <a:ext uri="{FF2B5EF4-FFF2-40B4-BE49-F238E27FC236}">
                    <a16:creationId xmlns:a16="http://schemas.microsoft.com/office/drawing/2014/main" id="{13DFF85B-1393-F24D-B481-3D1EF145FDA3}"/>
                  </a:ext>
                </a:extLst>
              </p:cNvPr>
              <p:cNvSpPr/>
              <p:nvPr/>
            </p:nvSpPr>
            <p:spPr>
              <a:xfrm flipV="1">
                <a:off x="5798518" y="721344"/>
                <a:ext cx="0" cy="204755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8" name="Shape 3528">
                <a:extLst>
                  <a:ext uri="{FF2B5EF4-FFF2-40B4-BE49-F238E27FC236}">
                    <a16:creationId xmlns:a16="http://schemas.microsoft.com/office/drawing/2014/main" id="{DC0087D8-03A9-6944-85A2-0EFC81E8E914}"/>
                  </a:ext>
                </a:extLst>
              </p:cNvPr>
              <p:cNvSpPr/>
              <p:nvPr/>
            </p:nvSpPr>
            <p:spPr>
              <a:xfrm>
                <a:off x="1608725" y="3274911"/>
                <a:ext cx="0" cy="1779048"/>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9" name="Shape 3529">
                <a:extLst>
                  <a:ext uri="{FF2B5EF4-FFF2-40B4-BE49-F238E27FC236}">
                    <a16:creationId xmlns:a16="http://schemas.microsoft.com/office/drawing/2014/main" id="{DECA1AED-351A-F54C-8939-BE1935F59845}"/>
                  </a:ext>
                </a:extLst>
              </p:cNvPr>
              <p:cNvSpPr/>
              <p:nvPr/>
            </p:nvSpPr>
            <p:spPr>
              <a:xfrm>
                <a:off x="4459938" y="3274911"/>
                <a:ext cx="0" cy="909640"/>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grpSp>
        <p:grpSp>
          <p:nvGrpSpPr>
            <p:cNvPr id="7" name="Group 3537">
              <a:extLst>
                <a:ext uri="{FF2B5EF4-FFF2-40B4-BE49-F238E27FC236}">
                  <a16:creationId xmlns:a16="http://schemas.microsoft.com/office/drawing/2014/main" id="{A90B8DDB-C27F-1A4D-B381-D7862AAE7931}"/>
                </a:ext>
              </a:extLst>
            </p:cNvPr>
            <p:cNvGrpSpPr/>
            <p:nvPr/>
          </p:nvGrpSpPr>
          <p:grpSpPr>
            <a:xfrm>
              <a:off x="0" y="3216502"/>
              <a:ext cx="10490200" cy="508001"/>
              <a:chOff x="0" y="0"/>
              <a:chExt cx="10490200" cy="508000"/>
            </a:xfrm>
          </p:grpSpPr>
          <p:sp>
            <p:nvSpPr>
              <p:cNvPr id="9" name="Shape 3531">
                <a:extLst>
                  <a:ext uri="{FF2B5EF4-FFF2-40B4-BE49-F238E27FC236}">
                    <a16:creationId xmlns:a16="http://schemas.microsoft.com/office/drawing/2014/main" id="{11C1F5E3-318A-7F41-9327-18EA7D1F2420}"/>
                  </a:ext>
                </a:extLst>
              </p:cNvPr>
              <p:cNvSpPr/>
              <p:nvPr/>
            </p:nvSpPr>
            <p:spPr>
              <a:xfrm>
                <a:off x="1793240" y="0"/>
                <a:ext cx="1524001" cy="508000"/>
              </a:xfrm>
              <a:prstGeom prst="rect">
                <a:avLst/>
              </a:prstGeom>
              <a:solidFill>
                <a:srgbClr val="51A1D2">
                  <a:alpha val="8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February</a:t>
                </a:r>
              </a:p>
            </p:txBody>
          </p:sp>
          <p:sp>
            <p:nvSpPr>
              <p:cNvPr id="10" name="Shape 3532">
                <a:extLst>
                  <a:ext uri="{FF2B5EF4-FFF2-40B4-BE49-F238E27FC236}">
                    <a16:creationId xmlns:a16="http://schemas.microsoft.com/office/drawing/2014/main" id="{0CAAF65E-76F6-2A43-B9EB-D5012C50B795}"/>
                  </a:ext>
                </a:extLst>
              </p:cNvPr>
              <p:cNvSpPr/>
              <p:nvPr/>
            </p:nvSpPr>
            <p:spPr>
              <a:xfrm>
                <a:off x="3586479" y="0"/>
                <a:ext cx="1524001" cy="508000"/>
              </a:xfrm>
              <a:prstGeom prst="rect">
                <a:avLst/>
              </a:prstGeom>
              <a:solidFill>
                <a:schemeClr val="accent2"/>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March</a:t>
                </a:r>
                <a:endParaRPr sz="1400">
                  <a:latin typeface="Calibri" panose="020F0502020204030204" pitchFamily="34" charset="0"/>
                  <a:cs typeface="Calibri" panose="020F0502020204030204" pitchFamily="34" charset="0"/>
                </a:endParaRPr>
              </a:p>
            </p:txBody>
          </p:sp>
          <p:sp>
            <p:nvSpPr>
              <p:cNvPr id="11" name="Shape 3533">
                <a:extLst>
                  <a:ext uri="{FF2B5EF4-FFF2-40B4-BE49-F238E27FC236}">
                    <a16:creationId xmlns:a16="http://schemas.microsoft.com/office/drawing/2014/main" id="{07E0612B-2EE4-D94B-B9D5-7C3647E11828}"/>
                  </a:ext>
                </a:extLst>
              </p:cNvPr>
              <p:cNvSpPr/>
              <p:nvPr/>
            </p:nvSpPr>
            <p:spPr>
              <a:xfrm>
                <a:off x="5379719" y="0"/>
                <a:ext cx="1524001" cy="508000"/>
              </a:xfrm>
              <a:prstGeom prst="rect">
                <a:avLst/>
              </a:prstGeom>
              <a:solidFill>
                <a:schemeClr val="accent3"/>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April</a:t>
                </a:r>
              </a:p>
            </p:txBody>
          </p:sp>
          <p:sp>
            <p:nvSpPr>
              <p:cNvPr id="12" name="Shape 3534">
                <a:extLst>
                  <a:ext uri="{FF2B5EF4-FFF2-40B4-BE49-F238E27FC236}">
                    <a16:creationId xmlns:a16="http://schemas.microsoft.com/office/drawing/2014/main" id="{A49F006A-263E-B749-84F7-45EC0200E53B}"/>
                  </a:ext>
                </a:extLst>
              </p:cNvPr>
              <p:cNvSpPr/>
              <p:nvPr/>
            </p:nvSpPr>
            <p:spPr>
              <a:xfrm>
                <a:off x="7172959" y="0"/>
                <a:ext cx="1524001" cy="508000"/>
              </a:xfrm>
              <a:prstGeom prst="rect">
                <a:avLst/>
              </a:prstGeom>
              <a:solidFill>
                <a:srgbClr val="313131">
                  <a:alpha val="8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May</a:t>
                </a:r>
              </a:p>
            </p:txBody>
          </p:sp>
          <p:sp>
            <p:nvSpPr>
              <p:cNvPr id="13" name="Shape 3535">
                <a:extLst>
                  <a:ext uri="{FF2B5EF4-FFF2-40B4-BE49-F238E27FC236}">
                    <a16:creationId xmlns:a16="http://schemas.microsoft.com/office/drawing/2014/main" id="{F74572F9-391D-914E-9B18-1442CC5747BA}"/>
                  </a:ext>
                </a:extLst>
              </p:cNvPr>
              <p:cNvSpPr/>
              <p:nvPr/>
            </p:nvSpPr>
            <p:spPr>
              <a:xfrm>
                <a:off x="8966200" y="0"/>
                <a:ext cx="1524000" cy="508000"/>
              </a:xfrm>
              <a:prstGeom prst="rect">
                <a:avLst/>
              </a:prstGeom>
              <a:solidFill>
                <a:srgbClr val="313131">
                  <a:alpha val="6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June</a:t>
                </a:r>
              </a:p>
            </p:txBody>
          </p:sp>
          <p:sp>
            <p:nvSpPr>
              <p:cNvPr id="14" name="Shape 3536">
                <a:extLst>
                  <a:ext uri="{FF2B5EF4-FFF2-40B4-BE49-F238E27FC236}">
                    <a16:creationId xmlns:a16="http://schemas.microsoft.com/office/drawing/2014/main" id="{9E60BD2D-E973-D848-94DA-2522289CF023}"/>
                  </a:ext>
                </a:extLst>
              </p:cNvPr>
              <p:cNvSpPr/>
              <p:nvPr/>
            </p:nvSpPr>
            <p:spPr>
              <a:xfrm>
                <a:off x="0" y="0"/>
                <a:ext cx="1524000" cy="508000"/>
              </a:xfrm>
              <a:prstGeom prst="rect">
                <a:avLst/>
              </a:prstGeom>
              <a:solidFill>
                <a:srgbClr val="015092"/>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January</a:t>
                </a:r>
                <a:endParaRPr sz="1400">
                  <a:latin typeface="Calibri" panose="020F0502020204030204" pitchFamily="34" charset="0"/>
                  <a:cs typeface="Calibri" panose="020F0502020204030204" pitchFamily="34" charset="0"/>
                </a:endParaRPr>
              </a:p>
            </p:txBody>
          </p:sp>
        </p:grpSp>
        <p:sp>
          <p:nvSpPr>
            <p:cNvPr id="8" name="Shape 3538">
              <a:extLst>
                <a:ext uri="{FF2B5EF4-FFF2-40B4-BE49-F238E27FC236}">
                  <a16:creationId xmlns:a16="http://schemas.microsoft.com/office/drawing/2014/main" id="{A6354215-87B2-714D-B863-6578DB1C0933}"/>
                </a:ext>
              </a:extLst>
            </p:cNvPr>
            <p:cNvSpPr/>
            <p:nvPr/>
          </p:nvSpPr>
          <p:spPr>
            <a:xfrm>
              <a:off x="608959" y="359738"/>
              <a:ext cx="493135" cy="88826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5</a:t>
              </a:r>
            </a:p>
          </p:txBody>
        </p:sp>
      </p:grpSp>
      <p:sp>
        <p:nvSpPr>
          <p:cNvPr id="20" name="Shape 3538">
            <a:extLst>
              <a:ext uri="{FF2B5EF4-FFF2-40B4-BE49-F238E27FC236}">
                <a16:creationId xmlns:a16="http://schemas.microsoft.com/office/drawing/2014/main" id="{35FD298D-674A-CC48-8F61-37BFAA2B6DB3}"/>
              </a:ext>
            </a:extLst>
          </p:cNvPr>
          <p:cNvSpPr/>
          <p:nvPr userDrawn="1"/>
        </p:nvSpPr>
        <p:spPr>
          <a:xfrm>
            <a:off x="2920857" y="3136102"/>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24</a:t>
            </a:r>
            <a:endParaRPr sz="240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7B384765-BFC7-8A40-914E-EB681AEE534B}"/>
              </a:ext>
            </a:extLst>
          </p:cNvPr>
          <p:cNvSpPr/>
          <p:nvPr userDrawn="1"/>
        </p:nvSpPr>
        <p:spPr>
          <a:xfrm>
            <a:off x="7061317" y="260667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9</a:t>
            </a:r>
            <a:endParaRPr sz="240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AE2700E5-E78F-094F-96E0-403DD94E3ECA}"/>
              </a:ext>
            </a:extLst>
          </p:cNvPr>
          <p:cNvSpPr/>
          <p:nvPr userDrawn="1"/>
        </p:nvSpPr>
        <p:spPr>
          <a:xfrm>
            <a:off x="3640937" y="5319539"/>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09</a:t>
            </a:r>
            <a:endParaRPr sz="240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D2168131-C3E9-2642-AC6A-FD9DF04C35DF}"/>
              </a:ext>
            </a:extLst>
          </p:cNvPr>
          <p:cNvSpPr/>
          <p:nvPr userDrawn="1"/>
        </p:nvSpPr>
        <p:spPr>
          <a:xfrm>
            <a:off x="5945193" y="4771926"/>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30</a:t>
            </a:r>
            <a:endParaRPr sz="2400">
              <a:solidFill>
                <a:srgbClr val="015092"/>
              </a:solidFill>
              <a:latin typeface="Calibri" panose="020F0502020204030204" pitchFamily="34" charset="0"/>
              <a:cs typeface="Calibri" panose="020F0502020204030204" pitchFamily="34" charset="0"/>
            </a:endParaRPr>
          </a:p>
        </p:txBody>
      </p:sp>
      <p:sp>
        <p:nvSpPr>
          <p:cNvPr id="24" name="Shape 3539">
            <a:extLst>
              <a:ext uri="{FF2B5EF4-FFF2-40B4-BE49-F238E27FC236}">
                <a16:creationId xmlns:a16="http://schemas.microsoft.com/office/drawing/2014/main" id="{9070C1F2-9150-574A-80C7-16A9A88CD69A}"/>
              </a:ext>
            </a:extLst>
          </p:cNvPr>
          <p:cNvSpPr/>
          <p:nvPr userDrawn="1"/>
        </p:nvSpPr>
        <p:spPr>
          <a:xfrm>
            <a:off x="2748663" y="2380866"/>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5" name="Shape 3539">
            <a:extLst>
              <a:ext uri="{FF2B5EF4-FFF2-40B4-BE49-F238E27FC236}">
                <a16:creationId xmlns:a16="http://schemas.microsoft.com/office/drawing/2014/main" id="{F165BDCC-DA70-EC46-9626-3AB83AF24553}"/>
              </a:ext>
            </a:extLst>
          </p:cNvPr>
          <p:cNvSpPr/>
          <p:nvPr userDrawn="1"/>
        </p:nvSpPr>
        <p:spPr>
          <a:xfrm>
            <a:off x="7484962" y="2622989"/>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6" name="Shape 3539">
            <a:extLst>
              <a:ext uri="{FF2B5EF4-FFF2-40B4-BE49-F238E27FC236}">
                <a16:creationId xmlns:a16="http://schemas.microsoft.com/office/drawing/2014/main" id="{79E6AE81-3957-014F-ADD0-951A098602AC}"/>
              </a:ext>
            </a:extLst>
          </p:cNvPr>
          <p:cNvSpPr/>
          <p:nvPr userDrawn="1"/>
        </p:nvSpPr>
        <p:spPr>
          <a:xfrm>
            <a:off x="3374198" y="3154499"/>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7" name="Shape 3539">
            <a:extLst>
              <a:ext uri="{FF2B5EF4-FFF2-40B4-BE49-F238E27FC236}">
                <a16:creationId xmlns:a16="http://schemas.microsoft.com/office/drawing/2014/main" id="{4CDDE768-FC4E-754B-8160-BC3805C4D230}"/>
              </a:ext>
            </a:extLst>
          </p:cNvPr>
          <p:cNvSpPr/>
          <p:nvPr userDrawn="1"/>
        </p:nvSpPr>
        <p:spPr>
          <a:xfrm>
            <a:off x="4061660" y="5339645"/>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8" name="Shape 3539">
            <a:extLst>
              <a:ext uri="{FF2B5EF4-FFF2-40B4-BE49-F238E27FC236}">
                <a16:creationId xmlns:a16="http://schemas.microsoft.com/office/drawing/2014/main" id="{FCEA35DC-17D6-1745-9FC7-F6342C85336C}"/>
              </a:ext>
            </a:extLst>
          </p:cNvPr>
          <p:cNvSpPr/>
          <p:nvPr userDrawn="1"/>
        </p:nvSpPr>
        <p:spPr>
          <a:xfrm>
            <a:off x="6359164" y="478191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Tree>
    <p:extLst>
      <p:ext uri="{BB962C8B-B14F-4D97-AF65-F5344CB8AC3E}">
        <p14:creationId xmlns:p14="http://schemas.microsoft.com/office/powerpoint/2010/main" val="1478415009"/>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grpSp>
        <p:nvGrpSpPr>
          <p:cNvPr id="3" name="Group 3911" title="Jahres Zeitleiste Platzhalter">
            <a:extLst>
              <a:ext uri="{FF2B5EF4-FFF2-40B4-BE49-F238E27FC236}">
                <a16:creationId xmlns:a16="http://schemas.microsoft.com/office/drawing/2014/main" id="{C9AF7415-8D2A-C940-B919-D2896ED2CC76}"/>
              </a:ext>
            </a:extLst>
          </p:cNvPr>
          <p:cNvGrpSpPr/>
          <p:nvPr userDrawn="1"/>
        </p:nvGrpSpPr>
        <p:grpSpPr>
          <a:xfrm>
            <a:off x="1811524" y="2655243"/>
            <a:ext cx="7397880" cy="2749280"/>
            <a:chOff x="93735" y="581934"/>
            <a:chExt cx="10577686" cy="3930994"/>
          </a:xfrm>
        </p:grpSpPr>
        <p:grpSp>
          <p:nvGrpSpPr>
            <p:cNvPr id="4" name="Group 3892">
              <a:extLst>
                <a:ext uri="{FF2B5EF4-FFF2-40B4-BE49-F238E27FC236}">
                  <a16:creationId xmlns:a16="http://schemas.microsoft.com/office/drawing/2014/main" id="{BF9A743B-F676-5541-B47D-C0037A53680B}"/>
                </a:ext>
              </a:extLst>
            </p:cNvPr>
            <p:cNvGrpSpPr/>
            <p:nvPr/>
          </p:nvGrpSpPr>
          <p:grpSpPr>
            <a:xfrm>
              <a:off x="636627" y="581934"/>
              <a:ext cx="10034794" cy="3930994"/>
              <a:chOff x="6131" y="477113"/>
              <a:chExt cx="10034793" cy="3930992"/>
            </a:xfrm>
          </p:grpSpPr>
          <p:sp>
            <p:nvSpPr>
              <p:cNvPr id="7" name="Shape 3882">
                <a:extLst>
                  <a:ext uri="{FF2B5EF4-FFF2-40B4-BE49-F238E27FC236}">
                    <a16:creationId xmlns:a16="http://schemas.microsoft.com/office/drawing/2014/main" id="{FB374AB2-ACB5-F24F-8D5D-4E70071227EE}"/>
                  </a:ext>
                </a:extLst>
              </p:cNvPr>
              <p:cNvSpPr/>
              <p:nvPr/>
            </p:nvSpPr>
            <p:spPr>
              <a:xfrm flipV="1">
                <a:off x="4975193" y="477113"/>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8" name="Shape 3883">
                <a:extLst>
                  <a:ext uri="{FF2B5EF4-FFF2-40B4-BE49-F238E27FC236}">
                    <a16:creationId xmlns:a16="http://schemas.microsoft.com/office/drawing/2014/main" id="{EA1CE728-B269-1C4E-9B54-82A102A50404}"/>
                  </a:ext>
                </a:extLst>
              </p:cNvPr>
              <p:cNvSpPr/>
              <p:nvPr/>
            </p:nvSpPr>
            <p:spPr>
              <a:xfrm flipV="1">
                <a:off x="6131" y="477113"/>
                <a:ext cx="1" cy="1940560"/>
              </a:xfrm>
              <a:prstGeom prst="line">
                <a:avLst/>
              </a:prstGeom>
              <a:solidFill>
                <a:srgbClr val="015092"/>
              </a:solidFill>
              <a:ln w="63500" cap="flat">
                <a:solidFill>
                  <a:srgbClr val="01509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9" name="Shape 3884">
                <a:extLst>
                  <a:ext uri="{FF2B5EF4-FFF2-40B4-BE49-F238E27FC236}">
                    <a16:creationId xmlns:a16="http://schemas.microsoft.com/office/drawing/2014/main" id="{7F9696C5-6EFA-3F44-ACCC-A640A163B09E}"/>
                  </a:ext>
                </a:extLst>
              </p:cNvPr>
              <p:cNvSpPr/>
              <p:nvPr/>
            </p:nvSpPr>
            <p:spPr>
              <a:xfrm>
                <a:off x="38737" y="2461556"/>
                <a:ext cx="9911442" cy="0"/>
              </a:xfrm>
              <a:prstGeom prst="line">
                <a:avLst/>
              </a:prstGeom>
              <a:noFill/>
              <a:ln w="63500" cap="flat">
                <a:solidFill>
                  <a:srgbClr val="313131">
                    <a:alpha val="8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0" name="Shape 3886">
                <a:extLst>
                  <a:ext uri="{FF2B5EF4-FFF2-40B4-BE49-F238E27FC236}">
                    <a16:creationId xmlns:a16="http://schemas.microsoft.com/office/drawing/2014/main" id="{9F291BB0-5EAA-9348-8F11-398FB22080F8}"/>
                  </a:ext>
                </a:extLst>
              </p:cNvPr>
              <p:cNvSpPr/>
              <p:nvPr/>
            </p:nvSpPr>
            <p:spPr>
              <a:xfrm>
                <a:off x="9850422" y="2364572"/>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1" name="Shape 3887">
                <a:extLst>
                  <a:ext uri="{FF2B5EF4-FFF2-40B4-BE49-F238E27FC236}">
                    <a16:creationId xmlns:a16="http://schemas.microsoft.com/office/drawing/2014/main" id="{BCE477E8-F7BD-0F42-9589-05CBDFAAB18A}"/>
                  </a:ext>
                </a:extLst>
              </p:cNvPr>
              <p:cNvSpPr/>
              <p:nvPr/>
            </p:nvSpPr>
            <p:spPr>
              <a:xfrm>
                <a:off x="2411544" y="2368317"/>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2" name="Shape 3888">
                <a:extLst>
                  <a:ext uri="{FF2B5EF4-FFF2-40B4-BE49-F238E27FC236}">
                    <a16:creationId xmlns:a16="http://schemas.microsoft.com/office/drawing/2014/main" id="{7429753A-3C9E-B84B-BE29-D4FB586DA37E}"/>
                  </a:ext>
                </a:extLst>
              </p:cNvPr>
              <p:cNvSpPr/>
              <p:nvPr/>
            </p:nvSpPr>
            <p:spPr>
              <a:xfrm>
                <a:off x="4883584" y="2368318"/>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3" name="Shape 3889">
                <a:extLst>
                  <a:ext uri="{FF2B5EF4-FFF2-40B4-BE49-F238E27FC236}">
                    <a16:creationId xmlns:a16="http://schemas.microsoft.com/office/drawing/2014/main" id="{01F5BD46-1837-2445-81BC-19FA29B81F17}"/>
                  </a:ext>
                </a:extLst>
              </p:cNvPr>
              <p:cNvSpPr/>
              <p:nvPr/>
            </p:nvSpPr>
            <p:spPr>
              <a:xfrm>
                <a:off x="7368877" y="2368318"/>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4" name="Shape 3890">
                <a:extLst>
                  <a:ext uri="{FF2B5EF4-FFF2-40B4-BE49-F238E27FC236}">
                    <a16:creationId xmlns:a16="http://schemas.microsoft.com/office/drawing/2014/main" id="{38B19469-B9A6-8940-8470-7A36199769F8}"/>
                  </a:ext>
                </a:extLst>
              </p:cNvPr>
              <p:cNvSpPr/>
              <p:nvPr/>
            </p:nvSpPr>
            <p:spPr>
              <a:xfrm flipV="1">
                <a:off x="7451364" y="2463799"/>
                <a:ext cx="1" cy="1940560"/>
              </a:xfrm>
              <a:prstGeom prst="line">
                <a:avLst/>
              </a:prstGeom>
              <a:noFill/>
              <a:ln w="63500" cap="flat">
                <a:solidFill>
                  <a:srgbClr val="313131">
                    <a:alpha val="6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5" name="Shape 3891">
                <a:extLst>
                  <a:ext uri="{FF2B5EF4-FFF2-40B4-BE49-F238E27FC236}">
                    <a16:creationId xmlns:a16="http://schemas.microsoft.com/office/drawing/2014/main" id="{117DD6A9-A883-E544-9621-C8501B30B3B4}"/>
                  </a:ext>
                </a:extLst>
              </p:cNvPr>
              <p:cNvSpPr/>
              <p:nvPr/>
            </p:nvSpPr>
            <p:spPr>
              <a:xfrm flipV="1">
                <a:off x="2498616" y="2467545"/>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grpSp>
        <p:sp>
          <p:nvSpPr>
            <p:cNvPr id="6" name="Shape 3904">
              <a:extLst>
                <a:ext uri="{FF2B5EF4-FFF2-40B4-BE49-F238E27FC236}">
                  <a16:creationId xmlns:a16="http://schemas.microsoft.com/office/drawing/2014/main" id="{97E1DA5A-D2AC-CD4A-94FA-4070AD6EB5B4}"/>
                </a:ext>
              </a:extLst>
            </p:cNvPr>
            <p:cNvSpPr/>
            <p:nvPr/>
          </p:nvSpPr>
          <p:spPr>
            <a:xfrm>
              <a:off x="93735" y="1997149"/>
              <a:ext cx="1116503" cy="1116503"/>
            </a:xfrm>
            <a:prstGeom prst="ellipse">
              <a:avLst/>
            </a:prstGeom>
            <a:solidFill>
              <a:srgbClr val="015092"/>
            </a:solidFill>
            <a:ln w="12700" cap="flat">
              <a:solidFill>
                <a:srgbClr val="015092"/>
              </a:solid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algn="ctr"/>
              <a:r>
                <a:rPr sz="1400" b="1">
                  <a:latin typeface="Calibri" panose="020F0502020204030204" pitchFamily="34" charset="0"/>
                  <a:cs typeface="Calibri" panose="020F0502020204030204" pitchFamily="34" charset="0"/>
                </a:rPr>
                <a:t>Start</a:t>
              </a:r>
            </a:p>
          </p:txBody>
        </p:sp>
      </p:grpSp>
      <p:sp>
        <p:nvSpPr>
          <p:cNvPr id="16" name="Shape 3899">
            <a:extLst>
              <a:ext uri="{FF2B5EF4-FFF2-40B4-BE49-F238E27FC236}">
                <a16:creationId xmlns:a16="http://schemas.microsoft.com/office/drawing/2014/main" id="{1C04B757-37FD-8344-9AF0-04B08289508A}"/>
              </a:ext>
            </a:extLst>
          </p:cNvPr>
          <p:cNvSpPr/>
          <p:nvPr userDrawn="1"/>
        </p:nvSpPr>
        <p:spPr>
          <a:xfrm>
            <a:off x="5500456" y="4177891"/>
            <a:ext cx="555807"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19</a:t>
            </a:r>
            <a:endParaRPr sz="1400" b="1">
              <a:solidFill>
                <a:srgbClr val="313131"/>
              </a:solidFill>
              <a:latin typeface="Calibri" panose="020F0502020204030204" pitchFamily="34" charset="0"/>
              <a:cs typeface="Calibri" panose="020F0502020204030204" pitchFamily="34" charset="0"/>
            </a:endParaRPr>
          </a:p>
        </p:txBody>
      </p:sp>
      <p:sp>
        <p:nvSpPr>
          <p:cNvPr id="17" name="Shape 3899">
            <a:extLst>
              <a:ext uri="{FF2B5EF4-FFF2-40B4-BE49-F238E27FC236}">
                <a16:creationId xmlns:a16="http://schemas.microsoft.com/office/drawing/2014/main" id="{68276EE8-CA57-2346-9CCF-A025AFF6855B}"/>
              </a:ext>
            </a:extLst>
          </p:cNvPr>
          <p:cNvSpPr/>
          <p:nvPr userDrawn="1"/>
        </p:nvSpPr>
        <p:spPr>
          <a:xfrm>
            <a:off x="8958826" y="4177891"/>
            <a:ext cx="488973"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21</a:t>
            </a:r>
            <a:endParaRPr sz="1400" b="1">
              <a:solidFill>
                <a:srgbClr val="313131"/>
              </a:solidFill>
              <a:latin typeface="Calibri" panose="020F0502020204030204" pitchFamily="34" charset="0"/>
              <a:cs typeface="Calibri" panose="020F0502020204030204" pitchFamily="34" charset="0"/>
            </a:endParaRPr>
          </a:p>
        </p:txBody>
      </p:sp>
      <p:sp>
        <p:nvSpPr>
          <p:cNvPr id="18" name="Shape 3899">
            <a:extLst>
              <a:ext uri="{FF2B5EF4-FFF2-40B4-BE49-F238E27FC236}">
                <a16:creationId xmlns:a16="http://schemas.microsoft.com/office/drawing/2014/main" id="{23DE72D4-878E-2144-A9D3-A42389C2E721}"/>
              </a:ext>
            </a:extLst>
          </p:cNvPr>
          <p:cNvSpPr/>
          <p:nvPr userDrawn="1"/>
        </p:nvSpPr>
        <p:spPr>
          <a:xfrm>
            <a:off x="3746385" y="3735364"/>
            <a:ext cx="549411"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18</a:t>
            </a:r>
            <a:endParaRPr sz="1400" b="1">
              <a:solidFill>
                <a:srgbClr val="313131"/>
              </a:solidFill>
              <a:latin typeface="Calibri" panose="020F0502020204030204" pitchFamily="34" charset="0"/>
              <a:cs typeface="Calibri" panose="020F0502020204030204" pitchFamily="34" charset="0"/>
            </a:endParaRPr>
          </a:p>
        </p:txBody>
      </p:sp>
      <p:sp>
        <p:nvSpPr>
          <p:cNvPr id="19" name="Shape 3899">
            <a:extLst>
              <a:ext uri="{FF2B5EF4-FFF2-40B4-BE49-F238E27FC236}">
                <a16:creationId xmlns:a16="http://schemas.microsoft.com/office/drawing/2014/main" id="{6FE0A369-2E74-4C41-9332-CEA1A3F8CAA5}"/>
              </a:ext>
            </a:extLst>
          </p:cNvPr>
          <p:cNvSpPr/>
          <p:nvPr userDrawn="1"/>
        </p:nvSpPr>
        <p:spPr>
          <a:xfrm>
            <a:off x="7204755" y="3735364"/>
            <a:ext cx="566327"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en-US" sz="1400" b="1">
                <a:solidFill>
                  <a:srgbClr val="313131"/>
                </a:solidFill>
                <a:latin typeface="Calibri" panose="020F0502020204030204" pitchFamily="34" charset="0"/>
                <a:cs typeface="Calibri" panose="020F0502020204030204" pitchFamily="34" charset="0"/>
              </a:rPr>
              <a:t>20</a:t>
            </a:r>
            <a:endParaRPr sz="1400" b="1">
              <a:solidFill>
                <a:srgbClr val="313131"/>
              </a:solidFill>
              <a:latin typeface="Calibri" panose="020F0502020204030204" pitchFamily="34" charset="0"/>
              <a:cs typeface="Calibri" panose="020F0502020204030204" pitchFamily="34" charset="0"/>
            </a:endParaRPr>
          </a:p>
        </p:txBody>
      </p:sp>
      <p:sp>
        <p:nvSpPr>
          <p:cNvPr id="20" name="Shape 3538">
            <a:extLst>
              <a:ext uri="{FF2B5EF4-FFF2-40B4-BE49-F238E27FC236}">
                <a16:creationId xmlns:a16="http://schemas.microsoft.com/office/drawing/2014/main" id="{6218F089-DA01-8A49-B7EB-18202B0E694E}"/>
              </a:ext>
            </a:extLst>
          </p:cNvPr>
          <p:cNvSpPr/>
          <p:nvPr userDrawn="1"/>
        </p:nvSpPr>
        <p:spPr>
          <a:xfrm>
            <a:off x="5819509" y="2475684"/>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1</a:t>
            </a:r>
            <a:endParaRPr sz="240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3ACB3470-0EB9-4B42-869A-F6D9D2389C11}"/>
              </a:ext>
            </a:extLst>
          </p:cNvPr>
          <p:cNvSpPr/>
          <p:nvPr userDrawn="1"/>
        </p:nvSpPr>
        <p:spPr>
          <a:xfrm>
            <a:off x="4055313" y="510351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a:t>
            </a:r>
            <a:r>
              <a:rPr lang="de-DE" sz="2400">
                <a:solidFill>
                  <a:srgbClr val="015092"/>
                </a:solidFill>
                <a:latin typeface="Calibri" panose="020F0502020204030204" pitchFamily="34" charset="0"/>
                <a:cs typeface="Calibri" panose="020F0502020204030204" pitchFamily="34" charset="0"/>
              </a:rPr>
              <a:t>9</a:t>
            </a:r>
            <a:endParaRPr sz="240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BD2E93CF-7EB0-1D44-8FE8-B42CB15F1E38}"/>
              </a:ext>
            </a:extLst>
          </p:cNvPr>
          <p:cNvSpPr/>
          <p:nvPr userDrawn="1"/>
        </p:nvSpPr>
        <p:spPr>
          <a:xfrm>
            <a:off x="7547701" y="510351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2</a:t>
            </a:r>
            <a:endParaRPr sz="240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1CA058CB-FB2E-7B41-9FC5-4261D2748707}"/>
              </a:ext>
            </a:extLst>
          </p:cNvPr>
          <p:cNvSpPr/>
          <p:nvPr userDrawn="1"/>
        </p:nvSpPr>
        <p:spPr>
          <a:xfrm>
            <a:off x="2308791" y="2475684"/>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5</a:t>
            </a:r>
          </a:p>
        </p:txBody>
      </p:sp>
      <p:sp>
        <p:nvSpPr>
          <p:cNvPr id="24" name="Shape 3539">
            <a:extLst>
              <a:ext uri="{FF2B5EF4-FFF2-40B4-BE49-F238E27FC236}">
                <a16:creationId xmlns:a16="http://schemas.microsoft.com/office/drawing/2014/main" id="{9FFAAAAB-BD81-254B-BB85-D3B92CADBECE}"/>
              </a:ext>
            </a:extLst>
          </p:cNvPr>
          <p:cNvSpPr/>
          <p:nvPr userDrawn="1"/>
        </p:nvSpPr>
        <p:spPr>
          <a:xfrm>
            <a:off x="2727791" y="2465838"/>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5" name="Inhaltsplatzhalter 1">
            <a:extLst>
              <a:ext uri="{FF2B5EF4-FFF2-40B4-BE49-F238E27FC236}">
                <a16:creationId xmlns:a16="http://schemas.microsoft.com/office/drawing/2014/main" id="{A948F616-4F52-274D-9802-62F7B100D2E0}"/>
              </a:ext>
            </a:extLst>
          </p:cNvPr>
          <p:cNvSpPr>
            <a:spLocks noGrp="1"/>
          </p:cNvSpPr>
          <p:nvPr>
            <p:ph idx="1"/>
          </p:nvPr>
        </p:nvSpPr>
        <p:spPr>
          <a:xfrm>
            <a:off x="383051" y="801295"/>
            <a:ext cx="11617325" cy="698184"/>
          </a:xfrm>
        </p:spPr>
        <p:txBody>
          <a:bodyPr>
            <a:normAutofit/>
          </a:bodyPr>
          <a:lstStyle/>
          <a:p>
            <a:r>
              <a:rPr lang="de-DE" b="1">
                <a:solidFill>
                  <a:srgbClr val="0F218B"/>
                </a:solidFill>
              </a:rPr>
              <a:t>Headline 3 – Edit </a:t>
            </a:r>
            <a:r>
              <a:rPr lang="de-DE" b="1" err="1">
                <a:solidFill>
                  <a:srgbClr val="0F218B"/>
                </a:solidFill>
              </a:rPr>
              <a:t>text</a:t>
            </a:r>
            <a:r>
              <a:rPr lang="de-DE" b="1">
                <a:solidFill>
                  <a:srgbClr val="0F218B"/>
                </a:solidFill>
              </a:rPr>
              <a:t> </a:t>
            </a:r>
            <a:r>
              <a:rPr lang="de-DE" b="1" err="1">
                <a:solidFill>
                  <a:srgbClr val="0F218B"/>
                </a:solidFill>
              </a:rPr>
              <a:t>here</a:t>
            </a:r>
            <a:r>
              <a:rPr lang="de-DE" b="1">
                <a:solidFill>
                  <a:srgbClr val="0F218B"/>
                </a:solidFill>
              </a:rPr>
              <a:t>.</a:t>
            </a:r>
            <a:endParaRPr lang="de-DE" b="1" i="1">
              <a:solidFill>
                <a:srgbClr val="0F218B"/>
              </a:solidFill>
            </a:endParaRPr>
          </a:p>
        </p:txBody>
      </p:sp>
      <p:sp>
        <p:nvSpPr>
          <p:cNvPr id="26" name="Shape 3539">
            <a:extLst>
              <a:ext uri="{FF2B5EF4-FFF2-40B4-BE49-F238E27FC236}">
                <a16:creationId xmlns:a16="http://schemas.microsoft.com/office/drawing/2014/main" id="{32B242B5-D413-7245-BEA1-FE249884F79E}"/>
              </a:ext>
            </a:extLst>
          </p:cNvPr>
          <p:cNvSpPr/>
          <p:nvPr userDrawn="1"/>
        </p:nvSpPr>
        <p:spPr>
          <a:xfrm>
            <a:off x="6188917" y="244375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7" name="Shape 3539">
            <a:extLst>
              <a:ext uri="{FF2B5EF4-FFF2-40B4-BE49-F238E27FC236}">
                <a16:creationId xmlns:a16="http://schemas.microsoft.com/office/drawing/2014/main" id="{44E594EA-C5DC-8D44-884B-A44AA0741311}"/>
              </a:ext>
            </a:extLst>
          </p:cNvPr>
          <p:cNvSpPr/>
          <p:nvPr userDrawn="1"/>
        </p:nvSpPr>
        <p:spPr>
          <a:xfrm>
            <a:off x="4501613" y="513437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8" name="Shape 3539">
            <a:extLst>
              <a:ext uri="{FF2B5EF4-FFF2-40B4-BE49-F238E27FC236}">
                <a16:creationId xmlns:a16="http://schemas.microsoft.com/office/drawing/2014/main" id="{6F33F5F3-AC6F-7047-9582-A2C841E188AD}"/>
              </a:ext>
            </a:extLst>
          </p:cNvPr>
          <p:cNvSpPr/>
          <p:nvPr userDrawn="1"/>
        </p:nvSpPr>
        <p:spPr>
          <a:xfrm>
            <a:off x="7962739" y="5112286"/>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Tree>
    <p:extLst>
      <p:ext uri="{BB962C8B-B14F-4D97-AF65-F5344CB8AC3E}">
        <p14:creationId xmlns:p14="http://schemas.microsoft.com/office/powerpoint/2010/main" val="897805654"/>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0">
            <a:extLst>
              <a:ext uri="{FF2B5EF4-FFF2-40B4-BE49-F238E27FC236}">
                <a16:creationId xmlns:a16="http://schemas.microsoft.com/office/drawing/2014/main" id="{E54CE07E-D134-8945-B928-3A2AD7482FB9}"/>
              </a:ext>
            </a:extLst>
          </p:cNvPr>
          <p:cNvSpPr>
            <a:spLocks noGrp="1"/>
          </p:cNvSpPr>
          <p:nvPr>
            <p:ph idx="1"/>
          </p:nvPr>
        </p:nvSpPr>
        <p:spPr>
          <a:xfrm>
            <a:off x="388159" y="820513"/>
            <a:ext cx="11606646" cy="698594"/>
          </a:xfrm>
        </p:spPr>
        <p:txBody>
          <a:bodyPr>
            <a:normAutofit/>
          </a:bodyPr>
          <a:lstStyle/>
          <a:p>
            <a:r>
              <a:rPr lang="de-DE">
                <a:solidFill>
                  <a:srgbClr val="0F218B"/>
                </a:solidFill>
              </a:rPr>
              <a:t>Headline 3 – These SmartArt </a:t>
            </a:r>
            <a:r>
              <a:rPr lang="de-DE" err="1">
                <a:solidFill>
                  <a:srgbClr val="0F218B"/>
                </a:solidFill>
              </a:rPr>
              <a:t>charts</a:t>
            </a:r>
            <a:r>
              <a:rPr lang="de-DE">
                <a:solidFill>
                  <a:srgbClr val="0F218B"/>
                </a:solidFill>
              </a:rPr>
              <a:t> </a:t>
            </a:r>
            <a:r>
              <a:rPr lang="de-DE" err="1">
                <a:solidFill>
                  <a:srgbClr val="0F218B"/>
                </a:solidFill>
              </a:rPr>
              <a:t>can</a:t>
            </a:r>
            <a:r>
              <a:rPr lang="de-DE">
                <a:solidFill>
                  <a:srgbClr val="0F218B"/>
                </a:solidFill>
              </a:rPr>
              <a:t> </a:t>
            </a:r>
            <a:r>
              <a:rPr lang="de-DE" err="1">
                <a:solidFill>
                  <a:srgbClr val="0F218B"/>
                </a:solidFill>
              </a:rPr>
              <a:t>be</a:t>
            </a:r>
            <a:r>
              <a:rPr lang="de-DE">
                <a:solidFill>
                  <a:srgbClr val="0F218B"/>
                </a:solidFill>
              </a:rPr>
              <a:t> </a:t>
            </a:r>
            <a:r>
              <a:rPr lang="de-DE" err="1">
                <a:solidFill>
                  <a:srgbClr val="0F218B"/>
                </a:solidFill>
              </a:rPr>
              <a:t>edited</a:t>
            </a:r>
            <a:r>
              <a:rPr lang="de-DE">
                <a:solidFill>
                  <a:srgbClr val="0F218B"/>
                </a:solidFill>
              </a:rPr>
              <a:t> </a:t>
            </a:r>
            <a:r>
              <a:rPr lang="de-DE" err="1">
                <a:solidFill>
                  <a:srgbClr val="0F218B"/>
                </a:solidFill>
              </a:rPr>
              <a:t>directly</a:t>
            </a:r>
            <a:r>
              <a:rPr lang="de-DE">
                <a:solidFill>
                  <a:srgbClr val="0F218B"/>
                </a:solidFill>
              </a:rPr>
              <a:t> </a:t>
            </a:r>
            <a:r>
              <a:rPr lang="de-DE" err="1">
                <a:solidFill>
                  <a:srgbClr val="0F218B"/>
                </a:solidFill>
              </a:rPr>
              <a:t>by</a:t>
            </a:r>
            <a:r>
              <a:rPr lang="de-DE">
                <a:solidFill>
                  <a:srgbClr val="0F218B"/>
                </a:solidFill>
              </a:rPr>
              <a:t> </a:t>
            </a:r>
            <a:r>
              <a:rPr lang="de-DE" err="1">
                <a:solidFill>
                  <a:srgbClr val="0F218B"/>
                </a:solidFill>
              </a:rPr>
              <a:t>clicking</a:t>
            </a:r>
            <a:r>
              <a:rPr lang="de-DE">
                <a:solidFill>
                  <a:srgbClr val="0F218B"/>
                </a:solidFill>
              </a:rPr>
              <a:t> in </a:t>
            </a:r>
            <a:r>
              <a:rPr lang="de-DE" err="1">
                <a:solidFill>
                  <a:srgbClr val="0F218B"/>
                </a:solidFill>
              </a:rPr>
              <a:t>the</a:t>
            </a:r>
            <a:r>
              <a:rPr lang="de-DE">
                <a:solidFill>
                  <a:srgbClr val="0F218B"/>
                </a:solidFill>
              </a:rPr>
              <a:t> </a:t>
            </a:r>
            <a:r>
              <a:rPr lang="de-DE" err="1">
                <a:solidFill>
                  <a:srgbClr val="0F218B"/>
                </a:solidFill>
              </a:rPr>
              <a:t>elements</a:t>
            </a:r>
            <a:r>
              <a:rPr lang="de-DE">
                <a:solidFill>
                  <a:srgbClr val="0F218B"/>
                </a:solidFill>
              </a:rPr>
              <a:t>, </a:t>
            </a:r>
            <a:r>
              <a:rPr lang="de-DE" err="1">
                <a:solidFill>
                  <a:srgbClr val="0F218B"/>
                </a:solidFill>
              </a:rPr>
              <a:t>then</a:t>
            </a:r>
            <a:r>
              <a:rPr lang="de-DE">
                <a:solidFill>
                  <a:srgbClr val="0F218B"/>
                </a:solidFill>
              </a:rPr>
              <a:t> on SmartArt-Tools</a:t>
            </a:r>
          </a:p>
        </p:txBody>
      </p:sp>
      <p:graphicFrame>
        <p:nvGraphicFramePr>
          <p:cNvPr id="4" name="Diagramm 4" title="SmartArt-Grafik Platzhalter">
            <a:extLst>
              <a:ext uri="{FF2B5EF4-FFF2-40B4-BE49-F238E27FC236}">
                <a16:creationId xmlns:a16="http://schemas.microsoft.com/office/drawing/2014/main" id="{3D20D492-DCEB-1548-9F8A-4D5C573DEF13}"/>
              </a:ext>
            </a:extLst>
          </p:cNvPr>
          <p:cNvGraphicFramePr/>
          <p:nvPr userDrawn="1">
            <p:extLst>
              <p:ext uri="{D42A27DB-BD31-4B8C-83A1-F6EECF244321}">
                <p14:modId xmlns:p14="http://schemas.microsoft.com/office/powerpoint/2010/main" val="4051202203"/>
              </p:ext>
            </p:extLst>
          </p:nvPr>
        </p:nvGraphicFramePr>
        <p:xfrm>
          <a:off x="382588" y="2384884"/>
          <a:ext cx="11522075" cy="30598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950929181"/>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9_ENTSO-E Thank you slide">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495600" y="2780928"/>
            <a:ext cx="11617788" cy="936104"/>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Tree>
    <p:extLst>
      <p:ext uri="{BB962C8B-B14F-4D97-AF65-F5344CB8AC3E}">
        <p14:creationId xmlns:p14="http://schemas.microsoft.com/office/powerpoint/2010/main" val="3845692442"/>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0_ENTSO-E Thank you slide_value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382588" y="134634"/>
            <a:ext cx="11426825" cy="936104"/>
          </a:xfrm>
          <a:prstGeom prst="rect">
            <a:avLst/>
          </a:prstGeom>
          <a:ln>
            <a:noFill/>
          </a:ln>
        </p:spPr>
        <p:txBody>
          <a:bodyPr anchor="ctr"/>
          <a:lstStyle>
            <a:lvl1pPr algn="ct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
        <p:nvSpPr>
          <p:cNvPr id="3" name="Title 1">
            <a:extLst>
              <a:ext uri="{FF2B5EF4-FFF2-40B4-BE49-F238E27FC236}">
                <a16:creationId xmlns:a16="http://schemas.microsoft.com/office/drawing/2014/main" id="{8D053C00-E906-E444-8E28-BAE1FF9E76D0}"/>
              </a:ext>
            </a:extLst>
          </p:cNvPr>
          <p:cNvSpPr txBox="1">
            <a:spLocks/>
          </p:cNvSpPr>
          <p:nvPr userDrawn="1"/>
        </p:nvSpPr>
        <p:spPr>
          <a:xfrm>
            <a:off x="382587" y="1186850"/>
            <a:ext cx="11426825" cy="6318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0">
                <a:solidFill>
                  <a:schemeClr val="tx1">
                    <a:lumMod val="50000"/>
                  </a:schemeClr>
                </a:solidFill>
                <a:effectLst/>
                <a:latin typeface="Calibri" panose="020F0502020204030204" pitchFamily="34" charset="0"/>
                <a:cs typeface="Calibri" panose="020F0502020204030204" pitchFamily="34" charset="0"/>
              </a:rPr>
              <a:t>Our values define who we are, what we stand for and how we behave.</a:t>
            </a:r>
          </a:p>
          <a:p>
            <a:pPr algn="ctr"/>
            <a:r>
              <a:rPr lang="en-IE" sz="1800" b="0">
                <a:solidFill>
                  <a:schemeClr val="tx1">
                    <a:lumMod val="50000"/>
                  </a:schemeClr>
                </a:solidFill>
                <a:effectLst/>
                <a:latin typeface="Calibri" panose="020F0502020204030204" pitchFamily="34" charset="0"/>
                <a:cs typeface="Calibri" panose="020F0502020204030204" pitchFamily="34" charset="0"/>
              </a:rPr>
              <a:t>We all play a part in bringing them to life</a:t>
            </a:r>
            <a:r>
              <a:rPr lang="en-IE" sz="2000" b="0">
                <a:solidFill>
                  <a:schemeClr val="tx1">
                    <a:lumMod val="50000"/>
                  </a:schemeClr>
                </a:solidFill>
                <a:effectLst/>
                <a:latin typeface="Calibri" panose="020F0502020204030204" pitchFamily="34" charset="0"/>
                <a:cs typeface="Calibri" panose="020F0502020204030204" pitchFamily="34" charset="0"/>
              </a:rPr>
              <a:t>.</a:t>
            </a:r>
          </a:p>
          <a:p>
            <a:pPr algn="ctr"/>
            <a:r>
              <a:rPr lang="en-IE" sz="2000" b="0">
                <a:solidFill>
                  <a:schemeClr val="tx1">
                    <a:lumMod val="50000"/>
                  </a:schemeClr>
                </a:solidFill>
                <a:effectLst/>
                <a:latin typeface="Calibri" panose="020F0502020204030204" pitchFamily="34" charset="0"/>
                <a:cs typeface="Calibri" panose="020F0502020204030204" pitchFamily="34" charset="0"/>
              </a:rPr>
              <a:t> </a:t>
            </a:r>
            <a:endParaRPr lang="en-IE" sz="1050" b="0">
              <a:solidFill>
                <a:schemeClr val="tx1">
                  <a:lumMod val="50000"/>
                </a:schemeClr>
              </a:solidFill>
              <a:effectLst/>
              <a:latin typeface="Calibri" panose="020F0502020204030204" pitchFamily="34" charset="0"/>
              <a:cs typeface="Calibri" panose="020F0502020204030204" pitchFamily="34" charset="0"/>
            </a:endParaRPr>
          </a:p>
        </p:txBody>
      </p:sp>
      <p:sp>
        <p:nvSpPr>
          <p:cNvPr id="5" name="Titel 5">
            <a:extLst>
              <a:ext uri="{FF2B5EF4-FFF2-40B4-BE49-F238E27FC236}">
                <a16:creationId xmlns:a16="http://schemas.microsoft.com/office/drawing/2014/main" id="{7550E8E7-BAB3-40B9-AB4C-F3ABA9592AFF}"/>
              </a:ext>
            </a:extLst>
          </p:cNvPr>
          <p:cNvSpPr txBox="1">
            <a:spLocks/>
          </p:cNvSpPr>
          <p:nvPr userDrawn="1"/>
        </p:nvSpPr>
        <p:spPr>
          <a:xfrm>
            <a:off x="286875" y="5533432"/>
            <a:ext cx="11617788" cy="631871"/>
          </a:xfrm>
          <a:prstGeom prst="rect">
            <a:avLst/>
          </a:prstGeom>
          <a:ln>
            <a:noFill/>
          </a:ln>
        </p:spPr>
        <p:txBody>
          <a:bodyPr anchor="ctr"/>
          <a:lstStyle>
            <a:lvl1pPr algn="ctr" defTabSz="914400" rtl="0" eaLnBrk="1" latinLnBrk="0" hangingPunct="1">
              <a:lnSpc>
                <a:spcPts val="3200"/>
              </a:lnSpc>
              <a:spcBef>
                <a:spcPct val="0"/>
              </a:spcBef>
              <a:buNone/>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US"/>
              <a:t>We are ENTSO-E</a:t>
            </a:r>
          </a:p>
        </p:txBody>
      </p:sp>
      <p:sp>
        <p:nvSpPr>
          <p:cNvPr id="6" name="Title 1">
            <a:extLst>
              <a:ext uri="{FF2B5EF4-FFF2-40B4-BE49-F238E27FC236}">
                <a16:creationId xmlns:a16="http://schemas.microsoft.com/office/drawing/2014/main" id="{70B34F4F-2938-408E-99E5-B9481D786209}"/>
              </a:ext>
            </a:extLst>
          </p:cNvPr>
          <p:cNvSpPr txBox="1">
            <a:spLocks/>
          </p:cNvSpPr>
          <p:nvPr userDrawn="1"/>
        </p:nvSpPr>
        <p:spPr>
          <a:xfrm>
            <a:off x="1201008"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deliver to the highest standardss. We provide an environment in which people can develop to their full potential.</a:t>
            </a:r>
          </a:p>
        </p:txBody>
      </p:sp>
      <p:sp>
        <p:nvSpPr>
          <p:cNvPr id="7" name="Title 1">
            <a:extLst>
              <a:ext uri="{FF2B5EF4-FFF2-40B4-BE49-F238E27FC236}">
                <a16:creationId xmlns:a16="http://schemas.microsoft.com/office/drawing/2014/main" id="{81A3B0E4-3084-4984-B778-6DEE61707D69}"/>
              </a:ext>
            </a:extLst>
          </p:cNvPr>
          <p:cNvSpPr txBox="1">
            <a:spLocks/>
          </p:cNvSpPr>
          <p:nvPr userDrawn="1"/>
        </p:nvSpPr>
        <p:spPr>
          <a:xfrm>
            <a:off x="1201009"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EXCELLENCE</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1" name="Gruppieren 10">
            <a:extLst>
              <a:ext uri="{FF2B5EF4-FFF2-40B4-BE49-F238E27FC236}">
                <a16:creationId xmlns:a16="http://schemas.microsoft.com/office/drawing/2014/main" id="{82D4A0DE-6C67-44B0-B22A-C0A05BBC69FC}"/>
              </a:ext>
            </a:extLst>
          </p:cNvPr>
          <p:cNvGrpSpPr/>
          <p:nvPr userDrawn="1"/>
        </p:nvGrpSpPr>
        <p:grpSpPr>
          <a:xfrm>
            <a:off x="1376411" y="2083344"/>
            <a:ext cx="1089193" cy="1118842"/>
            <a:chOff x="1478254" y="1759825"/>
            <a:chExt cx="1089193" cy="1118842"/>
          </a:xfrm>
        </p:grpSpPr>
        <p:sp>
          <p:nvSpPr>
            <p:cNvPr id="2" name="Ellipse 1">
              <a:extLst>
                <a:ext uri="{FF2B5EF4-FFF2-40B4-BE49-F238E27FC236}">
                  <a16:creationId xmlns:a16="http://schemas.microsoft.com/office/drawing/2014/main" id="{EF03CA22-6B13-49DE-A795-8B07042FA0BE}"/>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a:extLst>
                <a:ext uri="{FF2B5EF4-FFF2-40B4-BE49-F238E27FC236}">
                  <a16:creationId xmlns:a16="http://schemas.microsoft.com/office/drawing/2014/main" id="{161B2F95-9B35-4040-81B2-ACDE054BDD8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478254" y="1798667"/>
              <a:ext cx="1080000" cy="1080000"/>
            </a:xfrm>
            <a:prstGeom prst="rect">
              <a:avLst/>
            </a:prstGeom>
          </p:spPr>
        </p:pic>
      </p:grpSp>
      <p:sp>
        <p:nvSpPr>
          <p:cNvPr id="12" name="Title 1">
            <a:extLst>
              <a:ext uri="{FF2B5EF4-FFF2-40B4-BE49-F238E27FC236}">
                <a16:creationId xmlns:a16="http://schemas.microsoft.com/office/drawing/2014/main" id="{E81CF4DD-25A2-40F4-952B-66B4466BBD93}"/>
              </a:ext>
            </a:extLst>
          </p:cNvPr>
          <p:cNvSpPr txBox="1">
            <a:spLocks/>
          </p:cNvSpPr>
          <p:nvPr userDrawn="1"/>
        </p:nvSpPr>
        <p:spPr>
          <a:xfrm>
            <a:off x="3287689"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trust each other, we are transparent and we empower people. We respect diversity.</a:t>
            </a:r>
          </a:p>
        </p:txBody>
      </p:sp>
      <p:sp>
        <p:nvSpPr>
          <p:cNvPr id="13" name="Title 1">
            <a:extLst>
              <a:ext uri="{FF2B5EF4-FFF2-40B4-BE49-F238E27FC236}">
                <a16:creationId xmlns:a16="http://schemas.microsoft.com/office/drawing/2014/main" id="{33B85503-5C78-444D-B346-AB59AA416AC8}"/>
              </a:ext>
            </a:extLst>
          </p:cNvPr>
          <p:cNvSpPr txBox="1">
            <a:spLocks/>
          </p:cNvSpPr>
          <p:nvPr userDrawn="1"/>
        </p:nvSpPr>
        <p:spPr>
          <a:xfrm>
            <a:off x="3287688"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TRUST</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4" name="Gruppieren 13">
            <a:extLst>
              <a:ext uri="{FF2B5EF4-FFF2-40B4-BE49-F238E27FC236}">
                <a16:creationId xmlns:a16="http://schemas.microsoft.com/office/drawing/2014/main" id="{B5475377-A926-4847-B972-EA12DF6C0701}"/>
              </a:ext>
            </a:extLst>
          </p:cNvPr>
          <p:cNvGrpSpPr/>
          <p:nvPr userDrawn="1"/>
        </p:nvGrpSpPr>
        <p:grpSpPr>
          <a:xfrm>
            <a:off x="3463091" y="2083344"/>
            <a:ext cx="1089193" cy="1118842"/>
            <a:chOff x="1478254" y="1759825"/>
            <a:chExt cx="1089193" cy="1118842"/>
          </a:xfrm>
        </p:grpSpPr>
        <p:sp>
          <p:nvSpPr>
            <p:cNvPr id="15" name="Ellipse 14">
              <a:extLst>
                <a:ext uri="{FF2B5EF4-FFF2-40B4-BE49-F238E27FC236}">
                  <a16:creationId xmlns:a16="http://schemas.microsoft.com/office/drawing/2014/main" id="{13BB04B6-217B-499D-8F98-894FB375B2F9}"/>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6" name="Grafik 15">
              <a:extLst>
                <a:ext uri="{FF2B5EF4-FFF2-40B4-BE49-F238E27FC236}">
                  <a16:creationId xmlns:a16="http://schemas.microsoft.com/office/drawing/2014/main" id="{2760D55D-13ED-4E94-966A-95F12368925C}"/>
                </a:ext>
              </a:extLst>
            </p:cNvPr>
            <p:cNvPicPr>
              <a:picLocks noChangeAspect="1"/>
            </p:cNvPicPr>
            <p:nvPr userDrawn="1"/>
          </p:nvPicPr>
          <p:blipFill>
            <a:blip r:embed="rId3" cstate="hqprint">
              <a:extLst>
                <a:ext uri="{28A0092B-C50C-407E-A947-70E740481C1C}">
                  <a14:useLocalDpi xmlns:a14="http://schemas.microsoft.com/office/drawing/2010/main" val="0"/>
                </a:ext>
              </a:extLst>
            </a:blip>
            <a:srcRect/>
            <a:stretch/>
          </p:blipFill>
          <p:spPr>
            <a:xfrm>
              <a:off x="1478254" y="1798667"/>
              <a:ext cx="1080000" cy="1080000"/>
            </a:xfrm>
            <a:prstGeom prst="rect">
              <a:avLst/>
            </a:prstGeom>
          </p:spPr>
        </p:pic>
      </p:grpSp>
      <p:sp>
        <p:nvSpPr>
          <p:cNvPr id="17" name="Title 1">
            <a:extLst>
              <a:ext uri="{FF2B5EF4-FFF2-40B4-BE49-F238E27FC236}">
                <a16:creationId xmlns:a16="http://schemas.microsoft.com/office/drawing/2014/main" id="{E979720F-B102-477C-A18C-F42F69F7B3FA}"/>
              </a:ext>
            </a:extLst>
          </p:cNvPr>
          <p:cNvSpPr txBox="1">
            <a:spLocks/>
          </p:cNvSpPr>
          <p:nvPr userDrawn="1"/>
        </p:nvSpPr>
        <p:spPr>
          <a:xfrm>
            <a:off x="537600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act in the interest of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ENTSO-E</a:t>
            </a:r>
          </a:p>
        </p:txBody>
      </p:sp>
      <p:sp>
        <p:nvSpPr>
          <p:cNvPr id="18" name="Title 1">
            <a:extLst>
              <a:ext uri="{FF2B5EF4-FFF2-40B4-BE49-F238E27FC236}">
                <a16:creationId xmlns:a16="http://schemas.microsoft.com/office/drawing/2014/main" id="{DEDA1B90-9F8A-4C63-B8FF-D940062EC4C4}"/>
              </a:ext>
            </a:extLst>
          </p:cNvPr>
          <p:cNvSpPr txBox="1">
            <a:spLocks/>
          </p:cNvSpPr>
          <p:nvPr userDrawn="1"/>
        </p:nvSpPr>
        <p:spPr>
          <a:xfrm>
            <a:off x="537600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INTEGRITY</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9" name="Gruppieren 18">
            <a:extLst>
              <a:ext uri="{FF2B5EF4-FFF2-40B4-BE49-F238E27FC236}">
                <a16:creationId xmlns:a16="http://schemas.microsoft.com/office/drawing/2014/main" id="{955A5FDF-13A6-4E3F-98FC-5D8B5F750CF6}"/>
              </a:ext>
            </a:extLst>
          </p:cNvPr>
          <p:cNvGrpSpPr/>
          <p:nvPr userDrawn="1"/>
        </p:nvGrpSpPr>
        <p:grpSpPr>
          <a:xfrm>
            <a:off x="5551403" y="2024327"/>
            <a:ext cx="1089193" cy="1139017"/>
            <a:chOff x="1478254" y="1700808"/>
            <a:chExt cx="1089193" cy="1139017"/>
          </a:xfrm>
        </p:grpSpPr>
        <p:sp>
          <p:nvSpPr>
            <p:cNvPr id="20" name="Ellipse 19">
              <a:extLst>
                <a:ext uri="{FF2B5EF4-FFF2-40B4-BE49-F238E27FC236}">
                  <a16:creationId xmlns:a16="http://schemas.microsoft.com/office/drawing/2014/main" id="{7B46EB16-3C21-4C1F-96E5-A09D69B4EA5B}"/>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4B4C9A02-66CE-4BBC-A5CB-9F9670516C1D}"/>
                </a:ext>
              </a:extLst>
            </p:cNvPr>
            <p:cNvPicPr>
              <a:picLocks noChangeAspect="1"/>
            </p:cNvPicPr>
            <p:nvPr userDrawn="1"/>
          </p:nvPicPr>
          <p:blipFill>
            <a:blip r:embed="rId4" cstate="hqprint">
              <a:extLst>
                <a:ext uri="{28A0092B-C50C-407E-A947-70E740481C1C}">
                  <a14:useLocalDpi xmlns:a14="http://schemas.microsoft.com/office/drawing/2010/main" val="0"/>
                </a:ext>
              </a:extLst>
            </a:blip>
            <a:srcRect/>
            <a:stretch/>
          </p:blipFill>
          <p:spPr>
            <a:xfrm>
              <a:off x="1478254" y="1700808"/>
              <a:ext cx="1080000" cy="1080000"/>
            </a:xfrm>
            <a:prstGeom prst="rect">
              <a:avLst/>
            </a:prstGeom>
          </p:spPr>
        </p:pic>
      </p:grpSp>
      <p:sp>
        <p:nvSpPr>
          <p:cNvPr id="22" name="Title 1">
            <a:extLst>
              <a:ext uri="{FF2B5EF4-FFF2-40B4-BE49-F238E27FC236}">
                <a16:creationId xmlns:a16="http://schemas.microsoft.com/office/drawing/2014/main" id="{2E634EBD-DFF6-43C8-9422-8F16AAB96C86}"/>
              </a:ext>
            </a:extLst>
          </p:cNvPr>
          <p:cNvSpPr txBox="1">
            <a:spLocks/>
          </p:cNvSpPr>
          <p:nvPr userDrawn="1"/>
        </p:nvSpPr>
        <p:spPr>
          <a:xfrm>
            <a:off x="7392263"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care about people. We work transversal and we support each other. We celebrate success.</a:t>
            </a:r>
          </a:p>
        </p:txBody>
      </p:sp>
      <p:sp>
        <p:nvSpPr>
          <p:cNvPr id="23" name="Title 1">
            <a:extLst>
              <a:ext uri="{FF2B5EF4-FFF2-40B4-BE49-F238E27FC236}">
                <a16:creationId xmlns:a16="http://schemas.microsoft.com/office/drawing/2014/main" id="{2B8B0EDA-AFDC-4A3F-8B48-271A245E4727}"/>
              </a:ext>
            </a:extLst>
          </p:cNvPr>
          <p:cNvSpPr txBox="1">
            <a:spLocks/>
          </p:cNvSpPr>
          <p:nvPr userDrawn="1"/>
        </p:nvSpPr>
        <p:spPr>
          <a:xfrm>
            <a:off x="7392262"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TEAM</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4" name="Gruppieren 23">
            <a:extLst>
              <a:ext uri="{FF2B5EF4-FFF2-40B4-BE49-F238E27FC236}">
                <a16:creationId xmlns:a16="http://schemas.microsoft.com/office/drawing/2014/main" id="{DB57394F-A3ED-46EA-ACEB-FE66F27FAB09}"/>
              </a:ext>
            </a:extLst>
          </p:cNvPr>
          <p:cNvGrpSpPr/>
          <p:nvPr userDrawn="1"/>
        </p:nvGrpSpPr>
        <p:grpSpPr>
          <a:xfrm>
            <a:off x="7576858" y="2080275"/>
            <a:ext cx="1080000" cy="1083069"/>
            <a:chOff x="1487447" y="1756756"/>
            <a:chExt cx="1080000" cy="1083069"/>
          </a:xfrm>
        </p:grpSpPr>
        <p:sp>
          <p:nvSpPr>
            <p:cNvPr id="25" name="Ellipse 24">
              <a:extLst>
                <a:ext uri="{FF2B5EF4-FFF2-40B4-BE49-F238E27FC236}">
                  <a16:creationId xmlns:a16="http://schemas.microsoft.com/office/drawing/2014/main" id="{047968BE-8FA5-46E6-AEB4-7BBD707663C8}"/>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6" name="Grafik 25">
              <a:extLst>
                <a:ext uri="{FF2B5EF4-FFF2-40B4-BE49-F238E27FC236}">
                  <a16:creationId xmlns:a16="http://schemas.microsoft.com/office/drawing/2014/main" id="{7EB613B2-536A-4138-AE88-6840149C7A1B}"/>
                </a:ext>
              </a:extLst>
            </p:cNvPr>
            <p:cNvPicPr>
              <a:picLocks noChangeAspect="1"/>
            </p:cNvPicPr>
            <p:nvPr userDrawn="1"/>
          </p:nvPicPr>
          <p:blipFill>
            <a:blip r:embed="rId5" cstate="hqprint">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
        <p:nvSpPr>
          <p:cNvPr id="27" name="Title 1">
            <a:extLst>
              <a:ext uri="{FF2B5EF4-FFF2-40B4-BE49-F238E27FC236}">
                <a16:creationId xmlns:a16="http://schemas.microsoft.com/office/drawing/2014/main" id="{EC54E769-6637-4291-8E33-04784D80068D}"/>
              </a:ext>
            </a:extLst>
          </p:cNvPr>
          <p:cNvSpPr txBox="1">
            <a:spLocks/>
          </p:cNvSpPr>
          <p:nvPr userDrawn="1"/>
        </p:nvSpPr>
        <p:spPr>
          <a:xfrm>
            <a:off x="933636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are a learning organisation.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We explore new paths and solutions.</a:t>
            </a:r>
          </a:p>
        </p:txBody>
      </p:sp>
      <p:sp>
        <p:nvSpPr>
          <p:cNvPr id="28" name="Title 1">
            <a:extLst>
              <a:ext uri="{FF2B5EF4-FFF2-40B4-BE49-F238E27FC236}">
                <a16:creationId xmlns:a16="http://schemas.microsoft.com/office/drawing/2014/main" id="{1EAE1D68-1D65-449A-A1D4-1C7A4EE8D7F3}"/>
              </a:ext>
            </a:extLst>
          </p:cNvPr>
          <p:cNvSpPr txBox="1">
            <a:spLocks/>
          </p:cNvSpPr>
          <p:nvPr userDrawn="1"/>
        </p:nvSpPr>
        <p:spPr>
          <a:xfrm>
            <a:off x="933636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FUTURE THINKING</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9" name="Gruppieren 28">
            <a:extLst>
              <a:ext uri="{FF2B5EF4-FFF2-40B4-BE49-F238E27FC236}">
                <a16:creationId xmlns:a16="http://schemas.microsoft.com/office/drawing/2014/main" id="{3C70C999-7CBE-4D11-A6B2-D77A57C5B0AD}"/>
              </a:ext>
            </a:extLst>
          </p:cNvPr>
          <p:cNvGrpSpPr/>
          <p:nvPr userDrawn="1"/>
        </p:nvGrpSpPr>
        <p:grpSpPr>
          <a:xfrm>
            <a:off x="9520956" y="2080275"/>
            <a:ext cx="1080000" cy="1083069"/>
            <a:chOff x="1487447" y="1756756"/>
            <a:chExt cx="1080000" cy="1083069"/>
          </a:xfrm>
        </p:grpSpPr>
        <p:sp>
          <p:nvSpPr>
            <p:cNvPr id="30" name="Ellipse 29">
              <a:extLst>
                <a:ext uri="{FF2B5EF4-FFF2-40B4-BE49-F238E27FC236}">
                  <a16:creationId xmlns:a16="http://schemas.microsoft.com/office/drawing/2014/main" id="{29D45C60-2B3F-49B7-BD2B-64F936E7A262}"/>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1" name="Grafik 30">
              <a:extLst>
                <a:ext uri="{FF2B5EF4-FFF2-40B4-BE49-F238E27FC236}">
                  <a16:creationId xmlns:a16="http://schemas.microsoft.com/office/drawing/2014/main" id="{C7C06749-CCF9-45D3-B10D-3B95BF64A939}"/>
                </a:ext>
              </a:extLst>
            </p:cNvPr>
            <p:cNvPicPr>
              <a:picLocks noChangeAspect="1"/>
            </p:cNvPicPr>
            <p:nvPr userDrawn="1"/>
          </p:nvPicPr>
          <p:blipFill>
            <a:blip r:embed="rId6" cstate="hqprint">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Tree>
    <p:extLst>
      <p:ext uri="{BB962C8B-B14F-4D97-AF65-F5344CB8AC3E}">
        <p14:creationId xmlns:p14="http://schemas.microsoft.com/office/powerpoint/2010/main" val="3264339686"/>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1_ENTSO-E Key take-away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86346" y="476672"/>
            <a:ext cx="11617788" cy="936104"/>
          </a:xfrm>
          <a:prstGeom prst="rect">
            <a:avLst/>
          </a:prstGeom>
          <a:ln>
            <a:noFill/>
          </a:ln>
        </p:spPr>
        <p:txBody>
          <a:bodyPr anchor="t"/>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Key </a:t>
            </a:r>
            <a:r>
              <a:rPr lang="de-DE" err="1"/>
              <a:t>take-aways</a:t>
            </a:r>
            <a:endParaRPr lang="de-DE"/>
          </a:p>
        </p:txBody>
      </p:sp>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nSpc>
                <a:spcPts val="2600"/>
              </a:lnSpc>
              <a:spcBef>
                <a:spcPts val="0"/>
              </a:spcBef>
              <a:buNone/>
              <a:defRPr sz="2000" b="0">
                <a:solidFill>
                  <a:schemeClr val="tx1"/>
                </a:solidFill>
                <a:latin typeface="Calibri" panose="020F0502020204030204" pitchFamily="34" charset="0"/>
                <a:cs typeface="Calibri" panose="020F0502020204030204" pitchFamily="34" charset="0"/>
              </a:defRPr>
            </a:lvl1pPr>
          </a:lstStyle>
          <a:p>
            <a:pPr lvl="0"/>
            <a:r>
              <a:rPr lang="de-DE"/>
              <a:t>Text</a:t>
            </a:r>
          </a:p>
        </p:txBody>
      </p:sp>
      <p:sp>
        <p:nvSpPr>
          <p:cNvPr id="4" name="Rechteck 1">
            <a:extLst>
              <a:ext uri="{FF2B5EF4-FFF2-40B4-BE49-F238E27FC236}">
                <a16:creationId xmlns:a16="http://schemas.microsoft.com/office/drawing/2014/main" id="{9B4626A2-3A46-4841-8EA9-2789E9CF76F6}"/>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502775346"/>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2_ENTSO-E Questions">
    <p:spTree>
      <p:nvGrpSpPr>
        <p:cNvPr id="1" name=""/>
        <p:cNvGrpSpPr/>
        <p:nvPr/>
      </p:nvGrpSpPr>
      <p:grpSpPr>
        <a:xfrm>
          <a:off x="0" y="0"/>
          <a:ext cx="0" cy="0"/>
          <a:chOff x="0" y="0"/>
          <a:chExt cx="0" cy="0"/>
        </a:xfrm>
      </p:grpSpPr>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gn="ctr">
              <a:lnSpc>
                <a:spcPts val="2600"/>
              </a:lnSpc>
              <a:spcBef>
                <a:spcPts val="0"/>
              </a:spcBef>
              <a:buNone/>
              <a:tabLst>
                <a:tab pos="3763963" algn="l"/>
              </a:tabLst>
              <a:defRPr sz="2800" b="1">
                <a:solidFill>
                  <a:srgbClr val="0F218B"/>
                </a:solidFill>
                <a:latin typeface="Calibri" panose="020F0502020204030204" pitchFamily="34" charset="0"/>
                <a:cs typeface="Calibri" panose="020F0502020204030204" pitchFamily="34" charset="0"/>
              </a:defRPr>
            </a:lvl1pPr>
          </a:lstStyle>
          <a:p>
            <a:pPr lvl="0"/>
            <a:r>
              <a:rPr lang="de-DE"/>
              <a:t>Questions?</a:t>
            </a:r>
          </a:p>
        </p:txBody>
      </p:sp>
      <p:sp>
        <p:nvSpPr>
          <p:cNvPr id="2" name="TextBox 1">
            <a:extLst>
              <a:ext uri="{FF2B5EF4-FFF2-40B4-BE49-F238E27FC236}">
                <a16:creationId xmlns:a16="http://schemas.microsoft.com/office/drawing/2014/main" id="{ED24F55E-FB99-4958-B7AF-F28A79322EB2}"/>
              </a:ext>
            </a:extLst>
          </p:cNvPr>
          <p:cNvSpPr txBox="1"/>
          <p:nvPr userDrawn="1"/>
        </p:nvSpPr>
        <p:spPr>
          <a:xfrm>
            <a:off x="5447928" y="4149080"/>
            <a:ext cx="3384376" cy="369332"/>
          </a:xfrm>
          <a:prstGeom prst="rect">
            <a:avLst/>
          </a:prstGeom>
          <a:noFill/>
        </p:spPr>
        <p:txBody>
          <a:bodyPr wrap="square" rtlCol="0">
            <a:spAutoFit/>
          </a:bodyPr>
          <a:lstStyle/>
          <a:p>
            <a:r>
              <a:rPr lang="en-US">
                <a:solidFill>
                  <a:srgbClr val="0F218B"/>
                </a:solidFill>
                <a:latin typeface="Calibri" panose="020F0502020204030204" pitchFamily="34" charset="0"/>
                <a:cs typeface="Calibri" panose="020F0502020204030204" pitchFamily="34" charset="0"/>
              </a:rPr>
              <a:t>contact:</a:t>
            </a:r>
            <a:endParaRPr lang="en-GB">
              <a:solidFill>
                <a:srgbClr val="0F218B"/>
              </a:solidFill>
              <a:latin typeface="Calibri" panose="020F0502020204030204" pitchFamily="34" charset="0"/>
              <a:cs typeface="Calibri" panose="020F0502020204030204" pitchFamily="34" charset="0"/>
            </a:endParaRPr>
          </a:p>
        </p:txBody>
      </p:sp>
      <p:sp>
        <p:nvSpPr>
          <p:cNvPr id="5" name="Rechteck 1">
            <a:extLst>
              <a:ext uri="{FF2B5EF4-FFF2-40B4-BE49-F238E27FC236}">
                <a16:creationId xmlns:a16="http://schemas.microsoft.com/office/drawing/2014/main" id="{C2D06D34-321E-4E67-BD6C-917AD342E7D4}"/>
              </a:ext>
            </a:extLst>
          </p:cNvPr>
          <p:cNvSpPr/>
          <p:nvPr userDrawn="1"/>
        </p:nvSpPr>
        <p:spPr>
          <a:xfrm rot="5400000" flipH="1">
            <a:off x="6064640" y="3063656"/>
            <a:ext cx="61200" cy="180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4094534436"/>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f presentation">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4E6D71C-ACD7-49D2-9689-F9C4024FAC38}" type="slidenum">
              <a:rPr lang="en-IE" smtClean="0"/>
              <a:t>‹#›</a:t>
            </a:fld>
            <a:endParaRPr lang="en-IE"/>
          </a:p>
        </p:txBody>
      </p:sp>
      <p:cxnSp>
        <p:nvCxnSpPr>
          <p:cNvPr id="5" name="Straight Connector 4"/>
          <p:cNvCxnSpPr/>
          <p:nvPr/>
        </p:nvCxnSpPr>
        <p:spPr>
          <a:xfrm>
            <a:off x="1794933" y="5584775"/>
            <a:ext cx="8619112"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fik 2">
            <a:extLst>
              <a:ext uri="{FF2B5EF4-FFF2-40B4-BE49-F238E27FC236}">
                <a16:creationId xmlns:a16="http://schemas.microsoft.com/office/drawing/2014/main" id="{8B60A9CE-CF5F-4080-B97C-A21DC16696B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742" t="35785" r="10060" b="21055"/>
          <a:stretch/>
        </p:blipFill>
        <p:spPr>
          <a:xfrm>
            <a:off x="480000" y="1944000"/>
            <a:ext cx="11712000" cy="3600000"/>
          </a:xfrm>
          <a:prstGeom prst="rect">
            <a:avLst/>
          </a:prstGeom>
        </p:spPr>
      </p:pic>
      <p:sp>
        <p:nvSpPr>
          <p:cNvPr id="12" name="Rechteck 6">
            <a:extLst>
              <a:ext uri="{FF2B5EF4-FFF2-40B4-BE49-F238E27FC236}">
                <a16:creationId xmlns:a16="http://schemas.microsoft.com/office/drawing/2014/main" id="{8E2AC797-FF30-4B9C-90E6-426484A280B7}"/>
              </a:ext>
            </a:extLst>
          </p:cNvPr>
          <p:cNvSpPr/>
          <p:nvPr userDrawn="1"/>
        </p:nvSpPr>
        <p:spPr>
          <a:xfrm flipH="1">
            <a:off x="-1" y="1944000"/>
            <a:ext cx="480000" cy="3600000"/>
          </a:xfrm>
          <a:prstGeom prst="rect">
            <a:avLst/>
          </a:prstGeom>
          <a:gradFill>
            <a:gsLst>
              <a:gs pos="0">
                <a:schemeClr val="tx1">
                  <a:lumMod val="10000"/>
                  <a:lumOff val="90000"/>
                </a:schemeClr>
              </a:gs>
              <a:gs pos="100000">
                <a:schemeClr val="bg2">
                  <a:lumMod val="95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3" name="Titel 3">
            <a:extLst>
              <a:ext uri="{FF2B5EF4-FFF2-40B4-BE49-F238E27FC236}">
                <a16:creationId xmlns:a16="http://schemas.microsoft.com/office/drawing/2014/main" id="{4352CB59-A757-4132-8A12-C7797F58C80C}"/>
              </a:ext>
            </a:extLst>
          </p:cNvPr>
          <p:cNvSpPr>
            <a:spLocks noGrp="1"/>
          </p:cNvSpPr>
          <p:nvPr>
            <p:ph type="title" hasCustomPrompt="1"/>
          </p:nvPr>
        </p:nvSpPr>
        <p:spPr>
          <a:xfrm>
            <a:off x="672001" y="440669"/>
            <a:ext cx="11281639" cy="825489"/>
          </a:xfrm>
          <a:prstGeom prst="rect">
            <a:avLst/>
          </a:prstGeom>
        </p:spPr>
        <p:txBody>
          <a:bodyPr anchor="b"/>
          <a:lstStyle>
            <a:lvl1pPr>
              <a:lnSpc>
                <a:spcPts val="3200"/>
              </a:lnSpc>
              <a:defRPr sz="3000" b="1">
                <a:solidFill>
                  <a:srgbClr val="0F218B"/>
                </a:solidFill>
                <a:latin typeface="Calibri" panose="020F0502020204030204" pitchFamily="34" charset="0"/>
                <a:cs typeface="Calibri" panose="020F0502020204030204" pitchFamily="34" charset="0"/>
              </a:defRPr>
            </a:lvl1pPr>
          </a:lstStyle>
          <a:p>
            <a:r>
              <a:rPr lang="de-DE"/>
              <a:t>Title ENTSO-E PowerPoint-</a:t>
            </a:r>
            <a:r>
              <a:rPr lang="de-DE" err="1"/>
              <a:t>Presentation</a:t>
            </a:r>
            <a:br>
              <a:rPr lang="de-DE"/>
            </a:br>
            <a:r>
              <a:rPr lang="de-DE" err="1"/>
              <a:t>may</a:t>
            </a:r>
            <a:r>
              <a:rPr lang="de-DE"/>
              <a:t> </a:t>
            </a:r>
            <a:r>
              <a:rPr lang="de-DE" err="1"/>
              <a:t>expand</a:t>
            </a:r>
            <a:r>
              <a:rPr lang="de-DE"/>
              <a:t> </a:t>
            </a:r>
            <a:r>
              <a:rPr lang="de-DE" err="1"/>
              <a:t>over</a:t>
            </a:r>
            <a:r>
              <a:rPr lang="de-DE"/>
              <a:t> </a:t>
            </a:r>
            <a:r>
              <a:rPr lang="de-DE" err="1"/>
              <a:t>two</a:t>
            </a:r>
            <a:r>
              <a:rPr lang="de-DE"/>
              <a:t> </a:t>
            </a:r>
            <a:r>
              <a:rPr lang="de-DE" err="1"/>
              <a:t>lines</a:t>
            </a:r>
            <a:r>
              <a:rPr lang="de-DE"/>
              <a:t>, </a:t>
            </a:r>
            <a:r>
              <a:rPr lang="de-DE" err="1"/>
              <a:t>click</a:t>
            </a:r>
            <a:r>
              <a:rPr lang="de-DE"/>
              <a:t> </a:t>
            </a:r>
            <a:r>
              <a:rPr lang="de-DE" err="1"/>
              <a:t>to</a:t>
            </a:r>
            <a:r>
              <a:rPr lang="de-DE"/>
              <a:t> </a:t>
            </a:r>
            <a:r>
              <a:rPr lang="de-DE" err="1"/>
              <a:t>edit</a:t>
            </a:r>
            <a:endParaRPr lang="de-DE"/>
          </a:p>
        </p:txBody>
      </p:sp>
      <p:sp>
        <p:nvSpPr>
          <p:cNvPr id="15" name="Textplatzhalter 7">
            <a:extLst>
              <a:ext uri="{FF2B5EF4-FFF2-40B4-BE49-F238E27FC236}">
                <a16:creationId xmlns:a16="http://schemas.microsoft.com/office/drawing/2014/main" id="{7ECECB4D-524A-466C-B000-7DF97F239A17}"/>
              </a:ext>
            </a:extLst>
          </p:cNvPr>
          <p:cNvSpPr>
            <a:spLocks noGrp="1"/>
          </p:cNvSpPr>
          <p:nvPr>
            <p:ph type="body" sz="quarter" idx="12" hasCustomPrompt="1"/>
          </p:nvPr>
        </p:nvSpPr>
        <p:spPr>
          <a:xfrm>
            <a:off x="672001" y="1451044"/>
            <a:ext cx="11281639" cy="465789"/>
          </a:xfrm>
          <a:prstGeom prst="rect">
            <a:avLst/>
          </a:prstGeom>
        </p:spPr>
        <p:txBody>
          <a:bodyPr>
            <a:normAutofit/>
          </a:bodyPr>
          <a:lstStyle>
            <a:lvl1pPr marL="0" indent="0">
              <a:lnSpc>
                <a:spcPts val="2600"/>
              </a:lnSpc>
              <a:spcBef>
                <a:spcPts val="0"/>
              </a:spcBef>
              <a:buNone/>
              <a:defRPr sz="2000" b="0" i="0">
                <a:solidFill>
                  <a:srgbClr val="00947F"/>
                </a:solidFill>
                <a:latin typeface="Calibri" panose="020F0502020204030204" pitchFamily="34" charset="0"/>
                <a:cs typeface="Calibri" panose="020F0502020204030204" pitchFamily="34" charset="0"/>
              </a:defRPr>
            </a:lvl1pPr>
            <a:lvl2pPr marL="457200" indent="0">
              <a:lnSpc>
                <a:spcPts val="2600"/>
              </a:lnSpc>
              <a:buNone/>
              <a:defRPr/>
            </a:lvl2pPr>
            <a:lvl3pPr marL="914400" indent="0">
              <a:buNone/>
              <a:defRPr/>
            </a:lvl3pPr>
          </a:lstStyle>
          <a:p>
            <a:pPr lvl="0"/>
            <a:r>
              <a:rPr lang="de-DE"/>
              <a:t>Subheadline, </a:t>
            </a:r>
            <a:r>
              <a:rPr lang="de-DE" err="1"/>
              <a:t>click</a:t>
            </a:r>
            <a:r>
              <a:rPr lang="de-DE"/>
              <a:t> </a:t>
            </a:r>
            <a:r>
              <a:rPr lang="de-DE" err="1"/>
              <a:t>to</a:t>
            </a:r>
            <a:r>
              <a:rPr lang="de-DE"/>
              <a:t> </a:t>
            </a:r>
            <a:r>
              <a:rPr lang="de-DE" err="1"/>
              <a:t>edit</a:t>
            </a:r>
            <a:r>
              <a:rPr lang="de-DE"/>
              <a:t>. Change </a:t>
            </a:r>
            <a:r>
              <a:rPr lang="de-DE" err="1"/>
              <a:t>picture</a:t>
            </a:r>
            <a:r>
              <a:rPr lang="de-DE"/>
              <a:t> in View &gt; Slide Master &gt; Slide Master 1</a:t>
            </a:r>
          </a:p>
        </p:txBody>
      </p:sp>
      <p:sp>
        <p:nvSpPr>
          <p:cNvPr id="16" name="Rechteck 1">
            <a:extLst>
              <a:ext uri="{FF2B5EF4-FFF2-40B4-BE49-F238E27FC236}">
                <a16:creationId xmlns:a16="http://schemas.microsoft.com/office/drawing/2014/main" id="{A2C99B6B-07A4-4C6E-9F96-3004870C3519}"/>
              </a:ext>
            </a:extLst>
          </p:cNvPr>
          <p:cNvSpPr/>
          <p:nvPr userDrawn="1"/>
        </p:nvSpPr>
        <p:spPr>
          <a:xfrm flipH="1">
            <a:off x="480001" y="43200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pic>
        <p:nvPicPr>
          <p:cNvPr id="17" name="Grafik 4">
            <a:extLst>
              <a:ext uri="{FF2B5EF4-FFF2-40B4-BE49-F238E27FC236}">
                <a16:creationId xmlns:a16="http://schemas.microsoft.com/office/drawing/2014/main" id="{FFD985C6-F2B1-47D0-8401-AAC8E80EE28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516380" y="5805264"/>
            <a:ext cx="2408534" cy="910095"/>
          </a:xfrm>
          <a:prstGeom prst="rect">
            <a:avLst/>
          </a:prstGeom>
        </p:spPr>
      </p:pic>
    </p:spTree>
    <p:extLst>
      <p:ext uri="{BB962C8B-B14F-4D97-AF65-F5344CB8AC3E}">
        <p14:creationId xmlns:p14="http://schemas.microsoft.com/office/powerpoint/2010/main" val="7148832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285639" y="3074577"/>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hapter </a:t>
            </a:r>
            <a:r>
              <a:rPr lang="de-DE" err="1"/>
              <a:t>slide</a:t>
            </a:r>
            <a:endParaRPr lang="de-DE"/>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54397" y="289281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992461874"/>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o tekst">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F6C63AA9-893C-51A4-0B2B-3F0B4BDAF18F}"/>
              </a:ext>
            </a:extLst>
          </p:cNvPr>
          <p:cNvSpPr/>
          <p:nvPr userDrawn="1"/>
        </p:nvSpPr>
        <p:spPr>
          <a:xfrm>
            <a:off x="4916"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7" name="Rectangle 3">
            <a:extLst>
              <a:ext uri="{FF2B5EF4-FFF2-40B4-BE49-F238E27FC236}">
                <a16:creationId xmlns:a16="http://schemas.microsoft.com/office/drawing/2014/main" id="{9940BBE2-C965-067A-B4CD-EF7046B4354D}"/>
              </a:ext>
            </a:extLst>
          </p:cNvPr>
          <p:cNvSpPr/>
          <p:nvPr userDrawn="1"/>
        </p:nvSpPr>
        <p:spPr>
          <a:xfrm>
            <a:off x="6096000" y="0"/>
            <a:ext cx="6096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4" name="Title 7">
            <a:extLst>
              <a:ext uri="{FF2B5EF4-FFF2-40B4-BE49-F238E27FC236}">
                <a16:creationId xmlns:a16="http://schemas.microsoft.com/office/drawing/2014/main" id="{A15D90C4-636A-4B99-6AF4-C1CD6BF5F572}"/>
              </a:ext>
            </a:extLst>
          </p:cNvPr>
          <p:cNvSpPr>
            <a:spLocks noGrp="1"/>
          </p:cNvSpPr>
          <p:nvPr>
            <p:ph type="title" hasCustomPrompt="1"/>
          </p:nvPr>
        </p:nvSpPr>
        <p:spPr>
          <a:xfrm>
            <a:off x="894486" y="1196976"/>
            <a:ext cx="4204132" cy="1547812"/>
          </a:xfrm>
        </p:spPr>
        <p:txBody>
          <a:bodyPr/>
          <a:lstStyle>
            <a:lvl1pPr>
              <a:lnSpc>
                <a:spcPts val="4000"/>
              </a:lnSpc>
              <a:defRPr baseline="0">
                <a:solidFill>
                  <a:schemeClr val="bg1"/>
                </a:solidFill>
              </a:defRPr>
            </a:lvl1pPr>
          </a:lstStyle>
          <a:p>
            <a:r>
              <a:rPr lang="da-DK"/>
              <a:t>Indsæt overskrift</a:t>
            </a:r>
          </a:p>
        </p:txBody>
      </p:sp>
      <p:sp>
        <p:nvSpPr>
          <p:cNvPr id="5" name="Text Placeholder 12">
            <a:extLst>
              <a:ext uri="{FF2B5EF4-FFF2-40B4-BE49-F238E27FC236}">
                <a16:creationId xmlns:a16="http://schemas.microsoft.com/office/drawing/2014/main" id="{974C2050-B0B1-87D9-B46E-90ABDEC74799}"/>
              </a:ext>
            </a:extLst>
          </p:cNvPr>
          <p:cNvSpPr>
            <a:spLocks noGrp="1"/>
          </p:cNvSpPr>
          <p:nvPr>
            <p:ph type="body" sz="quarter" idx="14" hasCustomPrompt="1"/>
          </p:nvPr>
        </p:nvSpPr>
        <p:spPr>
          <a:xfrm>
            <a:off x="883673" y="2852739"/>
            <a:ext cx="4214944" cy="3303586"/>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latin typeface="+mj-lt"/>
                <a:cs typeface="Al Bayan Plain" pitchFamily="2" charset="-78"/>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tekst</a:t>
            </a:r>
          </a:p>
          <a:p>
            <a:pPr lvl="1"/>
            <a:r>
              <a:rPr lang="da-DK"/>
              <a:t>Second </a:t>
            </a:r>
            <a:r>
              <a:rPr lang="da-DK" err="1"/>
              <a:t>level</a:t>
            </a:r>
            <a:endParaRPr lang="da-DK"/>
          </a:p>
        </p:txBody>
      </p:sp>
      <p:sp>
        <p:nvSpPr>
          <p:cNvPr id="6" name="Text Placeholder 12">
            <a:extLst>
              <a:ext uri="{FF2B5EF4-FFF2-40B4-BE49-F238E27FC236}">
                <a16:creationId xmlns:a16="http://schemas.microsoft.com/office/drawing/2014/main" id="{2B4B651F-E605-0751-7599-A38373E22B1D}"/>
              </a:ext>
            </a:extLst>
          </p:cNvPr>
          <p:cNvSpPr>
            <a:spLocks noGrp="1"/>
          </p:cNvSpPr>
          <p:nvPr>
            <p:ph type="body" sz="quarter" idx="15" hasCustomPrompt="1"/>
          </p:nvPr>
        </p:nvSpPr>
        <p:spPr>
          <a:xfrm>
            <a:off x="7011092" y="2852739"/>
            <a:ext cx="4214944" cy="3303586"/>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latin typeface="+mj-lt"/>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tekst</a:t>
            </a:r>
          </a:p>
          <a:p>
            <a:pPr lvl="1"/>
            <a:r>
              <a:rPr lang="da-DK"/>
              <a:t>Second </a:t>
            </a:r>
            <a:r>
              <a:rPr lang="da-DK" err="1"/>
              <a:t>level</a:t>
            </a:r>
            <a:endParaRPr lang="da-DK"/>
          </a:p>
        </p:txBody>
      </p:sp>
      <p:sp>
        <p:nvSpPr>
          <p:cNvPr id="9" name="Text Placeholder 5">
            <a:extLst>
              <a:ext uri="{FF2B5EF4-FFF2-40B4-BE49-F238E27FC236}">
                <a16:creationId xmlns:a16="http://schemas.microsoft.com/office/drawing/2014/main" id="{B6582A99-4B9D-CD4D-32BF-C5F1C66AD7EC}"/>
              </a:ext>
            </a:extLst>
          </p:cNvPr>
          <p:cNvSpPr>
            <a:spLocks noGrp="1"/>
          </p:cNvSpPr>
          <p:nvPr>
            <p:ph type="body" sz="quarter" idx="16" hasCustomPrompt="1"/>
          </p:nvPr>
        </p:nvSpPr>
        <p:spPr>
          <a:xfrm>
            <a:off x="7003054" y="1196976"/>
            <a:ext cx="4222982" cy="1547812"/>
          </a:xfrm>
        </p:spPr>
        <p:txBody>
          <a:bodyPr anchor="b" anchorCtr="0"/>
          <a:lstStyle>
            <a:lvl1pPr marL="0" indent="0" algn="l">
              <a:lnSpc>
                <a:spcPts val="4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overskrift</a:t>
            </a:r>
          </a:p>
        </p:txBody>
      </p:sp>
      <p:sp>
        <p:nvSpPr>
          <p:cNvPr id="2" name="Pladsholder til slidenummer 36">
            <a:extLst>
              <a:ext uri="{FF2B5EF4-FFF2-40B4-BE49-F238E27FC236}">
                <a16:creationId xmlns:a16="http://schemas.microsoft.com/office/drawing/2014/main" id="{32CED4D1-9FA4-A0F1-1519-10FC9418240F}"/>
              </a:ext>
            </a:extLst>
          </p:cNvPr>
          <p:cNvSpPr>
            <a:spLocks noGrp="1"/>
          </p:cNvSpPr>
          <p:nvPr>
            <p:ph type="sldNum" sz="quarter" idx="4"/>
          </p:nvPr>
        </p:nvSpPr>
        <p:spPr>
          <a:xfrm>
            <a:off x="316423" y="6529635"/>
            <a:ext cx="2743200" cy="221431"/>
          </a:xfrm>
          <a:prstGeom prst="rect">
            <a:avLst/>
          </a:prstGeom>
        </p:spPr>
        <p:txBody>
          <a:bodyPr vert="horz" lIns="91440" tIns="45720" rIns="91440" bIns="45720" rtlCol="0" anchor="ctr"/>
          <a:lstStyle>
            <a:lvl1pPr algn="l">
              <a:defRPr sz="1000" b="0" i="0">
                <a:solidFill>
                  <a:schemeClr val="bg1"/>
                </a:solidFill>
                <a:latin typeface="Calibri Light" panose="020F0302020204030204" pitchFamily="34" charset="0"/>
                <a:cs typeface="Calibri Light" panose="020F0302020204030204" pitchFamily="34" charset="0"/>
              </a:defRPr>
            </a:lvl1pPr>
          </a:lstStyle>
          <a:p>
            <a:fld id="{F2D73B7F-08C4-6046-88E9-62138AE0454A}" type="slidenum">
              <a:rPr lang="da-DK" smtClean="0"/>
              <a:pPr/>
              <a:t>‹#›</a:t>
            </a:fld>
            <a:endParaRPr lang="da-DK"/>
          </a:p>
        </p:txBody>
      </p:sp>
      <p:sp>
        <p:nvSpPr>
          <p:cNvPr id="8" name="Pladsholder til sidefod 37">
            <a:extLst>
              <a:ext uri="{FF2B5EF4-FFF2-40B4-BE49-F238E27FC236}">
                <a16:creationId xmlns:a16="http://schemas.microsoft.com/office/drawing/2014/main" id="{DD20EB71-6C9A-A3EF-C3EA-7C0EF489E423}"/>
              </a:ext>
            </a:extLst>
          </p:cNvPr>
          <p:cNvSpPr>
            <a:spLocks noGrp="1"/>
          </p:cNvSpPr>
          <p:nvPr>
            <p:ph type="ftr" sz="quarter" idx="3"/>
          </p:nvPr>
        </p:nvSpPr>
        <p:spPr>
          <a:xfrm>
            <a:off x="9560642" y="6687795"/>
            <a:ext cx="1542531" cy="104104"/>
          </a:xfrm>
          <a:prstGeom prst="rect">
            <a:avLst/>
          </a:prstGeom>
        </p:spPr>
        <p:txBody>
          <a:bodyPr vert="horz" lIns="91440" tIns="45720" rIns="91440" bIns="45720" rtlCol="0" anchor="ctr"/>
          <a:lstStyle>
            <a:lvl1pPr algn="r">
              <a:defRPr sz="700" b="0" i="0">
                <a:solidFill>
                  <a:schemeClr val="accent6">
                    <a:lumMod val="60000"/>
                    <a:lumOff val="40000"/>
                  </a:schemeClr>
                </a:solidFill>
                <a:latin typeface="Calibri Light" panose="020F0302020204030204" pitchFamily="34" charset="0"/>
                <a:cs typeface="Calibri Light" panose="020F0302020204030204" pitchFamily="34" charset="0"/>
              </a:defRPr>
            </a:lvl1pPr>
          </a:lstStyle>
          <a:p>
            <a:r>
              <a:rPr lang="da-DK"/>
              <a:t>Dok. </a:t>
            </a:r>
            <a:r>
              <a:rPr lang="da-DK" err="1"/>
              <a:t>nr</a:t>
            </a:r>
            <a:endParaRPr lang="da-DK"/>
          </a:p>
        </p:txBody>
      </p:sp>
    </p:spTree>
    <p:extLst>
      <p:ext uri="{BB962C8B-B14F-4D97-AF65-F5344CB8AC3E}">
        <p14:creationId xmlns:p14="http://schemas.microsoft.com/office/powerpoint/2010/main" val="34732337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fakta + overskrift">
    <p:spTree>
      <p:nvGrpSpPr>
        <p:cNvPr id="1" name=""/>
        <p:cNvGrpSpPr/>
        <p:nvPr/>
      </p:nvGrpSpPr>
      <p:grpSpPr>
        <a:xfrm>
          <a:off x="0" y="0"/>
          <a:ext cx="0" cy="0"/>
          <a:chOff x="0" y="0"/>
          <a:chExt cx="0" cy="0"/>
        </a:xfrm>
      </p:grpSpPr>
      <p:pic>
        <p:nvPicPr>
          <p:cNvPr id="13" name="Billede 12" descr="Et billede, der indeholder kunst&#10;&#10;Automatisk genereret beskrivelse">
            <a:extLst>
              <a:ext uri="{FF2B5EF4-FFF2-40B4-BE49-F238E27FC236}">
                <a16:creationId xmlns:a16="http://schemas.microsoft.com/office/drawing/2014/main" id="{A5500233-41E4-0622-CF81-D143E181E23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16142" b="-4831"/>
          <a:stretch/>
        </p:blipFill>
        <p:spPr>
          <a:xfrm>
            <a:off x="0" y="-1"/>
            <a:ext cx="6282967" cy="5511691"/>
          </a:xfrm>
          <a:prstGeom prst="rect">
            <a:avLst/>
          </a:prstGeom>
        </p:spPr>
      </p:pic>
      <p:sp>
        <p:nvSpPr>
          <p:cNvPr id="24" name="Forbindelse til en anden diagramside 23">
            <a:extLst>
              <a:ext uri="{FF2B5EF4-FFF2-40B4-BE49-F238E27FC236}">
                <a16:creationId xmlns:a16="http://schemas.microsoft.com/office/drawing/2014/main" id="{DF153362-AD9B-CF6F-8675-2F12EBACC37C}"/>
              </a:ext>
            </a:extLst>
          </p:cNvPr>
          <p:cNvSpPr/>
          <p:nvPr userDrawn="1"/>
        </p:nvSpPr>
        <p:spPr>
          <a:xfrm>
            <a:off x="982662" y="2209801"/>
            <a:ext cx="3248251" cy="4375324"/>
          </a:xfrm>
          <a:prstGeom prst="flowChartOffpageConnector">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7" name="Forbindelse til en anden diagramside 26">
            <a:extLst>
              <a:ext uri="{FF2B5EF4-FFF2-40B4-BE49-F238E27FC236}">
                <a16:creationId xmlns:a16="http://schemas.microsoft.com/office/drawing/2014/main" id="{054EC643-F00B-EE41-9BEA-5AE7964C7213}"/>
              </a:ext>
            </a:extLst>
          </p:cNvPr>
          <p:cNvSpPr/>
          <p:nvPr userDrawn="1"/>
        </p:nvSpPr>
        <p:spPr>
          <a:xfrm>
            <a:off x="4492780" y="2209801"/>
            <a:ext cx="3248251" cy="4375324"/>
          </a:xfrm>
          <a:prstGeom prst="flowChartOffpageConnector">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8" name="Forbindelse til en anden diagramside 27">
            <a:extLst>
              <a:ext uri="{FF2B5EF4-FFF2-40B4-BE49-F238E27FC236}">
                <a16:creationId xmlns:a16="http://schemas.microsoft.com/office/drawing/2014/main" id="{8348B853-07FD-642D-3C35-9013F99E1281}"/>
              </a:ext>
            </a:extLst>
          </p:cNvPr>
          <p:cNvSpPr/>
          <p:nvPr userDrawn="1"/>
        </p:nvSpPr>
        <p:spPr>
          <a:xfrm>
            <a:off x="7988151" y="2209801"/>
            <a:ext cx="3248251" cy="4375324"/>
          </a:xfrm>
          <a:prstGeom prst="flowChartOffpageConnector">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7" name="Logo">
            <a:extLst>
              <a:ext uri="{FF2B5EF4-FFF2-40B4-BE49-F238E27FC236}">
                <a16:creationId xmlns:a16="http://schemas.microsoft.com/office/drawing/2014/main" id="{BEB74C8C-E7D2-AF86-4783-866546B8EC7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86558" y="364150"/>
            <a:ext cx="1433231" cy="173615"/>
          </a:xfrm>
          <a:prstGeom prst="rect">
            <a:avLst/>
          </a:prstGeom>
        </p:spPr>
      </p:pic>
      <p:sp>
        <p:nvSpPr>
          <p:cNvPr id="8" name="Titel 7">
            <a:extLst>
              <a:ext uri="{FF2B5EF4-FFF2-40B4-BE49-F238E27FC236}">
                <a16:creationId xmlns:a16="http://schemas.microsoft.com/office/drawing/2014/main" id="{6F1D8F3F-CEFD-1900-2404-0D36A5585AF8}"/>
              </a:ext>
            </a:extLst>
          </p:cNvPr>
          <p:cNvSpPr>
            <a:spLocks noGrp="1"/>
          </p:cNvSpPr>
          <p:nvPr>
            <p:ph type="title" hasCustomPrompt="1"/>
          </p:nvPr>
        </p:nvSpPr>
        <p:spPr>
          <a:xfrm>
            <a:off x="982561" y="1289860"/>
            <a:ext cx="9016845" cy="652011"/>
          </a:xfrm>
        </p:spPr>
        <p:txBody>
          <a:bodyPr/>
          <a:lstStyle>
            <a:lvl1pPr>
              <a:lnSpc>
                <a:spcPts val="4000"/>
              </a:lnSpc>
              <a:defRPr sz="4000">
                <a:solidFill>
                  <a:schemeClr val="accent1"/>
                </a:solidFill>
              </a:defRPr>
            </a:lvl1pPr>
          </a:lstStyle>
          <a:p>
            <a:r>
              <a:rPr lang="da-DK"/>
              <a:t>Indsæt overskrift</a:t>
            </a:r>
          </a:p>
        </p:txBody>
      </p:sp>
      <p:sp>
        <p:nvSpPr>
          <p:cNvPr id="9" name="Pladsholder til tekst 8">
            <a:extLst>
              <a:ext uri="{FF2B5EF4-FFF2-40B4-BE49-F238E27FC236}">
                <a16:creationId xmlns:a16="http://schemas.microsoft.com/office/drawing/2014/main" id="{2B7B6C0B-5DDB-3DA6-AB4F-D7DEFB96E46F}"/>
              </a:ext>
            </a:extLst>
          </p:cNvPr>
          <p:cNvSpPr>
            <a:spLocks noGrp="1"/>
          </p:cNvSpPr>
          <p:nvPr>
            <p:ph type="body" sz="quarter" idx="39" hasCustomPrompt="1"/>
          </p:nvPr>
        </p:nvSpPr>
        <p:spPr>
          <a:xfrm>
            <a:off x="1252877" y="3533286"/>
            <a:ext cx="2740195" cy="1961151"/>
          </a:xfrm>
        </p:spPr>
        <p:txBody>
          <a:bodyPr/>
          <a:lstStyle>
            <a:lvl1pPr algn="ctr">
              <a:lnSpc>
                <a:spcPts val="2200"/>
              </a:lnSpc>
              <a:spcBef>
                <a:spcPts val="0"/>
              </a:spcBef>
              <a:defRPr>
                <a:solidFill>
                  <a:schemeClr val="bg1"/>
                </a:solidFill>
              </a:defRPr>
            </a:lvl1pPr>
          </a:lstStyle>
          <a:p>
            <a:pPr lvl="0"/>
            <a:r>
              <a:rPr lang="da-DK"/>
              <a:t>Indsæt tekst</a:t>
            </a:r>
          </a:p>
        </p:txBody>
      </p:sp>
      <p:sp>
        <p:nvSpPr>
          <p:cNvPr id="10" name="Pladsholder til tekst 8">
            <a:extLst>
              <a:ext uri="{FF2B5EF4-FFF2-40B4-BE49-F238E27FC236}">
                <a16:creationId xmlns:a16="http://schemas.microsoft.com/office/drawing/2014/main" id="{A87ED316-3967-9D82-0848-E2B12E4E87B7}"/>
              </a:ext>
            </a:extLst>
          </p:cNvPr>
          <p:cNvSpPr>
            <a:spLocks noGrp="1"/>
          </p:cNvSpPr>
          <p:nvPr>
            <p:ph type="body" sz="quarter" idx="40" hasCustomPrompt="1"/>
          </p:nvPr>
        </p:nvSpPr>
        <p:spPr>
          <a:xfrm>
            <a:off x="4767624" y="3533286"/>
            <a:ext cx="2740195" cy="1961151"/>
          </a:xfrm>
        </p:spPr>
        <p:txBody>
          <a:bodyPr/>
          <a:lstStyle>
            <a:lvl1pPr algn="ctr">
              <a:lnSpc>
                <a:spcPts val="2200"/>
              </a:lnSpc>
              <a:spcBef>
                <a:spcPts val="0"/>
              </a:spcBef>
              <a:defRPr>
                <a:solidFill>
                  <a:schemeClr val="bg1"/>
                </a:solidFill>
              </a:defRPr>
            </a:lvl1pPr>
          </a:lstStyle>
          <a:p>
            <a:pPr lvl="0"/>
            <a:r>
              <a:rPr lang="da-DK"/>
              <a:t>Indsæt tekst</a:t>
            </a:r>
          </a:p>
        </p:txBody>
      </p:sp>
      <p:sp>
        <p:nvSpPr>
          <p:cNvPr id="11" name="Pladsholder til tekst 8">
            <a:extLst>
              <a:ext uri="{FF2B5EF4-FFF2-40B4-BE49-F238E27FC236}">
                <a16:creationId xmlns:a16="http://schemas.microsoft.com/office/drawing/2014/main" id="{F14487FD-1E28-BA5C-93DE-11F8BD6C32CE}"/>
              </a:ext>
            </a:extLst>
          </p:cNvPr>
          <p:cNvSpPr>
            <a:spLocks noGrp="1"/>
          </p:cNvSpPr>
          <p:nvPr>
            <p:ph type="body" sz="quarter" idx="41" hasCustomPrompt="1"/>
          </p:nvPr>
        </p:nvSpPr>
        <p:spPr>
          <a:xfrm>
            <a:off x="8262671" y="3533286"/>
            <a:ext cx="2740195" cy="1961151"/>
          </a:xfrm>
        </p:spPr>
        <p:txBody>
          <a:bodyPr/>
          <a:lstStyle>
            <a:lvl1pPr algn="ctr">
              <a:lnSpc>
                <a:spcPts val="2200"/>
              </a:lnSpc>
              <a:spcBef>
                <a:spcPts val="0"/>
              </a:spcBef>
              <a:defRPr>
                <a:solidFill>
                  <a:schemeClr val="bg1"/>
                </a:solidFill>
              </a:defRPr>
            </a:lvl1pPr>
          </a:lstStyle>
          <a:p>
            <a:pPr lvl="0"/>
            <a:r>
              <a:rPr lang="da-DK"/>
              <a:t>Indsæt tekst</a:t>
            </a:r>
          </a:p>
        </p:txBody>
      </p:sp>
      <p:sp>
        <p:nvSpPr>
          <p:cNvPr id="22" name="Pladsholder til tekst 13">
            <a:extLst>
              <a:ext uri="{FF2B5EF4-FFF2-40B4-BE49-F238E27FC236}">
                <a16:creationId xmlns:a16="http://schemas.microsoft.com/office/drawing/2014/main" id="{82B1FB80-FB33-9FC5-F313-A7A05CAE9208}"/>
              </a:ext>
            </a:extLst>
          </p:cNvPr>
          <p:cNvSpPr>
            <a:spLocks noGrp="1"/>
          </p:cNvSpPr>
          <p:nvPr>
            <p:ph type="body" sz="quarter" idx="13" hasCustomPrompt="1"/>
          </p:nvPr>
        </p:nvSpPr>
        <p:spPr>
          <a:xfrm>
            <a:off x="8262671" y="2801634"/>
            <a:ext cx="2740195" cy="714332"/>
          </a:xfrm>
        </p:spPr>
        <p:txBody>
          <a:bodyPr anchor="b">
            <a:noAutofit/>
          </a:bodyPr>
          <a:lstStyle>
            <a:lvl1pPr algn="ctr">
              <a:lnSpc>
                <a:spcPts val="2500"/>
              </a:lnSpc>
              <a:defRPr lang="da-DK" sz="2500" b="0" i="0" kern="1200" cap="all" baseline="0" dirty="0">
                <a:solidFill>
                  <a:schemeClr val="bg1"/>
                </a:solidFill>
                <a:latin typeface="Calibri Light" panose="020F0302020204030204" pitchFamily="34" charset="0"/>
                <a:ea typeface="+mj-ea"/>
                <a:cs typeface="Calibri Light" panose="020F0302020204030204" pitchFamily="34" charset="0"/>
              </a:defRPr>
            </a:lvl1pPr>
          </a:lstStyle>
          <a:p>
            <a:pPr lvl="0"/>
            <a:r>
              <a:rPr lang="da-DK"/>
              <a:t>Indsæt overskrift</a:t>
            </a:r>
          </a:p>
        </p:txBody>
      </p:sp>
      <p:sp>
        <p:nvSpPr>
          <p:cNvPr id="25" name="Pladsholder til tekst 13">
            <a:extLst>
              <a:ext uri="{FF2B5EF4-FFF2-40B4-BE49-F238E27FC236}">
                <a16:creationId xmlns:a16="http://schemas.microsoft.com/office/drawing/2014/main" id="{045AB6EA-08DD-B6A2-AB10-8B17678095E6}"/>
              </a:ext>
            </a:extLst>
          </p:cNvPr>
          <p:cNvSpPr>
            <a:spLocks noGrp="1"/>
          </p:cNvSpPr>
          <p:nvPr>
            <p:ph type="body" sz="quarter" idx="37" hasCustomPrompt="1"/>
          </p:nvPr>
        </p:nvSpPr>
        <p:spPr>
          <a:xfrm>
            <a:off x="1253384" y="2801634"/>
            <a:ext cx="2740195" cy="714332"/>
          </a:xfrm>
        </p:spPr>
        <p:txBody>
          <a:bodyPr anchor="b">
            <a:noAutofit/>
          </a:bodyPr>
          <a:lstStyle>
            <a:lvl1pPr algn="ctr">
              <a:lnSpc>
                <a:spcPts val="2500"/>
              </a:lnSpc>
              <a:defRPr lang="da-DK" sz="2500" b="0" i="0" kern="1200" cap="all" baseline="0" dirty="0">
                <a:solidFill>
                  <a:schemeClr val="bg1"/>
                </a:solidFill>
                <a:latin typeface="Calibri Light" panose="020F0302020204030204" pitchFamily="34" charset="0"/>
                <a:ea typeface="+mj-ea"/>
                <a:cs typeface="Calibri Light" panose="020F0302020204030204" pitchFamily="34" charset="0"/>
              </a:defRPr>
            </a:lvl1pPr>
          </a:lstStyle>
          <a:p>
            <a:pPr lvl="0"/>
            <a:r>
              <a:rPr lang="da-DK"/>
              <a:t>Indsæt overskrift</a:t>
            </a:r>
          </a:p>
        </p:txBody>
      </p:sp>
      <p:sp>
        <p:nvSpPr>
          <p:cNvPr id="26" name="Pladsholder til tekst 13">
            <a:extLst>
              <a:ext uri="{FF2B5EF4-FFF2-40B4-BE49-F238E27FC236}">
                <a16:creationId xmlns:a16="http://schemas.microsoft.com/office/drawing/2014/main" id="{3A911995-3407-F03F-49CC-DBBCA8AEAC90}"/>
              </a:ext>
            </a:extLst>
          </p:cNvPr>
          <p:cNvSpPr>
            <a:spLocks noGrp="1"/>
          </p:cNvSpPr>
          <p:nvPr>
            <p:ph type="body" sz="quarter" idx="38" hasCustomPrompt="1"/>
          </p:nvPr>
        </p:nvSpPr>
        <p:spPr>
          <a:xfrm>
            <a:off x="4768130" y="2801634"/>
            <a:ext cx="2740195" cy="714332"/>
          </a:xfrm>
        </p:spPr>
        <p:txBody>
          <a:bodyPr anchor="b">
            <a:noAutofit/>
          </a:bodyPr>
          <a:lstStyle>
            <a:lvl1pPr algn="ctr">
              <a:lnSpc>
                <a:spcPts val="2500"/>
              </a:lnSpc>
              <a:defRPr lang="da-DK" sz="2500" b="0" i="0" kern="1200" cap="all" baseline="0" dirty="0">
                <a:solidFill>
                  <a:schemeClr val="bg1"/>
                </a:solidFill>
                <a:latin typeface="Calibri Light" panose="020F0302020204030204" pitchFamily="34" charset="0"/>
                <a:ea typeface="+mj-ea"/>
                <a:cs typeface="Calibri Light" panose="020F0302020204030204" pitchFamily="34" charset="0"/>
              </a:defRPr>
            </a:lvl1pPr>
          </a:lstStyle>
          <a:p>
            <a:pPr lvl="0"/>
            <a:r>
              <a:rPr lang="da-DK"/>
              <a:t>Indsæt overskrift</a:t>
            </a:r>
          </a:p>
        </p:txBody>
      </p:sp>
      <p:sp>
        <p:nvSpPr>
          <p:cNvPr id="2" name="Pladsholder til slidenummer 36">
            <a:extLst>
              <a:ext uri="{FF2B5EF4-FFF2-40B4-BE49-F238E27FC236}">
                <a16:creationId xmlns:a16="http://schemas.microsoft.com/office/drawing/2014/main" id="{469EA179-7E2B-33C8-1A0D-0B6C64A4D023}"/>
              </a:ext>
            </a:extLst>
          </p:cNvPr>
          <p:cNvSpPr>
            <a:spLocks noGrp="1"/>
          </p:cNvSpPr>
          <p:nvPr>
            <p:ph type="sldNum" sz="quarter" idx="4"/>
          </p:nvPr>
        </p:nvSpPr>
        <p:spPr>
          <a:xfrm>
            <a:off x="316423" y="6529635"/>
            <a:ext cx="2743200" cy="221431"/>
          </a:xfrm>
          <a:prstGeom prst="rect">
            <a:avLst/>
          </a:prstGeom>
        </p:spPr>
        <p:txBody>
          <a:bodyPr vert="horz" lIns="91440" tIns="45720" rIns="91440" bIns="45720" rtlCol="0" anchor="ctr"/>
          <a:lstStyle>
            <a:lvl1pPr algn="l">
              <a:defRPr sz="1000" b="0" i="0">
                <a:solidFill>
                  <a:schemeClr val="accent1"/>
                </a:solidFill>
                <a:latin typeface="Calibri Light" panose="020F0302020204030204" pitchFamily="34" charset="0"/>
                <a:cs typeface="Calibri Light" panose="020F0302020204030204" pitchFamily="34" charset="0"/>
              </a:defRPr>
            </a:lvl1pPr>
          </a:lstStyle>
          <a:p>
            <a:fld id="{F2D73B7F-08C4-6046-88E9-62138AE0454A}" type="slidenum">
              <a:rPr lang="da-DK" smtClean="0"/>
              <a:pPr/>
              <a:t>‹#›</a:t>
            </a:fld>
            <a:endParaRPr lang="da-DK"/>
          </a:p>
        </p:txBody>
      </p:sp>
      <p:sp>
        <p:nvSpPr>
          <p:cNvPr id="3" name="Pladsholder til sidefod 37">
            <a:extLst>
              <a:ext uri="{FF2B5EF4-FFF2-40B4-BE49-F238E27FC236}">
                <a16:creationId xmlns:a16="http://schemas.microsoft.com/office/drawing/2014/main" id="{71391928-B940-364A-94C8-55C1939715D1}"/>
              </a:ext>
            </a:extLst>
          </p:cNvPr>
          <p:cNvSpPr>
            <a:spLocks noGrp="1"/>
          </p:cNvSpPr>
          <p:nvPr>
            <p:ph type="ftr" sz="quarter" idx="3"/>
          </p:nvPr>
        </p:nvSpPr>
        <p:spPr>
          <a:xfrm>
            <a:off x="9560642" y="6687795"/>
            <a:ext cx="1542531" cy="104104"/>
          </a:xfrm>
          <a:prstGeom prst="rect">
            <a:avLst/>
          </a:prstGeom>
        </p:spPr>
        <p:txBody>
          <a:bodyPr vert="horz" lIns="91440" tIns="45720" rIns="91440" bIns="45720" rtlCol="0" anchor="ctr"/>
          <a:lstStyle>
            <a:lvl1pPr algn="r">
              <a:defRPr sz="700" b="0" i="0">
                <a:solidFill>
                  <a:schemeClr val="accent6">
                    <a:lumMod val="60000"/>
                    <a:lumOff val="40000"/>
                  </a:schemeClr>
                </a:solidFill>
                <a:latin typeface="Calibri Light" panose="020F0302020204030204" pitchFamily="34" charset="0"/>
                <a:cs typeface="Calibri Light" panose="020F0302020204030204" pitchFamily="34" charset="0"/>
              </a:defRPr>
            </a:lvl1pPr>
          </a:lstStyle>
          <a:p>
            <a:r>
              <a:rPr lang="da-DK"/>
              <a:t>Dok. </a:t>
            </a:r>
            <a:r>
              <a:rPr lang="da-DK" err="1"/>
              <a:t>nr</a:t>
            </a:r>
            <a:endParaRPr lang="da-DK"/>
          </a:p>
        </p:txBody>
      </p:sp>
    </p:spTree>
    <p:extLst>
      <p:ext uri="{BB962C8B-B14F-4D97-AF65-F5344CB8AC3E}">
        <p14:creationId xmlns:p14="http://schemas.microsoft.com/office/powerpoint/2010/main" val="27716280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a_Content with normal text">
    <p:spTree>
      <p:nvGrpSpPr>
        <p:cNvPr id="1" name=""/>
        <p:cNvGrpSpPr/>
        <p:nvPr/>
      </p:nvGrpSpPr>
      <p:grpSpPr>
        <a:xfrm>
          <a:off x="0" y="0"/>
          <a:ext cx="0" cy="0"/>
          <a:chOff x="0" y="0"/>
          <a:chExt cx="0" cy="0"/>
        </a:xfrm>
      </p:grpSpPr>
      <p:sp>
        <p:nvSpPr>
          <p:cNvPr id="8" name="Fußzeilenplatzhalter 46"/>
          <p:cNvSpPr>
            <a:spLocks noGrp="1"/>
          </p:cNvSpPr>
          <p:nvPr>
            <p:ph type="ftr" sz="quarter" idx="3"/>
          </p:nvPr>
        </p:nvSpPr>
        <p:spPr>
          <a:xfrm>
            <a:off x="9296400" y="6282000"/>
            <a:ext cx="2006600" cy="196850"/>
          </a:xfrm>
          <a:prstGeom prst="rect">
            <a:avLst/>
          </a:prstGeom>
        </p:spPr>
        <p:txBody>
          <a:bodyPr vert="horz" wrap="none" lIns="0" tIns="45720" rIns="0" bIns="0" rtlCol="0" anchor="ctr"/>
          <a:lstStyle>
            <a:lvl1pPr algn="r">
              <a:defRPr sz="900">
                <a:solidFill>
                  <a:srgbClr val="364D54"/>
                </a:solidFill>
                <a:latin typeface="Arial"/>
                <a:cs typeface="Arial"/>
              </a:defRPr>
            </a:lvl1pPr>
          </a:lstStyle>
          <a:p>
            <a:endParaRPr lang="en-GB"/>
          </a:p>
        </p:txBody>
      </p:sp>
      <p:sp>
        <p:nvSpPr>
          <p:cNvPr id="10" name="Titelplatzhalter 10"/>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6"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 name="Text Placeholder 2">
            <a:extLst>
              <a:ext uri="{FF2B5EF4-FFF2-40B4-BE49-F238E27FC236}">
                <a16:creationId xmlns:a16="http://schemas.microsoft.com/office/drawing/2014/main" id="{1F606C2D-766B-468F-9DD8-8746F30BC1C2}"/>
              </a:ext>
            </a:extLst>
          </p:cNvPr>
          <p:cNvSpPr>
            <a:spLocks noGrp="1"/>
          </p:cNvSpPr>
          <p:nvPr>
            <p:ph type="body" sz="quarter" idx="11" hasCustomPrompt="1"/>
          </p:nvPr>
        </p:nvSpPr>
        <p:spPr>
          <a:xfrm>
            <a:off x="914400" y="1952600"/>
            <a:ext cx="9790112" cy="3636000"/>
          </a:xfrm>
          <a:prstGeom prst="rect">
            <a:avLst/>
          </a:prstGeom>
        </p:spPr>
        <p:txBody>
          <a:bodyPr/>
          <a:lstStyle>
            <a:lvl1pPr marL="0" marR="508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sz="1600">
                <a:solidFill>
                  <a:schemeClr val="accent2"/>
                </a:solidFill>
                <a:latin typeface="Arial" panose="020B0604020202020204" pitchFamily="34" charset="0"/>
                <a:cs typeface="Arial" panose="020B0604020202020204" pitchFamily="34" charset="0"/>
              </a:defRPr>
            </a:lvl1pPr>
            <a:lvl2pPr marL="721350" indent="0">
              <a:lnSpc>
                <a:spcPts val="1500"/>
              </a:lnSpc>
              <a:spcBef>
                <a:spcPts val="1000"/>
              </a:spcBef>
              <a:buClr>
                <a:srgbClr val="FF7300"/>
              </a:buClr>
              <a:buFont typeface="Arial" panose="020B0604020202020204" pitchFamily="34" charset="0"/>
              <a:buNone/>
              <a:defRPr sz="1400">
                <a:solidFill>
                  <a:schemeClr val="tx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 This text is only meant to serve as a kind of place marker, which will later be replaced by the finished text.</a:t>
            </a:r>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lvl="0"/>
            <a:endParaRPr lang="de-DE"/>
          </a:p>
        </p:txBody>
      </p:sp>
    </p:spTree>
    <p:extLst>
      <p:ext uri="{BB962C8B-B14F-4D97-AF65-F5344CB8AC3E}">
        <p14:creationId xmlns:p14="http://schemas.microsoft.com/office/powerpoint/2010/main" val="1475418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ENTSO-E Chapter Cover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356FE32-556F-9E69-DDD7-809D33EAD086}"/>
              </a:ext>
            </a:extLst>
          </p:cNvPr>
          <p:cNvGraphicFramePr>
            <a:graphicFrameLocks noChangeAspect="1"/>
          </p:cNvGraphicFramePr>
          <p:nvPr userDrawn="1">
            <p:custDataLst>
              <p:tags r:id="rId1"/>
            </p:custDataLst>
            <p:extLst>
              <p:ext uri="{D42A27DB-BD31-4B8C-83A1-F6EECF244321}">
                <p14:modId xmlns:p14="http://schemas.microsoft.com/office/powerpoint/2010/main" val="42357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5356FE32-556F-9E69-DDD7-809D33EAD0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rtl="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en-IE"/>
              <a:t>Click here to edi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sz="180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rtl="0">
              <a:defRPr sz="1800" b="1">
                <a:solidFill>
                  <a:srgbClr val="0F218B"/>
                </a:solidFill>
                <a:latin typeface="Calibri" panose="020F0502020204030204" pitchFamily="34" charset="0"/>
                <a:cs typeface="Calibri" panose="020F0502020204030204" pitchFamily="34" charset="0"/>
              </a:defRPr>
            </a:lvl1pPr>
          </a:lstStyle>
          <a:p>
            <a:pPr lvl="0"/>
            <a:r>
              <a:rPr lang="en-IE"/>
              <a:t>Headline 3</a:t>
            </a:r>
          </a:p>
        </p:txBody>
      </p:sp>
    </p:spTree>
    <p:extLst>
      <p:ext uri="{BB962C8B-B14F-4D97-AF65-F5344CB8AC3E}">
        <p14:creationId xmlns:p14="http://schemas.microsoft.com/office/powerpoint/2010/main" val="1057429081"/>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ENTSO-E Chapter Cover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2E80EE-ABB2-F7DD-4DF8-94687548D870}"/>
              </a:ext>
            </a:extLst>
          </p:cNvPr>
          <p:cNvGraphicFramePr>
            <a:graphicFrameLocks noChangeAspect="1"/>
          </p:cNvGraphicFramePr>
          <p:nvPr userDrawn="1">
            <p:custDataLst>
              <p:tags r:id="rId1"/>
            </p:custDataLst>
            <p:extLst>
              <p:ext uri="{D42A27DB-BD31-4B8C-83A1-F6EECF244321}">
                <p14:modId xmlns:p14="http://schemas.microsoft.com/office/powerpoint/2010/main" val="3496982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432E80EE-ABB2-F7DD-4DF8-94687548D8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285639" y="3074577"/>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hapter slide</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54397" y="289281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sz="1800">
              <a:solidFill>
                <a:schemeClr val="accent2"/>
              </a:solidFill>
            </a:endParaRPr>
          </a:p>
        </p:txBody>
      </p:sp>
    </p:spTree>
    <p:extLst>
      <p:ext uri="{BB962C8B-B14F-4D97-AF65-F5344CB8AC3E}">
        <p14:creationId xmlns:p14="http://schemas.microsoft.com/office/powerpoint/2010/main" val="1170914514"/>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_ENTSO-E One Colum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BFAA75E-9A17-BE34-E7E1-35331586B25E}"/>
              </a:ext>
            </a:extLst>
          </p:cNvPr>
          <p:cNvGraphicFramePr>
            <a:graphicFrameLocks noChangeAspect="1"/>
          </p:cNvGraphicFramePr>
          <p:nvPr userDrawn="1">
            <p:custDataLst>
              <p:tags r:id="rId1"/>
            </p:custDataLst>
            <p:extLst>
              <p:ext uri="{D42A27DB-BD31-4B8C-83A1-F6EECF244321}">
                <p14:modId xmlns:p14="http://schemas.microsoft.com/office/powerpoint/2010/main" val="578213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ABFAA75E-9A17-BE34-E7E1-35331586B2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Inhaltsplatzhalter 2"/>
          <p:cNvSpPr>
            <a:spLocks noGrp="1"/>
          </p:cNvSpPr>
          <p:nvPr>
            <p:ph idx="1" hasCustomPrompt="1"/>
          </p:nvPr>
        </p:nvSpPr>
        <p:spPr>
          <a:xfrm>
            <a:off x="372538" y="908720"/>
            <a:ext cx="11616268" cy="3815866"/>
          </a:xfrm>
          <a:prstGeom prst="rect">
            <a:avLst/>
          </a:prstGeom>
        </p:spPr>
        <p:txBody>
          <a:bodyPr>
            <a:normAutofit/>
          </a:bodyPr>
          <a:lstStyle>
            <a:lvl1pPr rtl="0">
              <a:lnSpc>
                <a:spcPct val="90000"/>
              </a:lnSpc>
              <a:defRPr sz="1800">
                <a:latin typeface="Calibri" panose="020F0502020204030204" pitchFamily="34" charset="0"/>
                <a:cs typeface="Calibri" panose="020F0502020204030204" pitchFamily="34" charset="0"/>
              </a:defRPr>
            </a:lvl1pPr>
            <a:lvl2pPr rtl="0">
              <a:lnSpc>
                <a:spcPct val="90000"/>
              </a:lnSpc>
              <a:defRPr sz="1800">
                <a:latin typeface="Calibri" panose="020F0502020204030204" pitchFamily="34" charset="0"/>
                <a:cs typeface="Calibri" panose="020F0502020204030204" pitchFamily="34" charset="0"/>
              </a:defRPr>
            </a:lvl2pPr>
            <a:lvl3pPr rtl="0">
              <a:lnSpc>
                <a:spcPct val="90000"/>
              </a:lnSpc>
              <a:defRPr sz="1800">
                <a:latin typeface="Calibri" panose="020F0502020204030204" pitchFamily="34" charset="0"/>
                <a:cs typeface="Calibri" panose="020F0502020204030204" pitchFamily="34" charset="0"/>
              </a:defRPr>
            </a:lvl3pPr>
            <a:lvl4pPr rtl="0">
              <a:lnSpc>
                <a:spcPct val="90000"/>
              </a:lnSpc>
              <a:defRPr sz="1800">
                <a:latin typeface="Calibri" panose="020F0502020204030204" pitchFamily="34" charset="0"/>
                <a:cs typeface="Calibri" panose="020F0502020204030204" pitchFamily="34" charset="0"/>
              </a:defRPr>
            </a:lvl4pPr>
            <a:lvl5pPr rtl="0">
              <a:lnSpc>
                <a:spcPct val="90000"/>
              </a:lnSpc>
              <a:defRPr sz="1800">
                <a:latin typeface="Calibri" panose="020F0502020204030204" pitchFamily="34" charset="0"/>
                <a:cs typeface="Calibri" panose="020F0502020204030204" pitchFamily="34" charset="0"/>
              </a:defRPr>
            </a:lvl5pPr>
          </a:lstStyle>
          <a:p>
            <a:pPr lvl="0"/>
            <a:r>
              <a:rPr lang="en-IE"/>
              <a:t>Edit the text here; First level</a:t>
            </a:r>
          </a:p>
          <a:p>
            <a:pPr lvl="1"/>
            <a:r>
              <a:rPr lang="en-IE"/>
              <a:t>Second level</a:t>
            </a:r>
          </a:p>
          <a:p>
            <a:pPr lvl="2"/>
            <a:r>
              <a:rPr lang="en-IE"/>
              <a:t>Third level</a:t>
            </a:r>
          </a:p>
          <a:p>
            <a:pPr lvl="3"/>
            <a:r>
              <a:rPr lang="en-IE"/>
              <a:t>Fourth level</a:t>
            </a:r>
          </a:p>
          <a:p>
            <a:pPr lvl="4"/>
            <a:r>
              <a:rPr lang="en-IE"/>
              <a:t>Fifth level</a:t>
            </a:r>
          </a:p>
        </p:txBody>
      </p:sp>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Tree>
    <p:extLst>
      <p:ext uri="{BB962C8B-B14F-4D97-AF65-F5344CB8AC3E}">
        <p14:creationId xmlns:p14="http://schemas.microsoft.com/office/powerpoint/2010/main" val="1683605443"/>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_ENTSO-E One column bullet poin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1064C5-9A79-485F-F871-9F7F217DB593}"/>
              </a:ext>
            </a:extLst>
          </p:cNvPr>
          <p:cNvGraphicFramePr>
            <a:graphicFrameLocks noChangeAspect="1"/>
          </p:cNvGraphicFramePr>
          <p:nvPr userDrawn="1">
            <p:custDataLst>
              <p:tags r:id="rId1"/>
            </p:custDataLst>
            <p:extLst>
              <p:ext uri="{D42A27DB-BD31-4B8C-83A1-F6EECF244321}">
                <p14:modId xmlns:p14="http://schemas.microsoft.com/office/powerpoint/2010/main" val="1340094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D31064C5-9A79-485F-F871-9F7F217DB5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Inhaltsplatzhalter 2">
            <a:extLst>
              <a:ext uri="{FF2B5EF4-FFF2-40B4-BE49-F238E27FC236}">
                <a16:creationId xmlns:a16="http://schemas.microsoft.com/office/drawing/2014/main" id="{935407F8-9A7B-4A34-BB6A-ACBE6B64DA8C}"/>
              </a:ext>
            </a:extLst>
          </p:cNvPr>
          <p:cNvSpPr>
            <a:spLocks noGrp="1"/>
          </p:cNvSpPr>
          <p:nvPr>
            <p:ph idx="16" hasCustomPrompt="1"/>
          </p:nvPr>
        </p:nvSpPr>
        <p:spPr>
          <a:xfrm>
            <a:off x="413466" y="1124744"/>
            <a:ext cx="11616268"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800" kern="1200" dirty="0">
                <a:solidFill>
                  <a:schemeClr val="tx1"/>
                </a:solidFill>
                <a:latin typeface="Calibri" panose="020F0502020204030204" pitchFamily="34" charset="0"/>
                <a:ea typeface="+mn-ea"/>
                <a:cs typeface="Calibri" panose="020F0502020204030204" pitchFamily="34" charset="0"/>
              </a:defRPr>
            </a:lvl5pPr>
          </a:lstStyle>
          <a:p>
            <a:pPr lvl="0"/>
            <a:r>
              <a:rPr lang="en-IE"/>
              <a:t>Bullet points first level </a:t>
            </a:r>
          </a:p>
          <a:p>
            <a:pPr lvl="1"/>
            <a:r>
              <a:rPr lang="en-IE"/>
              <a:t>Second level </a:t>
            </a:r>
          </a:p>
          <a:p>
            <a:pPr lvl="2"/>
            <a:r>
              <a:rPr lang="en-IE"/>
              <a:t>Third level</a:t>
            </a:r>
          </a:p>
          <a:p>
            <a:pPr lvl="3"/>
            <a:r>
              <a:rPr lang="en-IE"/>
              <a:t>Fourth level</a:t>
            </a:r>
          </a:p>
          <a:p>
            <a:pPr lvl="4"/>
            <a:r>
              <a:rPr lang="en-IE"/>
              <a:t>Fifth level</a:t>
            </a:r>
          </a:p>
        </p:txBody>
      </p:sp>
      <p:sp>
        <p:nvSpPr>
          <p:cNvPr id="5" name="Titel 5">
            <a:extLst>
              <a:ext uri="{FF2B5EF4-FFF2-40B4-BE49-F238E27FC236}">
                <a16:creationId xmlns:a16="http://schemas.microsoft.com/office/drawing/2014/main" id="{9D00A475-8F1F-43A8-B9D4-0E2195454A9F}"/>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Tree>
    <p:extLst>
      <p:ext uri="{BB962C8B-B14F-4D97-AF65-F5344CB8AC3E}">
        <p14:creationId xmlns:p14="http://schemas.microsoft.com/office/powerpoint/2010/main" val="537625200"/>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orient="horz" pos="1480">
          <p15:clr>
            <a:srgbClr val="A4A3A4"/>
          </p15:clr>
        </p15:guide>
        <p15:guide id="6" orient="horz" pos="1548">
          <p15:clr>
            <a:srgbClr val="A4A3A4"/>
          </p15:clr>
        </p15:guide>
        <p15:guide id="9" pos="7499">
          <p15:clr>
            <a:srgbClr val="A4A3A4"/>
          </p15:clr>
        </p15:guide>
        <p15:guide id="10" pos="181">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7_ENTSO-E Two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EDB450-44A8-3439-C433-90C75342047A}"/>
              </a:ext>
            </a:extLst>
          </p:cNvPr>
          <p:cNvGraphicFramePr>
            <a:graphicFrameLocks noChangeAspect="1"/>
          </p:cNvGraphicFramePr>
          <p:nvPr userDrawn="1">
            <p:custDataLst>
              <p:tags r:id="rId1"/>
            </p:custDataLst>
            <p:extLst>
              <p:ext uri="{D42A27DB-BD31-4B8C-83A1-F6EECF244321}">
                <p14:modId xmlns:p14="http://schemas.microsoft.com/office/powerpoint/2010/main" val="3754975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06EDB450-44A8-3439-C433-90C7534204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Inhaltsplatzhalter 2"/>
          <p:cNvSpPr>
            <a:spLocks noGrp="1"/>
          </p:cNvSpPr>
          <p:nvPr>
            <p:ph idx="1" hasCustomPrompt="1"/>
          </p:nvPr>
        </p:nvSpPr>
        <p:spPr>
          <a:xfrm>
            <a:off x="382868" y="1052736"/>
            <a:ext cx="5664117" cy="3311810"/>
          </a:xfrm>
          <a:prstGeom prst="rect">
            <a:avLst/>
          </a:prstGeom>
        </p:spPr>
        <p:txBody>
          <a:bodyPr>
            <a:normAutofit/>
          </a:bodyPr>
          <a:lstStyle>
            <a:lvl1pPr algn="l" rtl="0">
              <a:defRPr sz="1800">
                <a:latin typeface="Calibri" panose="020F0502020204030204" pitchFamily="34" charset="0"/>
                <a:cs typeface="Calibri" panose="020F0502020204030204" pitchFamily="34" charset="0"/>
              </a:defRPr>
            </a:lvl1pPr>
            <a:lvl2pPr rtl="0">
              <a:defRPr sz="1800">
                <a:latin typeface="Calibri" panose="020F0502020204030204" pitchFamily="34" charset="0"/>
                <a:cs typeface="Calibri" panose="020F0502020204030204" pitchFamily="34" charset="0"/>
              </a:defRPr>
            </a:lvl2pPr>
            <a:lvl3pPr rtl="0">
              <a:defRPr sz="1800">
                <a:latin typeface="Calibri" panose="020F0502020204030204" pitchFamily="34" charset="0"/>
                <a:cs typeface="Calibri" panose="020F0502020204030204" pitchFamily="34" charset="0"/>
              </a:defRPr>
            </a:lvl3pPr>
            <a:lvl4pPr rtl="0">
              <a:defRPr sz="1800">
                <a:latin typeface="Calibri" panose="020F0502020204030204" pitchFamily="34" charset="0"/>
                <a:cs typeface="Calibri" panose="020F0502020204030204" pitchFamily="34" charset="0"/>
              </a:defRPr>
            </a:lvl4pPr>
            <a:lvl5pPr rtl="0">
              <a:defRPr sz="1800">
                <a:latin typeface="Calibri" panose="020F0502020204030204" pitchFamily="34" charset="0"/>
                <a:cs typeface="Calibri" panose="020F0502020204030204" pitchFamily="34" charset="0"/>
              </a:defRPr>
            </a:lvl5pPr>
          </a:lstStyle>
          <a:p>
            <a:pPr lvl="0"/>
            <a:r>
              <a:rPr lang="en-IE"/>
              <a:t>Edit the text here</a:t>
            </a:r>
          </a:p>
          <a:p>
            <a:pPr lvl="1"/>
            <a:r>
              <a:rPr lang="en-IE"/>
              <a:t>Second level</a:t>
            </a:r>
          </a:p>
          <a:p>
            <a:pPr lvl="2"/>
            <a:r>
              <a:rPr lang="en-IE"/>
              <a:t>Third level</a:t>
            </a:r>
          </a:p>
          <a:p>
            <a:pPr lvl="3"/>
            <a:r>
              <a:rPr lang="en-IE"/>
              <a:t>Fourth level</a:t>
            </a:r>
          </a:p>
          <a:p>
            <a:pPr lvl="4"/>
            <a:r>
              <a:rPr lang="en-IE"/>
              <a:t>Fifth level</a:t>
            </a:r>
          </a:p>
        </p:txBody>
      </p:sp>
      <p:sp>
        <p:nvSpPr>
          <p:cNvPr id="10" name="Inhaltsplatzhalter 2"/>
          <p:cNvSpPr>
            <a:spLocks noGrp="1"/>
          </p:cNvSpPr>
          <p:nvPr>
            <p:ph idx="13" hasCustomPrompt="1"/>
          </p:nvPr>
        </p:nvSpPr>
        <p:spPr>
          <a:xfrm>
            <a:off x="6206439" y="1052736"/>
            <a:ext cx="5664117" cy="3311810"/>
          </a:xfrm>
          <a:prstGeom prst="rect">
            <a:avLst/>
          </a:prstGeom>
        </p:spPr>
        <p:txBody>
          <a:bodyPr>
            <a:normAutofit/>
          </a:bodyPr>
          <a:lstStyle>
            <a:lvl1pPr rtl="0">
              <a:defRPr sz="1800">
                <a:latin typeface="Calibri" panose="020F0502020204030204" pitchFamily="34" charset="0"/>
                <a:cs typeface="Calibri" panose="020F0502020204030204" pitchFamily="34" charset="0"/>
              </a:defRPr>
            </a:lvl1pPr>
            <a:lvl2pPr rtl="0">
              <a:defRPr sz="1800">
                <a:latin typeface="Calibri" panose="020F0502020204030204" pitchFamily="34" charset="0"/>
                <a:cs typeface="Calibri" panose="020F0502020204030204" pitchFamily="34" charset="0"/>
              </a:defRPr>
            </a:lvl2pPr>
            <a:lvl3pPr rtl="0">
              <a:defRPr sz="1800">
                <a:latin typeface="Calibri" panose="020F0502020204030204" pitchFamily="34" charset="0"/>
                <a:cs typeface="Calibri" panose="020F0502020204030204" pitchFamily="34" charset="0"/>
              </a:defRPr>
            </a:lvl3pPr>
            <a:lvl4pPr rtl="0">
              <a:defRPr sz="1800">
                <a:latin typeface="Calibri" panose="020F0502020204030204" pitchFamily="34" charset="0"/>
                <a:cs typeface="Calibri" panose="020F0502020204030204" pitchFamily="34" charset="0"/>
              </a:defRPr>
            </a:lvl4pPr>
            <a:lvl5pPr rtl="0">
              <a:defRPr sz="1800">
                <a:latin typeface="Calibri" panose="020F0502020204030204" pitchFamily="34" charset="0"/>
                <a:cs typeface="Calibri" panose="020F0502020204030204" pitchFamily="34" charset="0"/>
              </a:defRPr>
            </a:lvl5pPr>
          </a:lstStyle>
          <a:p>
            <a:pPr lvl="0"/>
            <a:r>
              <a:rPr lang="en-IE"/>
              <a:t>Edit the text here</a:t>
            </a:r>
          </a:p>
          <a:p>
            <a:pPr lvl="1"/>
            <a:r>
              <a:rPr lang="en-IE"/>
              <a:t>Second level</a:t>
            </a:r>
          </a:p>
          <a:p>
            <a:pPr lvl="2"/>
            <a:r>
              <a:rPr lang="en-IE"/>
              <a:t>Third level</a:t>
            </a:r>
          </a:p>
          <a:p>
            <a:pPr lvl="3"/>
            <a:r>
              <a:rPr lang="en-IE"/>
              <a:t>Fourth level</a:t>
            </a:r>
          </a:p>
          <a:p>
            <a:pPr lvl="4"/>
            <a:r>
              <a:rPr lang="en-IE"/>
              <a:t>Fifth level</a:t>
            </a:r>
          </a:p>
        </p:txBody>
      </p:sp>
      <p:sp>
        <p:nvSpPr>
          <p:cNvPr id="6" name="Titel 5">
            <a:extLst>
              <a:ext uri="{FF2B5EF4-FFF2-40B4-BE49-F238E27FC236}">
                <a16:creationId xmlns:a16="http://schemas.microsoft.com/office/drawing/2014/main" id="{BF868832-6945-4F2F-8DEC-A69FB10BA62E}"/>
              </a:ext>
            </a:extLst>
          </p:cNvPr>
          <p:cNvSpPr>
            <a:spLocks noGrp="1"/>
          </p:cNvSpPr>
          <p:nvPr>
            <p:ph type="title" hasCustomPrompt="1"/>
          </p:nvPr>
        </p:nvSpPr>
        <p:spPr>
          <a:xfrm>
            <a:off x="38286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Tree>
    <p:extLst>
      <p:ext uri="{BB962C8B-B14F-4D97-AF65-F5344CB8AC3E}">
        <p14:creationId xmlns:p14="http://schemas.microsoft.com/office/powerpoint/2010/main" val="2100589769"/>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pos="181">
          <p15:clr>
            <a:srgbClr val="A4A3A4"/>
          </p15:clr>
        </p15:guide>
        <p15:guide id="5" pos="7499">
          <p15:clr>
            <a:srgbClr val="A4A3A4"/>
          </p15:clr>
        </p15:guide>
        <p15:guide id="6" orient="horz" pos="3634">
          <p15:clr>
            <a:srgbClr val="A4A3A4"/>
          </p15:clr>
        </p15:guide>
        <p15:guide id="7" orient="horz" pos="1049">
          <p15:clr>
            <a:srgbClr val="A4A3A4"/>
          </p15:clr>
        </p15:guide>
        <p15:guide id="8" pos="3749">
          <p15:clr>
            <a:srgbClr val="A4A3A4"/>
          </p15:clr>
        </p15:guide>
        <p15:guide id="9" pos="3931">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8_ENTSO-E Three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7E896E3-6885-70D2-587C-549588CDBE9C}"/>
              </a:ext>
            </a:extLst>
          </p:cNvPr>
          <p:cNvGraphicFramePr>
            <a:graphicFrameLocks noChangeAspect="1"/>
          </p:cNvGraphicFramePr>
          <p:nvPr userDrawn="1">
            <p:custDataLst>
              <p:tags r:id="rId1"/>
            </p:custDataLst>
            <p:extLst>
              <p:ext uri="{D42A27DB-BD31-4B8C-83A1-F6EECF244321}">
                <p14:modId xmlns:p14="http://schemas.microsoft.com/office/powerpoint/2010/main" val="1059080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67E896E3-6885-70D2-587C-549588CDBE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platzhalter 3"/>
          <p:cNvSpPr>
            <a:spLocks noGrp="1"/>
          </p:cNvSpPr>
          <p:nvPr>
            <p:ph type="body" sz="quarter" idx="16" hasCustomPrompt="1"/>
          </p:nvPr>
        </p:nvSpPr>
        <p:spPr>
          <a:xfrm>
            <a:off x="382588" y="1297579"/>
            <a:ext cx="11616265" cy="367709"/>
          </a:xfrm>
          <a:prstGeom prst="rect">
            <a:avLst/>
          </a:prstGeom>
        </p:spPr>
        <p:txBody>
          <a:bodyPr>
            <a:normAutofit/>
          </a:bodyPr>
          <a:lstStyle>
            <a:lvl1pPr rtl="0">
              <a:defRPr sz="1800" b="1">
                <a:solidFill>
                  <a:srgbClr val="0F218B"/>
                </a:solidFill>
                <a:latin typeface="Calibri" panose="020F0502020204030204" pitchFamily="34" charset="0"/>
                <a:cs typeface="Calibri" panose="020F0502020204030204" pitchFamily="34" charset="0"/>
              </a:defRPr>
            </a:lvl1pPr>
          </a:lstStyle>
          <a:p>
            <a:pPr lvl="0"/>
            <a:r>
              <a:rPr lang="en-IE"/>
              <a:t>Headline 3</a:t>
            </a:r>
          </a:p>
        </p:txBody>
      </p:sp>
      <p:sp>
        <p:nvSpPr>
          <p:cNvPr id="14" name="Inhaltsplatzhalter 2">
            <a:extLst>
              <a:ext uri="{FF2B5EF4-FFF2-40B4-BE49-F238E27FC236}">
                <a16:creationId xmlns:a16="http://schemas.microsoft.com/office/drawing/2014/main" id="{9341F4E3-0CAE-4A14-AD42-9C698E28F0E7}"/>
              </a:ext>
            </a:extLst>
          </p:cNvPr>
          <p:cNvSpPr>
            <a:spLocks noGrp="1"/>
          </p:cNvSpPr>
          <p:nvPr>
            <p:ph idx="18" hasCustomPrompt="1"/>
          </p:nvPr>
        </p:nvSpPr>
        <p:spPr>
          <a:xfrm>
            <a:off x="380339" y="1844824"/>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en-IE"/>
              <a:t>Bullet points first level </a:t>
            </a:r>
          </a:p>
          <a:p>
            <a:pPr lvl="1"/>
            <a:r>
              <a:rPr lang="en-IE"/>
              <a:t>Second level </a:t>
            </a:r>
          </a:p>
          <a:p>
            <a:pPr lvl="2"/>
            <a:r>
              <a:rPr lang="en-IE"/>
              <a:t>Third level</a:t>
            </a:r>
          </a:p>
          <a:p>
            <a:pPr lvl="3"/>
            <a:r>
              <a:rPr lang="en-IE"/>
              <a:t>Fourth level</a:t>
            </a:r>
          </a:p>
          <a:p>
            <a:pPr lvl="4"/>
            <a:r>
              <a:rPr lang="en-IE"/>
              <a:t>Fifth level</a:t>
            </a:r>
          </a:p>
        </p:txBody>
      </p:sp>
      <p:sp>
        <p:nvSpPr>
          <p:cNvPr id="15" name="Inhaltsplatzhalter 2">
            <a:extLst>
              <a:ext uri="{FF2B5EF4-FFF2-40B4-BE49-F238E27FC236}">
                <a16:creationId xmlns:a16="http://schemas.microsoft.com/office/drawing/2014/main" id="{E742937F-ADF9-487A-AB88-EE6EE0E8FD08}"/>
              </a:ext>
            </a:extLst>
          </p:cNvPr>
          <p:cNvSpPr>
            <a:spLocks noGrp="1"/>
          </p:cNvSpPr>
          <p:nvPr>
            <p:ph idx="19" hasCustomPrompt="1"/>
          </p:nvPr>
        </p:nvSpPr>
        <p:spPr>
          <a:xfrm>
            <a:off x="7923229" y="1844822"/>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en-IE"/>
              <a:t>Bullet points first level </a:t>
            </a:r>
          </a:p>
          <a:p>
            <a:pPr lvl="1"/>
            <a:r>
              <a:rPr lang="en-IE"/>
              <a:t>Second level </a:t>
            </a:r>
          </a:p>
          <a:p>
            <a:pPr lvl="2"/>
            <a:r>
              <a:rPr lang="en-IE"/>
              <a:t>Third level</a:t>
            </a:r>
          </a:p>
          <a:p>
            <a:pPr lvl="3"/>
            <a:r>
              <a:rPr lang="en-IE"/>
              <a:t>Fourth level</a:t>
            </a:r>
          </a:p>
          <a:p>
            <a:pPr lvl="4"/>
            <a:r>
              <a:rPr lang="en-IE"/>
              <a:t>Fifth level</a:t>
            </a:r>
          </a:p>
        </p:txBody>
      </p:sp>
      <p:sp>
        <p:nvSpPr>
          <p:cNvPr id="17" name="Inhaltsplatzhalter 2">
            <a:extLst>
              <a:ext uri="{FF2B5EF4-FFF2-40B4-BE49-F238E27FC236}">
                <a16:creationId xmlns:a16="http://schemas.microsoft.com/office/drawing/2014/main" id="{C1294B06-543C-439B-844D-292C65223D9D}"/>
              </a:ext>
            </a:extLst>
          </p:cNvPr>
          <p:cNvSpPr>
            <a:spLocks noGrp="1"/>
          </p:cNvSpPr>
          <p:nvPr>
            <p:ph idx="20" hasCustomPrompt="1"/>
          </p:nvPr>
        </p:nvSpPr>
        <p:spPr>
          <a:xfrm>
            <a:off x="4151784" y="1844823"/>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en-IE"/>
              <a:t>Bullet points first level </a:t>
            </a:r>
          </a:p>
          <a:p>
            <a:pPr lvl="1"/>
            <a:r>
              <a:rPr lang="en-IE"/>
              <a:t>Second level </a:t>
            </a:r>
          </a:p>
          <a:p>
            <a:pPr lvl="2"/>
            <a:r>
              <a:rPr lang="en-IE"/>
              <a:t>Third level</a:t>
            </a:r>
          </a:p>
          <a:p>
            <a:pPr lvl="3"/>
            <a:r>
              <a:rPr lang="en-IE"/>
              <a:t>Fourth level</a:t>
            </a:r>
          </a:p>
          <a:p>
            <a:pPr lvl="4"/>
            <a:r>
              <a:rPr lang="en-IE"/>
              <a:t>Fifth level</a:t>
            </a:r>
          </a:p>
        </p:txBody>
      </p:sp>
      <p:sp>
        <p:nvSpPr>
          <p:cNvPr id="9" name="Titel 5">
            <a:extLst>
              <a:ext uri="{FF2B5EF4-FFF2-40B4-BE49-F238E27FC236}">
                <a16:creationId xmlns:a16="http://schemas.microsoft.com/office/drawing/2014/main" id="{009D75ED-94BB-4DB3-A55E-CFA85E39F7A3}"/>
              </a:ext>
            </a:extLst>
          </p:cNvPr>
          <p:cNvSpPr>
            <a:spLocks noGrp="1"/>
          </p:cNvSpPr>
          <p:nvPr>
            <p:ph type="title" hasCustomPrompt="1"/>
          </p:nvPr>
        </p:nvSpPr>
        <p:spPr>
          <a:xfrm>
            <a:off x="380339" y="260648"/>
            <a:ext cx="11617788" cy="431325"/>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
        <p:nvSpPr>
          <p:cNvPr id="11" name="Textplatzhalter 11">
            <a:extLst>
              <a:ext uri="{FF2B5EF4-FFF2-40B4-BE49-F238E27FC236}">
                <a16:creationId xmlns:a16="http://schemas.microsoft.com/office/drawing/2014/main" id="{CDA0278C-3CB1-4B5A-B6A3-7F8C901572EF}"/>
              </a:ext>
            </a:extLst>
          </p:cNvPr>
          <p:cNvSpPr>
            <a:spLocks noGrp="1"/>
          </p:cNvSpPr>
          <p:nvPr>
            <p:ph type="body" sz="quarter" idx="12" hasCustomPrompt="1"/>
          </p:nvPr>
        </p:nvSpPr>
        <p:spPr>
          <a:xfrm>
            <a:off x="382588" y="785744"/>
            <a:ext cx="11617788" cy="442428"/>
          </a:xfrm>
          <a:prstGeom prst="rect">
            <a:avLst/>
          </a:prstGeom>
          <a:ln>
            <a:noFill/>
          </a:ln>
        </p:spPr>
        <p:txBody>
          <a:bodyPr anchor="ctr">
            <a:normAutofit/>
          </a:bodyPr>
          <a:lstStyle>
            <a:lvl1pPr marL="0" indent="0" rtl="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en-IE"/>
              <a:t>Click here to edit Headline 2 </a:t>
            </a:r>
          </a:p>
        </p:txBody>
      </p:sp>
    </p:spTree>
    <p:extLst>
      <p:ext uri="{BB962C8B-B14F-4D97-AF65-F5344CB8AC3E}">
        <p14:creationId xmlns:p14="http://schemas.microsoft.com/office/powerpoint/2010/main" val="1236514350"/>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orient="horz" pos="1049">
          <p15:clr>
            <a:srgbClr val="A4A3A4"/>
          </p15:clr>
        </p15:guide>
        <p15:guide id="5" orient="horz" pos="1480">
          <p15:clr>
            <a:srgbClr val="A4A3A4"/>
          </p15:clr>
        </p15:guide>
        <p15:guide id="6" orient="horz" pos="1548">
          <p15:clr>
            <a:srgbClr val="A4A3A4"/>
          </p15:clr>
        </p15:guide>
        <p15:guide id="7" orient="horz" pos="3634">
          <p15:clr>
            <a:srgbClr val="A4A3A4"/>
          </p15:clr>
        </p15:guide>
        <p15:guide id="8" pos="181">
          <p15:clr>
            <a:srgbClr val="A4A3A4"/>
          </p15:clr>
        </p15:guide>
        <p15:guide id="9" pos="7499">
          <p15:clr>
            <a:srgbClr val="A4A3A4"/>
          </p15:clr>
        </p15:guide>
        <p15:guide id="10" pos="3931">
          <p15:clr>
            <a:srgbClr val="A4A3A4"/>
          </p15:clr>
        </p15:guide>
        <p15:guide id="11" pos="3749">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ENTSO-E Graph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5B68A7A-2DBA-C4FE-2FF6-7818D7709597}"/>
              </a:ext>
            </a:extLst>
          </p:cNvPr>
          <p:cNvGraphicFramePr>
            <a:graphicFrameLocks noChangeAspect="1"/>
          </p:cNvGraphicFramePr>
          <p:nvPr userDrawn="1">
            <p:custDataLst>
              <p:tags r:id="rId1"/>
            </p:custDataLst>
            <p:extLst>
              <p:ext uri="{D42A27DB-BD31-4B8C-83A1-F6EECF244321}">
                <p14:modId xmlns:p14="http://schemas.microsoft.com/office/powerpoint/2010/main" val="4016320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B5B68A7A-2DBA-C4FE-2FF6-7818D77095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graphicFrame>
        <p:nvGraphicFramePr>
          <p:cNvPr id="7" name="Inhaltsplatzhalter 9" title="Diagramm Platzhalter">
            <a:extLst>
              <a:ext uri="{FF2B5EF4-FFF2-40B4-BE49-F238E27FC236}">
                <a16:creationId xmlns:a16="http://schemas.microsoft.com/office/drawing/2014/main" id="{B463EBB2-B343-A342-A26F-FA6D526125DA}"/>
              </a:ext>
            </a:extLst>
          </p:cNvPr>
          <p:cNvGraphicFramePr>
            <a:graphicFrameLocks/>
          </p:cNvGraphicFramePr>
          <p:nvPr userDrawn="1">
            <p:extLst>
              <p:ext uri="{D42A27DB-BD31-4B8C-83A1-F6EECF244321}">
                <p14:modId xmlns:p14="http://schemas.microsoft.com/office/powerpoint/2010/main" val="2616654375"/>
              </p:ext>
            </p:extLst>
          </p:nvPr>
        </p:nvGraphicFramePr>
        <p:xfrm>
          <a:off x="6648450" y="1665288"/>
          <a:ext cx="5543550" cy="410368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23591288"/>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5_ENTSO-E One Column">
    <p:spTree>
      <p:nvGrpSpPr>
        <p:cNvPr id="1" name=""/>
        <p:cNvGrpSpPr/>
        <p:nvPr/>
      </p:nvGrpSpPr>
      <p:grpSpPr>
        <a:xfrm>
          <a:off x="0" y="0"/>
          <a:ext cx="0" cy="0"/>
          <a:chOff x="0" y="0"/>
          <a:chExt cx="0" cy="0"/>
        </a:xfrm>
      </p:grpSpPr>
      <p:sp>
        <p:nvSpPr>
          <p:cNvPr id="13" name="Inhaltsplatzhalter 2"/>
          <p:cNvSpPr>
            <a:spLocks noGrp="1"/>
          </p:cNvSpPr>
          <p:nvPr>
            <p:ph idx="1" hasCustomPrompt="1"/>
          </p:nvPr>
        </p:nvSpPr>
        <p:spPr>
          <a:xfrm>
            <a:off x="372538" y="908720"/>
            <a:ext cx="11616268" cy="3815866"/>
          </a:xfrm>
          <a:prstGeom prst="rect">
            <a:avLst/>
          </a:prstGeom>
        </p:spPr>
        <p:txBody>
          <a:bodyPr>
            <a:normAutofit/>
          </a:bodyPr>
          <a:lstStyle>
            <a:lvl1pPr>
              <a:lnSpc>
                <a:spcPct val="90000"/>
              </a:lnSpc>
              <a:defRPr sz="1800">
                <a:latin typeface="Calibri" panose="020F0502020204030204" pitchFamily="34" charset="0"/>
                <a:cs typeface="Calibri" panose="020F0502020204030204" pitchFamily="34" charset="0"/>
              </a:defRPr>
            </a:lvl1pPr>
            <a:lvl2pPr>
              <a:lnSpc>
                <a:spcPct val="90000"/>
              </a:lnSpc>
              <a:defRPr sz="1800">
                <a:latin typeface="Calibri" panose="020F0502020204030204" pitchFamily="34" charset="0"/>
                <a:cs typeface="Calibri" panose="020F0502020204030204" pitchFamily="34" charset="0"/>
              </a:defRPr>
            </a:lvl2pPr>
            <a:lvl3pPr>
              <a:lnSpc>
                <a:spcPct val="90000"/>
              </a:lnSpc>
              <a:defRPr sz="1800">
                <a:latin typeface="Calibri" panose="020F0502020204030204" pitchFamily="34" charset="0"/>
                <a:cs typeface="Calibri" panose="020F0502020204030204" pitchFamily="34" charset="0"/>
              </a:defRPr>
            </a:lvl3pPr>
            <a:lvl4pPr>
              <a:lnSpc>
                <a:spcPct val="90000"/>
              </a:lnSpc>
              <a:defRPr sz="1800">
                <a:latin typeface="Calibri" panose="020F0502020204030204" pitchFamily="34" charset="0"/>
                <a:cs typeface="Calibri" panose="020F0502020204030204" pitchFamily="34" charset="0"/>
              </a:defRPr>
            </a:lvl4pPr>
            <a:lvl5pPr>
              <a:lnSpc>
                <a:spcPct val="90000"/>
              </a:lnSpc>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3501268115"/>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ENTSO-E Graph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3F3BC2-B074-2811-1FCB-C94490E19B5B}"/>
              </a:ext>
            </a:extLst>
          </p:cNvPr>
          <p:cNvGraphicFramePr>
            <a:graphicFrameLocks noChangeAspect="1"/>
          </p:cNvGraphicFramePr>
          <p:nvPr userDrawn="1">
            <p:custDataLst>
              <p:tags r:id="rId1"/>
            </p:custDataLst>
            <p:extLst>
              <p:ext uri="{D42A27DB-BD31-4B8C-83A1-F6EECF244321}">
                <p14:modId xmlns:p14="http://schemas.microsoft.com/office/powerpoint/2010/main" val="574210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103F3BC2-B074-2811-1FCB-C94490E19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
        <p:nvSpPr>
          <p:cNvPr id="4" name="Inhaltsplatzhalter 10">
            <a:extLst>
              <a:ext uri="{FF2B5EF4-FFF2-40B4-BE49-F238E27FC236}">
                <a16:creationId xmlns:a16="http://schemas.microsoft.com/office/drawing/2014/main" id="{C04C5352-D576-AE47-888D-BF03439BD4FC}"/>
              </a:ext>
            </a:extLst>
          </p:cNvPr>
          <p:cNvSpPr>
            <a:spLocks noGrp="1"/>
          </p:cNvSpPr>
          <p:nvPr>
            <p:ph idx="1" hasCustomPrompt="1"/>
          </p:nvPr>
        </p:nvSpPr>
        <p:spPr>
          <a:xfrm>
            <a:off x="1739517" y="1665288"/>
            <a:ext cx="8712201" cy="4103972"/>
          </a:xfrm>
        </p:spPr>
        <p:txBody>
          <a:bodyPr>
            <a:normAutofit lnSpcReduction="10000"/>
          </a:bodyPr>
          <a:lstStyle>
            <a:lvl1pPr rtl="0">
              <a:defRPr/>
            </a:lvl1pPr>
          </a:lstStyle>
          <a:p>
            <a:r>
              <a:rPr lang="en-IE" b="1"/>
              <a:t>   </a:t>
            </a:r>
            <a:br>
              <a:rPr lang="en-IE" b="1"/>
            </a:br>
            <a:r>
              <a:rPr lang="en-IE" b="1"/>
              <a:t> </a:t>
            </a:r>
            <a:endParaRPr lang="en-IE" b="1"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br>
              <a:rPr lang="en-IE" sz="900" i="1">
                <a:solidFill>
                  <a:prstClr val="black"/>
                </a:solidFill>
              </a:rPr>
            </a:br>
            <a:br>
              <a:rPr lang="en-IE" sz="900" i="1">
                <a:solidFill>
                  <a:prstClr val="black"/>
                </a:solidFill>
              </a:rPr>
            </a:br>
            <a:br>
              <a:rPr lang="en-IE" sz="900" i="1">
                <a:solidFill>
                  <a:prstClr val="black"/>
                </a:solidFill>
              </a:rPr>
            </a:br>
            <a:r>
              <a:rPr lang="en-IE" sz="900" i="1">
                <a:solidFill>
                  <a:prstClr val="black"/>
                </a:solidFill>
              </a:rPr>
              <a:t>Source: Insert here if applicable</a:t>
            </a:r>
            <a:endParaRPr lang="en-IE" sz="900"/>
          </a:p>
        </p:txBody>
      </p:sp>
      <p:graphicFrame>
        <p:nvGraphicFramePr>
          <p:cNvPr id="6" name="Diagramm 5" title="Flächendiagramm Platzhalter">
            <a:extLst>
              <a:ext uri="{FF2B5EF4-FFF2-40B4-BE49-F238E27FC236}">
                <a16:creationId xmlns:a16="http://schemas.microsoft.com/office/drawing/2014/main" id="{654DBC48-79E2-BF45-94FB-10AE0A01AFE4}"/>
              </a:ext>
            </a:extLst>
          </p:cNvPr>
          <p:cNvGraphicFramePr/>
          <p:nvPr userDrawn="1">
            <p:extLst>
              <p:ext uri="{D42A27DB-BD31-4B8C-83A1-F6EECF244321}">
                <p14:modId xmlns:p14="http://schemas.microsoft.com/office/powerpoint/2010/main" val="1491827380"/>
              </p:ext>
            </p:extLst>
          </p:nvPr>
        </p:nvGraphicFramePr>
        <p:xfrm>
          <a:off x="382587" y="1665288"/>
          <a:ext cx="11522075" cy="399596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4683096"/>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ENTSO-E Graph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4C5A282-C0B2-2724-DB0D-B8380440BD5B}"/>
              </a:ext>
            </a:extLst>
          </p:cNvPr>
          <p:cNvGraphicFramePr>
            <a:graphicFrameLocks noChangeAspect="1"/>
          </p:cNvGraphicFramePr>
          <p:nvPr userDrawn="1">
            <p:custDataLst>
              <p:tags r:id="rId1"/>
            </p:custDataLst>
            <p:extLst>
              <p:ext uri="{D42A27DB-BD31-4B8C-83A1-F6EECF244321}">
                <p14:modId xmlns:p14="http://schemas.microsoft.com/office/powerpoint/2010/main" val="1316644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44C5A282-C0B2-2724-DB0D-B8380440BD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
        <p:nvSpPr>
          <p:cNvPr id="4" name="Inhaltsplatzhalter 1">
            <a:extLst>
              <a:ext uri="{FF2B5EF4-FFF2-40B4-BE49-F238E27FC236}">
                <a16:creationId xmlns:a16="http://schemas.microsoft.com/office/drawing/2014/main" id="{C62E783B-8C38-B14F-A829-53ADBD597589}"/>
              </a:ext>
            </a:extLst>
          </p:cNvPr>
          <p:cNvSpPr>
            <a:spLocks noGrp="1"/>
          </p:cNvSpPr>
          <p:nvPr>
            <p:ph idx="1" hasCustomPrompt="1"/>
          </p:nvPr>
        </p:nvSpPr>
        <p:spPr>
          <a:xfrm>
            <a:off x="407368" y="1747353"/>
            <a:ext cx="7200800" cy="4292180"/>
          </a:xfrm>
        </p:spPr>
        <p:txBody>
          <a:bodyPr/>
          <a:lstStyle>
            <a:lvl1pPr rtl="0">
              <a:defRPr/>
            </a:lvl1pPr>
          </a:lstStyle>
          <a:p>
            <a:r>
              <a:rPr lang="en-IE">
                <a:solidFill>
                  <a:srgbClr val="0F218B"/>
                </a:solidFill>
              </a:rPr>
              <a:t>Headline 3 – Edit the pie chart by clicking on it. Now icons appear. If you keep the cursor above the icons, a descriptive text appears. </a:t>
            </a:r>
          </a:p>
          <a:p>
            <a:r>
              <a:rPr lang="en-IE"/>
              <a:t>You may change the type of chart, the layout and colour scheme. We advise to refrain from using gradients and shadows – this does not add any information in most cases. </a:t>
            </a:r>
          </a:p>
          <a:p>
            <a:r>
              <a:rPr lang="en-IE"/>
              <a:t>The size of this copy will adapt automatically, depending on how many words you insert or write. If the size of the copy appears too small – rather try editing the text than maximising the size of the text box. </a:t>
            </a:r>
          </a:p>
          <a:p>
            <a:endParaRPr lang="en-IE"/>
          </a:p>
        </p:txBody>
      </p:sp>
      <p:graphicFrame>
        <p:nvGraphicFramePr>
          <p:cNvPr id="6" name="Inhaltsplatzhalter 8" title="Kreisdiagramm Platzhalter">
            <a:extLst>
              <a:ext uri="{FF2B5EF4-FFF2-40B4-BE49-F238E27FC236}">
                <a16:creationId xmlns:a16="http://schemas.microsoft.com/office/drawing/2014/main" id="{6D36771A-5075-9748-A710-7DBB70C12D6A}"/>
              </a:ext>
            </a:extLst>
          </p:cNvPr>
          <p:cNvGraphicFramePr>
            <a:graphicFrameLocks/>
          </p:cNvGraphicFramePr>
          <p:nvPr userDrawn="1">
            <p:extLst>
              <p:ext uri="{D42A27DB-BD31-4B8C-83A1-F6EECF244321}">
                <p14:modId xmlns:p14="http://schemas.microsoft.com/office/powerpoint/2010/main" val="3232390385"/>
              </p:ext>
            </p:extLst>
          </p:nvPr>
        </p:nvGraphicFramePr>
        <p:xfrm>
          <a:off x="8472264" y="1747353"/>
          <a:ext cx="2951162" cy="410368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02813655"/>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ENTSO-E Graph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11B7BEC-8C3B-96E6-3AB3-05ED78FB84B4}"/>
              </a:ext>
            </a:extLst>
          </p:cNvPr>
          <p:cNvGraphicFramePr>
            <a:graphicFrameLocks noChangeAspect="1"/>
          </p:cNvGraphicFramePr>
          <p:nvPr userDrawn="1">
            <p:custDataLst>
              <p:tags r:id="rId1"/>
            </p:custDataLst>
            <p:extLst>
              <p:ext uri="{D42A27DB-BD31-4B8C-83A1-F6EECF244321}">
                <p14:modId xmlns:p14="http://schemas.microsoft.com/office/powerpoint/2010/main" val="2937201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211B7BEC-8C3B-96E6-3AB3-05ED78FB84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
        <p:nvSpPr>
          <p:cNvPr id="7" name="Inhaltsplatzhalter 1">
            <a:extLst>
              <a:ext uri="{FF2B5EF4-FFF2-40B4-BE49-F238E27FC236}">
                <a16:creationId xmlns:a16="http://schemas.microsoft.com/office/drawing/2014/main" id="{C1F9600C-DD2A-3D4A-B5B0-19ADE1EE280E}"/>
              </a:ext>
            </a:extLst>
          </p:cNvPr>
          <p:cNvSpPr>
            <a:spLocks noGrp="1"/>
          </p:cNvSpPr>
          <p:nvPr>
            <p:ph idx="18" hasCustomPrompt="1"/>
          </p:nvPr>
        </p:nvSpPr>
        <p:spPr>
          <a:xfrm>
            <a:off x="349412" y="854984"/>
            <a:ext cx="3648000" cy="3311525"/>
          </a:xfrm>
        </p:spPr>
        <p:txBody>
          <a:bodyPr>
            <a:noAutofit/>
          </a:bodyPr>
          <a:lstStyle>
            <a:lvl1pPr rtl="0">
              <a:defRPr sz="1800"/>
            </a:lvl1pPr>
          </a:lstStyle>
          <a:p>
            <a:r>
              <a:rPr lang="en-IE">
                <a:latin typeface="Calibri" panose="020F0502020204030204" pitchFamily="34" charset="0"/>
                <a:cs typeface="Calibri" panose="020F0502020204030204" pitchFamily="34" charset="0"/>
              </a:rPr>
              <a:t>Examples for bullet points.</a:t>
            </a:r>
          </a:p>
          <a:p>
            <a:r>
              <a:rPr lang="en-IE">
                <a:latin typeface="Calibri" panose="020F0502020204030204" pitchFamily="34" charset="0"/>
                <a:cs typeface="Calibri" panose="020F0502020204030204" pitchFamily="34" charset="0"/>
              </a:rPr>
              <a:t>Be aware that there is a significant difference between using only the enter-key and using the combination of enter- and shift-key.</a:t>
            </a:r>
          </a:p>
          <a:p>
            <a:r>
              <a:rPr lang="en-IE">
                <a:latin typeface="Calibri" panose="020F0502020204030204" pitchFamily="34" charset="0"/>
                <a:cs typeface="Calibri" panose="020F0502020204030204" pitchFamily="34" charset="0"/>
              </a:rPr>
              <a:t>Using only the enter-key will create a new bullet point.</a:t>
            </a:r>
            <a:br>
              <a:rPr lang="en-IE">
                <a:latin typeface="Calibri" panose="020F0502020204030204" pitchFamily="34" charset="0"/>
                <a:cs typeface="Calibri" panose="020F0502020204030204" pitchFamily="34" charset="0"/>
              </a:rPr>
            </a:br>
            <a:r>
              <a:rPr lang="en-IE">
                <a:latin typeface="Calibri" panose="020F0502020204030204" pitchFamily="34" charset="0"/>
                <a:cs typeface="Calibri" panose="020F0502020204030204" pitchFamily="34" charset="0"/>
              </a:rPr>
              <a:t> </a:t>
            </a:r>
            <a:br>
              <a:rPr lang="en-IE">
                <a:latin typeface="Calibri" panose="020F0502020204030204" pitchFamily="34" charset="0"/>
                <a:cs typeface="Calibri" panose="020F0502020204030204" pitchFamily="34" charset="0"/>
              </a:rPr>
            </a:br>
            <a:r>
              <a:rPr lang="en-IE">
                <a:latin typeface="Calibri" panose="020F0502020204030204" pitchFamily="34" charset="0"/>
                <a:cs typeface="Calibri" panose="020F0502020204030204" pitchFamily="34" charset="0"/>
              </a:rPr>
              <a:t>If you only want to start the text in a new line (like this sentence) and keep the numeration, use shift-enter. </a:t>
            </a:r>
          </a:p>
          <a:p>
            <a:r>
              <a:rPr lang="en-IE">
                <a:latin typeface="Calibri" panose="020F0502020204030204" pitchFamily="34" charset="0"/>
                <a:cs typeface="Calibri" panose="020F0502020204030204" pitchFamily="34" charset="0"/>
              </a:rPr>
              <a:t>Text will resize automatically.</a:t>
            </a:r>
          </a:p>
          <a:p>
            <a:endParaRPr lang="en-IE">
              <a:latin typeface="Calibri" panose="020F0502020204030204" pitchFamily="34" charset="0"/>
              <a:cs typeface="Calibri" panose="020F0502020204030204" pitchFamily="34" charset="0"/>
            </a:endParaRPr>
          </a:p>
          <a:p>
            <a:endParaRPr lang="en-IE">
              <a:latin typeface="Calibri" panose="020F0502020204030204" pitchFamily="34" charset="0"/>
              <a:cs typeface="Calibri" panose="020F0502020204030204" pitchFamily="34" charset="0"/>
            </a:endParaRPr>
          </a:p>
        </p:txBody>
      </p:sp>
      <p:sp>
        <p:nvSpPr>
          <p:cNvPr id="8" name="Inhaltsplatzhalter 2">
            <a:extLst>
              <a:ext uri="{FF2B5EF4-FFF2-40B4-BE49-F238E27FC236}">
                <a16:creationId xmlns:a16="http://schemas.microsoft.com/office/drawing/2014/main" id="{C36A1AC1-56A4-4346-B7AD-92B4196EBB80}"/>
              </a:ext>
            </a:extLst>
          </p:cNvPr>
          <p:cNvSpPr>
            <a:spLocks noGrp="1"/>
          </p:cNvSpPr>
          <p:nvPr>
            <p:ph idx="19" hasCustomPrompt="1"/>
          </p:nvPr>
        </p:nvSpPr>
        <p:spPr>
          <a:xfrm>
            <a:off x="7752184" y="836362"/>
            <a:ext cx="3648000" cy="3311525"/>
          </a:xfrm>
        </p:spPr>
        <p:txBody>
          <a:bodyPr/>
          <a:lstStyle>
            <a:lvl1pPr rtl="0">
              <a:defRPr sz="1800"/>
            </a:lvl1pPr>
            <a:lvl2pPr rtl="0">
              <a:defRPr sz="1800"/>
            </a:lvl2pPr>
            <a:lvl3pPr rtl="0">
              <a:defRPr sz="1800"/>
            </a:lvl3pPr>
            <a:lvl4pPr rtl="0">
              <a:defRPr sz="1800"/>
            </a:lvl4pPr>
            <a:lvl5pPr rtl="0">
              <a:defRPr sz="1800"/>
            </a:lvl5pPr>
          </a:lstStyle>
          <a:p>
            <a:r>
              <a:rPr lang="en-IE">
                <a:latin typeface="Calibri" panose="020F0502020204030204" pitchFamily="34" charset="0"/>
                <a:cs typeface="Calibri" panose="020F0502020204030204" pitchFamily="34" charset="0"/>
              </a:rPr>
              <a:t>Example for bullet points</a:t>
            </a:r>
            <a:br>
              <a:rPr lang="en-IE">
                <a:latin typeface="Calibri" panose="020F0502020204030204" pitchFamily="34" charset="0"/>
                <a:cs typeface="Calibri" panose="020F0502020204030204" pitchFamily="34" charset="0"/>
              </a:rPr>
            </a:br>
            <a:endParaRPr lang="en-IE">
              <a:latin typeface="Calibri" panose="020F0502020204030204" pitchFamily="34" charset="0"/>
              <a:cs typeface="Calibri" panose="020F0502020204030204" pitchFamily="34" charset="0"/>
            </a:endParaRPr>
          </a:p>
          <a:p>
            <a:r>
              <a:rPr lang="en-IE">
                <a:latin typeface="Calibri" panose="020F0502020204030204" pitchFamily="34" charset="0"/>
                <a:cs typeface="Calibri" panose="020F0502020204030204" pitchFamily="34" charset="0"/>
              </a:rPr>
              <a:t>Dummy text here</a:t>
            </a:r>
          </a:p>
          <a:p>
            <a:pPr lvl="1"/>
            <a:r>
              <a:rPr lang="en-IE">
                <a:latin typeface="Calibri" panose="020F0502020204030204" pitchFamily="34" charset="0"/>
                <a:cs typeface="Calibri" panose="020F0502020204030204" pitchFamily="34" charset="0"/>
              </a:rPr>
              <a:t>Second level</a:t>
            </a:r>
          </a:p>
          <a:p>
            <a:pPr lvl="2"/>
            <a:r>
              <a:rPr lang="en-IE">
                <a:latin typeface="Calibri" panose="020F0502020204030204" pitchFamily="34" charset="0"/>
                <a:cs typeface="Calibri" panose="020F0502020204030204" pitchFamily="34" charset="0"/>
              </a:rPr>
              <a:t>Third level</a:t>
            </a:r>
          </a:p>
          <a:p>
            <a:pPr lvl="3"/>
            <a:r>
              <a:rPr lang="en-IE">
                <a:latin typeface="Calibri" panose="020F0502020204030204" pitchFamily="34" charset="0"/>
                <a:cs typeface="Calibri" panose="020F0502020204030204" pitchFamily="34" charset="0"/>
              </a:rPr>
              <a:t>Fourth level</a:t>
            </a:r>
          </a:p>
          <a:p>
            <a:pPr lvl="4"/>
            <a:r>
              <a:rPr lang="en-IE">
                <a:latin typeface="Calibri" panose="020F0502020204030204" pitchFamily="34" charset="0"/>
                <a:cs typeface="Calibri" panose="020F0502020204030204" pitchFamily="34" charset="0"/>
              </a:rPr>
              <a:t>Fifth level</a:t>
            </a:r>
          </a:p>
        </p:txBody>
      </p:sp>
      <p:graphicFrame>
        <p:nvGraphicFramePr>
          <p:cNvPr id="9" name="Inhaltsplatzhalter 7" title="Infobox Platzhalter">
            <a:extLst>
              <a:ext uri="{FF2B5EF4-FFF2-40B4-BE49-F238E27FC236}">
                <a16:creationId xmlns:a16="http://schemas.microsoft.com/office/drawing/2014/main" id="{03B3DB83-3BE0-1D49-9913-2E54862A2869}"/>
              </a:ext>
            </a:extLst>
          </p:cNvPr>
          <p:cNvGraphicFramePr>
            <a:graphicFrameLocks/>
          </p:cNvGraphicFramePr>
          <p:nvPr userDrawn="1">
            <p:extLst>
              <p:ext uri="{D42A27DB-BD31-4B8C-83A1-F6EECF244321}">
                <p14:modId xmlns:p14="http://schemas.microsoft.com/office/powerpoint/2010/main" val="3301762281"/>
              </p:ext>
            </p:extLst>
          </p:nvPr>
        </p:nvGraphicFramePr>
        <p:xfrm>
          <a:off x="4079776" y="836362"/>
          <a:ext cx="3474386" cy="3203797"/>
        </p:xfrm>
        <a:graphic>
          <a:graphicData uri="http://schemas.openxmlformats.org/drawingml/2006/table">
            <a:tbl>
              <a:tblPr bandCol="1">
                <a:tableStyleId>{3B4B98B0-60AC-42C2-AFA5-B58CD77FA1E5}</a:tableStyleId>
              </a:tblPr>
              <a:tblGrid>
                <a:gridCol w="3474386">
                  <a:extLst>
                    <a:ext uri="{9D8B030D-6E8A-4147-A177-3AD203B41FA5}">
                      <a16:colId xmlns:a16="http://schemas.microsoft.com/office/drawing/2014/main" val="1090517882"/>
                    </a:ext>
                  </a:extLst>
                </a:gridCol>
              </a:tblGrid>
              <a:tr h="3203797">
                <a:tc>
                  <a:txBody>
                    <a:bodyPr/>
                    <a:lstStyle/>
                    <a:p>
                      <a:pPr rtl="0"/>
                      <a:r>
                        <a:rPr lang="en-IE" sz="1800" b="1">
                          <a:solidFill>
                            <a:srgbClr val="015092"/>
                          </a:solidFill>
                          <a:latin typeface="Calibri" panose="020F0502020204030204" pitchFamily="34" charset="0"/>
                          <a:cs typeface="Calibri" panose="020F0502020204030204" pitchFamily="34" charset="0"/>
                        </a:rPr>
                        <a:t>Infobox </a:t>
                      </a:r>
                    </a:p>
                    <a:p>
                      <a:pPr rtl="0"/>
                      <a:endParaRPr lang="en-IE" sz="1800" b="1">
                        <a:solidFill>
                          <a:srgbClr val="015092"/>
                        </a:solidFill>
                        <a:latin typeface="Calibri" panose="020F0502020204030204" pitchFamily="34" charset="0"/>
                        <a:cs typeface="Calibri" panose="020F0502020204030204" pitchFamily="34" charset="0"/>
                      </a:endParaRPr>
                    </a:p>
                    <a:p>
                      <a:pPr rtl="0"/>
                      <a:r>
                        <a:rPr lang="en-IE" sz="1800">
                          <a:solidFill>
                            <a:srgbClr val="015092"/>
                          </a:solidFill>
                          <a:latin typeface="Calibri" panose="020F0502020204030204" pitchFamily="34" charset="0"/>
                          <a:cs typeface="Calibri" panose="020F0502020204030204" pitchFamily="34" charset="0"/>
                        </a:rPr>
                        <a:t>By using the buttons ‚increase indent‘ and ‚decrease indent‘ in the ‚Start‘ menu, you can switch between indention levels. This is valid for all kinds of listings, e.g. bullet points and enumerati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alpha val="20000"/>
                      </a:schemeClr>
                    </a:solidFill>
                  </a:tcPr>
                </a:tc>
                <a:extLst>
                  <a:ext uri="{0D108BD9-81ED-4DB2-BD59-A6C34878D82A}">
                    <a16:rowId xmlns:a16="http://schemas.microsoft.com/office/drawing/2014/main" val="2331007764"/>
                  </a:ext>
                </a:extLst>
              </a:tr>
            </a:tbl>
          </a:graphicData>
        </a:graphic>
      </p:graphicFrame>
    </p:spTree>
    <p:extLst>
      <p:ext uri="{BB962C8B-B14F-4D97-AF65-F5344CB8AC3E}">
        <p14:creationId xmlns:p14="http://schemas.microsoft.com/office/powerpoint/2010/main" val="1904054673"/>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ENTSO-E Graph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54CB5D-9FEC-6E50-62E7-AF9C84DAFE73}"/>
              </a:ext>
            </a:extLst>
          </p:cNvPr>
          <p:cNvGraphicFramePr>
            <a:graphicFrameLocks noChangeAspect="1"/>
          </p:cNvGraphicFramePr>
          <p:nvPr userDrawn="1">
            <p:custDataLst>
              <p:tags r:id="rId1"/>
            </p:custDataLst>
            <p:extLst>
              <p:ext uri="{D42A27DB-BD31-4B8C-83A1-F6EECF244321}">
                <p14:modId xmlns:p14="http://schemas.microsoft.com/office/powerpoint/2010/main" val="1414154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5E54CB5D-9FEC-6E50-62E7-AF9C84DAFE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
        <p:nvSpPr>
          <p:cNvPr id="3" name="Inhaltsplatzhalter 1">
            <a:extLst>
              <a:ext uri="{FF2B5EF4-FFF2-40B4-BE49-F238E27FC236}">
                <a16:creationId xmlns:a16="http://schemas.microsoft.com/office/drawing/2014/main" id="{63F95587-91DB-574E-BF98-C631A8B7FEB8}"/>
              </a:ext>
            </a:extLst>
          </p:cNvPr>
          <p:cNvSpPr>
            <a:spLocks noGrp="1"/>
          </p:cNvSpPr>
          <p:nvPr>
            <p:ph idx="4294967295" hasCustomPrompt="1"/>
          </p:nvPr>
        </p:nvSpPr>
        <p:spPr>
          <a:xfrm>
            <a:off x="359864" y="1124744"/>
            <a:ext cx="11521546" cy="3311810"/>
          </a:xfrm>
        </p:spPr>
        <p:txBody>
          <a:bodyPr numCol="2" spcCol="216000">
            <a:normAutofit/>
          </a:bodyPr>
          <a:lstStyle>
            <a:lvl1pPr rtl="0">
              <a:defRPr/>
            </a:lvl1pPr>
          </a:lstStyle>
          <a:p>
            <a:pPr marL="342900" indent="-342900">
              <a:lnSpc>
                <a:spcPct val="120000"/>
              </a:lnSpc>
              <a:buClr>
                <a:srgbClr val="707F86"/>
              </a:buClr>
              <a:buFont typeface="+mj-lt"/>
              <a:buAutoNum type="arabicParenBoth"/>
            </a:pPr>
            <a:r>
              <a:rPr lang="en-IE"/>
              <a:t>The size of this copy will adapt automatically, depending on how many words you insert or write. If the size of the copy appears too small – rather try editing the text than maximising the size of the text box. </a:t>
            </a:r>
          </a:p>
          <a:p>
            <a:pPr marL="342900" indent="-342900">
              <a:lnSpc>
                <a:spcPct val="120000"/>
              </a:lnSpc>
              <a:buClr>
                <a:srgbClr val="707F86"/>
              </a:buClr>
              <a:buFont typeface="+mj-lt"/>
              <a:buAutoNum type="arabicParenBoth"/>
            </a:pPr>
            <a:r>
              <a:rPr lang="en-IE"/>
              <a:t>In general, it is a good idea just to provide abstracts - this is a screen presentation, and nobody likes to read much text on the screen. </a:t>
            </a:r>
          </a:p>
          <a:p>
            <a:pPr marL="342900" indent="-342900">
              <a:lnSpc>
                <a:spcPct val="120000"/>
              </a:lnSpc>
              <a:buClr>
                <a:srgbClr val="707F86"/>
              </a:buClr>
              <a:buFont typeface="+mj-lt"/>
              <a:buAutoNum type="arabicParenBoth"/>
            </a:pPr>
            <a:endParaRPr lang="en-IE"/>
          </a:p>
          <a:p>
            <a:pPr marL="342900" indent="-342900">
              <a:lnSpc>
                <a:spcPct val="120000"/>
              </a:lnSpc>
              <a:buClr>
                <a:srgbClr val="707F86"/>
              </a:buClr>
              <a:buFont typeface="+mj-lt"/>
              <a:buAutoNum type="arabicParenBoth"/>
            </a:pPr>
            <a:r>
              <a:rPr lang="en-IE"/>
              <a:t>Be aware that there is a significant difference between using only the enter-key and using the combination of enter- and shift-key.</a:t>
            </a:r>
          </a:p>
          <a:p>
            <a:pPr marL="342900" indent="-342900">
              <a:lnSpc>
                <a:spcPct val="120000"/>
              </a:lnSpc>
              <a:buClr>
                <a:srgbClr val="707F86"/>
              </a:buClr>
              <a:buFont typeface="+mj-lt"/>
              <a:buAutoNum type="arabicParenBoth"/>
            </a:pPr>
            <a:r>
              <a:rPr lang="en-IE"/>
              <a:t>In this textbox, using only the enter-key will create a new paragraph, causing a new numeration. </a:t>
            </a:r>
            <a:br>
              <a:rPr lang="en-IE"/>
            </a:br>
            <a:r>
              <a:rPr lang="en-IE"/>
              <a:t>If you only want to start the text in a new line (like this sentence) and keep the numeration, use shift-enter.  </a:t>
            </a:r>
          </a:p>
        </p:txBody>
      </p:sp>
    </p:spTree>
    <p:extLst>
      <p:ext uri="{BB962C8B-B14F-4D97-AF65-F5344CB8AC3E}">
        <p14:creationId xmlns:p14="http://schemas.microsoft.com/office/powerpoint/2010/main" val="3921910106"/>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_ENTSO-E Graph 1">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44CC9E23-1712-5C98-A63C-8B9ECC456EA2}"/>
              </a:ext>
            </a:extLst>
          </p:cNvPr>
          <p:cNvGraphicFramePr>
            <a:graphicFrameLocks noChangeAspect="1"/>
          </p:cNvGraphicFramePr>
          <p:nvPr userDrawn="1">
            <p:custDataLst>
              <p:tags r:id="rId1"/>
            </p:custDataLst>
            <p:extLst>
              <p:ext uri="{D42A27DB-BD31-4B8C-83A1-F6EECF244321}">
                <p14:modId xmlns:p14="http://schemas.microsoft.com/office/powerpoint/2010/main" val="1196565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9" name="Object 28" hidden="1">
                        <a:extLst>
                          <a:ext uri="{FF2B5EF4-FFF2-40B4-BE49-F238E27FC236}">
                            <a16:creationId xmlns:a16="http://schemas.microsoft.com/office/drawing/2014/main" id="{44CC9E23-1712-5C98-A63C-8B9ECC456E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
        <p:nvSpPr>
          <p:cNvPr id="3" name="Inhaltsplatzhalter 1">
            <a:extLst>
              <a:ext uri="{FF2B5EF4-FFF2-40B4-BE49-F238E27FC236}">
                <a16:creationId xmlns:a16="http://schemas.microsoft.com/office/drawing/2014/main" id="{045ED79A-32AA-D64E-AAD5-54B4B9C4DE4E}"/>
              </a:ext>
            </a:extLst>
          </p:cNvPr>
          <p:cNvSpPr>
            <a:spLocks noGrp="1"/>
          </p:cNvSpPr>
          <p:nvPr>
            <p:ph idx="1" hasCustomPrompt="1"/>
          </p:nvPr>
        </p:nvSpPr>
        <p:spPr>
          <a:xfrm>
            <a:off x="397842" y="939341"/>
            <a:ext cx="11506291" cy="4829919"/>
          </a:xfrm>
        </p:spPr>
        <p:txBody>
          <a:bodyPr/>
          <a:lstStyle>
            <a:lvl1pPr rtl="0">
              <a:defRPr>
                <a:solidFill>
                  <a:schemeClr val="tx1">
                    <a:lumMod val="50000"/>
                  </a:schemeClr>
                </a:solidFill>
              </a:defRPr>
            </a:lvl1pPr>
          </a:lstStyle>
          <a:p>
            <a:r>
              <a:rPr lang="en-IE">
                <a:solidFill>
                  <a:srgbClr val="0F218B"/>
                </a:solidFill>
              </a:rPr>
              <a:t>Headline 3 – Edit text here.</a:t>
            </a:r>
            <a:endParaRPr lang="en-IE" i="1">
              <a:solidFill>
                <a:srgbClr val="0F218B"/>
              </a:solidFill>
            </a:endParaRPr>
          </a:p>
        </p:txBody>
      </p:sp>
      <p:grpSp>
        <p:nvGrpSpPr>
          <p:cNvPr id="4" name="Group 3553" title="6-Monats-Zeitleiste Platzhalter">
            <a:extLst>
              <a:ext uri="{FF2B5EF4-FFF2-40B4-BE49-F238E27FC236}">
                <a16:creationId xmlns:a16="http://schemas.microsoft.com/office/drawing/2014/main" id="{104D80E7-590A-6F45-BD68-8611B65301C7}"/>
              </a:ext>
            </a:extLst>
          </p:cNvPr>
          <p:cNvGrpSpPr/>
          <p:nvPr userDrawn="1"/>
        </p:nvGrpSpPr>
        <p:grpSpPr>
          <a:xfrm>
            <a:off x="1811339" y="2381327"/>
            <a:ext cx="8569325" cy="3224119"/>
            <a:chOff x="0" y="359738"/>
            <a:chExt cx="10490200" cy="5139089"/>
          </a:xfrm>
        </p:grpSpPr>
        <p:grpSp>
          <p:nvGrpSpPr>
            <p:cNvPr id="6" name="Group 3530">
              <a:extLst>
                <a:ext uri="{FF2B5EF4-FFF2-40B4-BE49-F238E27FC236}">
                  <a16:creationId xmlns:a16="http://schemas.microsoft.com/office/drawing/2014/main" id="{0F489A34-EB0D-9844-8E5C-68A73CD91E77}"/>
                </a:ext>
              </a:extLst>
            </p:cNvPr>
            <p:cNvGrpSpPr/>
            <p:nvPr/>
          </p:nvGrpSpPr>
          <p:grpSpPr>
            <a:xfrm>
              <a:off x="463551" y="803442"/>
              <a:ext cx="5797974" cy="4695385"/>
              <a:chOff x="545" y="358575"/>
              <a:chExt cx="5797973" cy="4695384"/>
            </a:xfrm>
          </p:grpSpPr>
          <p:sp>
            <p:nvSpPr>
              <p:cNvPr id="15" name="Shape 3525">
                <a:extLst>
                  <a:ext uri="{FF2B5EF4-FFF2-40B4-BE49-F238E27FC236}">
                    <a16:creationId xmlns:a16="http://schemas.microsoft.com/office/drawing/2014/main" id="{A153CEA7-30AE-F849-A6F4-864E0256893E}"/>
                  </a:ext>
                </a:extLst>
              </p:cNvPr>
              <p:cNvSpPr/>
              <p:nvPr/>
            </p:nvSpPr>
            <p:spPr>
              <a:xfrm flipV="1">
                <a:off x="545" y="358575"/>
                <a:ext cx="0" cy="241032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IE" sz="800">
                  <a:latin typeface="Calibri" panose="020F0502020204030204" pitchFamily="34" charset="0"/>
                  <a:cs typeface="Calibri" panose="020F0502020204030204" pitchFamily="34" charset="0"/>
                </a:endParaRPr>
              </a:p>
            </p:txBody>
          </p:sp>
          <p:sp>
            <p:nvSpPr>
              <p:cNvPr id="16" name="Shape 3526">
                <a:extLst>
                  <a:ext uri="{FF2B5EF4-FFF2-40B4-BE49-F238E27FC236}">
                    <a16:creationId xmlns:a16="http://schemas.microsoft.com/office/drawing/2014/main" id="{60C53EF1-C062-D545-8D50-5E5A151EAEF2}"/>
                  </a:ext>
                </a:extLst>
              </p:cNvPr>
              <p:cNvSpPr/>
              <p:nvPr/>
            </p:nvSpPr>
            <p:spPr>
              <a:xfrm flipV="1">
                <a:off x="755773" y="1567594"/>
                <a:ext cx="0" cy="1201303"/>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IE" sz="800">
                  <a:latin typeface="Calibri" panose="020F0502020204030204" pitchFamily="34" charset="0"/>
                  <a:cs typeface="Calibri" panose="020F0502020204030204" pitchFamily="34" charset="0"/>
                </a:endParaRPr>
              </a:p>
            </p:txBody>
          </p:sp>
          <p:sp>
            <p:nvSpPr>
              <p:cNvPr id="17" name="Shape 3527">
                <a:extLst>
                  <a:ext uri="{FF2B5EF4-FFF2-40B4-BE49-F238E27FC236}">
                    <a16:creationId xmlns:a16="http://schemas.microsoft.com/office/drawing/2014/main" id="{13DFF85B-1393-F24D-B481-3D1EF145FDA3}"/>
                  </a:ext>
                </a:extLst>
              </p:cNvPr>
              <p:cNvSpPr/>
              <p:nvPr/>
            </p:nvSpPr>
            <p:spPr>
              <a:xfrm flipV="1">
                <a:off x="5798518" y="721344"/>
                <a:ext cx="0" cy="204755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IE" sz="800">
                  <a:latin typeface="Calibri" panose="020F0502020204030204" pitchFamily="34" charset="0"/>
                  <a:cs typeface="Calibri" panose="020F0502020204030204" pitchFamily="34" charset="0"/>
                </a:endParaRPr>
              </a:p>
            </p:txBody>
          </p:sp>
          <p:sp>
            <p:nvSpPr>
              <p:cNvPr id="18" name="Shape 3528">
                <a:extLst>
                  <a:ext uri="{FF2B5EF4-FFF2-40B4-BE49-F238E27FC236}">
                    <a16:creationId xmlns:a16="http://schemas.microsoft.com/office/drawing/2014/main" id="{DC0087D8-03A9-6944-85A2-0EFC81E8E914}"/>
                  </a:ext>
                </a:extLst>
              </p:cNvPr>
              <p:cNvSpPr/>
              <p:nvPr/>
            </p:nvSpPr>
            <p:spPr>
              <a:xfrm>
                <a:off x="1608725" y="3274911"/>
                <a:ext cx="0" cy="1779048"/>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IE" sz="800">
                  <a:latin typeface="Calibri" panose="020F0502020204030204" pitchFamily="34" charset="0"/>
                  <a:cs typeface="Calibri" panose="020F0502020204030204" pitchFamily="34" charset="0"/>
                </a:endParaRPr>
              </a:p>
            </p:txBody>
          </p:sp>
          <p:sp>
            <p:nvSpPr>
              <p:cNvPr id="19" name="Shape 3529">
                <a:extLst>
                  <a:ext uri="{FF2B5EF4-FFF2-40B4-BE49-F238E27FC236}">
                    <a16:creationId xmlns:a16="http://schemas.microsoft.com/office/drawing/2014/main" id="{DECA1AED-351A-F54C-8939-BE1935F59845}"/>
                  </a:ext>
                </a:extLst>
              </p:cNvPr>
              <p:cNvSpPr/>
              <p:nvPr/>
            </p:nvSpPr>
            <p:spPr>
              <a:xfrm>
                <a:off x="4459938" y="3274911"/>
                <a:ext cx="0" cy="909640"/>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IE" sz="800">
                  <a:latin typeface="Calibri" panose="020F0502020204030204" pitchFamily="34" charset="0"/>
                  <a:cs typeface="Calibri" panose="020F0502020204030204" pitchFamily="34" charset="0"/>
                </a:endParaRPr>
              </a:p>
            </p:txBody>
          </p:sp>
        </p:grpSp>
        <p:grpSp>
          <p:nvGrpSpPr>
            <p:cNvPr id="7" name="Group 3537">
              <a:extLst>
                <a:ext uri="{FF2B5EF4-FFF2-40B4-BE49-F238E27FC236}">
                  <a16:creationId xmlns:a16="http://schemas.microsoft.com/office/drawing/2014/main" id="{A90B8DDB-C27F-1A4D-B381-D7862AAE7931}"/>
                </a:ext>
              </a:extLst>
            </p:cNvPr>
            <p:cNvGrpSpPr/>
            <p:nvPr/>
          </p:nvGrpSpPr>
          <p:grpSpPr>
            <a:xfrm>
              <a:off x="0" y="3216502"/>
              <a:ext cx="10490200" cy="508001"/>
              <a:chOff x="0" y="0"/>
              <a:chExt cx="10490200" cy="508000"/>
            </a:xfrm>
          </p:grpSpPr>
          <p:sp>
            <p:nvSpPr>
              <p:cNvPr id="9" name="Shape 3531">
                <a:extLst>
                  <a:ext uri="{FF2B5EF4-FFF2-40B4-BE49-F238E27FC236}">
                    <a16:creationId xmlns:a16="http://schemas.microsoft.com/office/drawing/2014/main" id="{11C1F5E3-318A-7F41-9327-18EA7D1F2420}"/>
                  </a:ext>
                </a:extLst>
              </p:cNvPr>
              <p:cNvSpPr/>
              <p:nvPr/>
            </p:nvSpPr>
            <p:spPr>
              <a:xfrm>
                <a:off x="1793240" y="0"/>
                <a:ext cx="1524001" cy="508000"/>
              </a:xfrm>
              <a:prstGeom prst="rect">
                <a:avLst/>
              </a:prstGeom>
              <a:solidFill>
                <a:srgbClr val="51A1D2">
                  <a:alpha val="8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IE" sz="1400" cap="none">
                    <a:latin typeface="Calibri" panose="020F0502020204030204" pitchFamily="34" charset="0"/>
                    <a:cs typeface="Calibri" panose="020F0502020204030204" pitchFamily="34" charset="0"/>
                  </a:rPr>
                  <a:t>February</a:t>
                </a:r>
              </a:p>
            </p:txBody>
          </p:sp>
          <p:sp>
            <p:nvSpPr>
              <p:cNvPr id="10" name="Shape 3532">
                <a:extLst>
                  <a:ext uri="{FF2B5EF4-FFF2-40B4-BE49-F238E27FC236}">
                    <a16:creationId xmlns:a16="http://schemas.microsoft.com/office/drawing/2014/main" id="{0CAAF65E-76F6-2A43-B9EB-D5012C50B795}"/>
                  </a:ext>
                </a:extLst>
              </p:cNvPr>
              <p:cNvSpPr/>
              <p:nvPr/>
            </p:nvSpPr>
            <p:spPr>
              <a:xfrm>
                <a:off x="3586479" y="0"/>
                <a:ext cx="1524001" cy="508000"/>
              </a:xfrm>
              <a:prstGeom prst="rect">
                <a:avLst/>
              </a:prstGeom>
              <a:solidFill>
                <a:schemeClr val="accent2"/>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IE" sz="1400" cap="none">
                    <a:latin typeface="Calibri" panose="020F0502020204030204" pitchFamily="34" charset="0"/>
                    <a:cs typeface="Calibri" panose="020F0502020204030204" pitchFamily="34" charset="0"/>
                  </a:rPr>
                  <a:t>March</a:t>
                </a:r>
                <a:endParaRPr lang="en-IE" sz="1400">
                  <a:latin typeface="Calibri" panose="020F0502020204030204" pitchFamily="34" charset="0"/>
                  <a:cs typeface="Calibri" panose="020F0502020204030204" pitchFamily="34" charset="0"/>
                </a:endParaRPr>
              </a:p>
            </p:txBody>
          </p:sp>
          <p:sp>
            <p:nvSpPr>
              <p:cNvPr id="11" name="Shape 3533">
                <a:extLst>
                  <a:ext uri="{FF2B5EF4-FFF2-40B4-BE49-F238E27FC236}">
                    <a16:creationId xmlns:a16="http://schemas.microsoft.com/office/drawing/2014/main" id="{07E0612B-2EE4-D94B-B9D5-7C3647E11828}"/>
                  </a:ext>
                </a:extLst>
              </p:cNvPr>
              <p:cNvSpPr/>
              <p:nvPr/>
            </p:nvSpPr>
            <p:spPr>
              <a:xfrm>
                <a:off x="5379719" y="0"/>
                <a:ext cx="1524001" cy="508000"/>
              </a:xfrm>
              <a:prstGeom prst="rect">
                <a:avLst/>
              </a:prstGeom>
              <a:solidFill>
                <a:schemeClr val="accent3"/>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IE" sz="1400" cap="none">
                    <a:latin typeface="Calibri" panose="020F0502020204030204" pitchFamily="34" charset="0"/>
                    <a:cs typeface="Calibri" panose="020F0502020204030204" pitchFamily="34" charset="0"/>
                  </a:rPr>
                  <a:t>April</a:t>
                </a:r>
              </a:p>
            </p:txBody>
          </p:sp>
          <p:sp>
            <p:nvSpPr>
              <p:cNvPr id="12" name="Shape 3534">
                <a:extLst>
                  <a:ext uri="{FF2B5EF4-FFF2-40B4-BE49-F238E27FC236}">
                    <a16:creationId xmlns:a16="http://schemas.microsoft.com/office/drawing/2014/main" id="{A49F006A-263E-B749-84F7-45EC0200E53B}"/>
                  </a:ext>
                </a:extLst>
              </p:cNvPr>
              <p:cNvSpPr/>
              <p:nvPr/>
            </p:nvSpPr>
            <p:spPr>
              <a:xfrm>
                <a:off x="7172959" y="0"/>
                <a:ext cx="1524001" cy="508000"/>
              </a:xfrm>
              <a:prstGeom prst="rect">
                <a:avLst/>
              </a:prstGeom>
              <a:solidFill>
                <a:srgbClr val="313131">
                  <a:alpha val="8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IE" sz="1400" cap="none">
                    <a:latin typeface="Calibri" panose="020F0502020204030204" pitchFamily="34" charset="0"/>
                    <a:cs typeface="Calibri" panose="020F0502020204030204" pitchFamily="34" charset="0"/>
                  </a:rPr>
                  <a:t>May</a:t>
                </a:r>
              </a:p>
            </p:txBody>
          </p:sp>
          <p:sp>
            <p:nvSpPr>
              <p:cNvPr id="13" name="Shape 3535">
                <a:extLst>
                  <a:ext uri="{FF2B5EF4-FFF2-40B4-BE49-F238E27FC236}">
                    <a16:creationId xmlns:a16="http://schemas.microsoft.com/office/drawing/2014/main" id="{F74572F9-391D-914E-9B18-1442CC5747BA}"/>
                  </a:ext>
                </a:extLst>
              </p:cNvPr>
              <p:cNvSpPr/>
              <p:nvPr/>
            </p:nvSpPr>
            <p:spPr>
              <a:xfrm>
                <a:off x="8966200" y="0"/>
                <a:ext cx="1524000" cy="508000"/>
              </a:xfrm>
              <a:prstGeom prst="rect">
                <a:avLst/>
              </a:prstGeom>
              <a:solidFill>
                <a:srgbClr val="313131">
                  <a:alpha val="6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IE" sz="1400" cap="none">
                    <a:latin typeface="Calibri" panose="020F0502020204030204" pitchFamily="34" charset="0"/>
                    <a:cs typeface="Calibri" panose="020F0502020204030204" pitchFamily="34" charset="0"/>
                  </a:rPr>
                  <a:t>June</a:t>
                </a:r>
              </a:p>
            </p:txBody>
          </p:sp>
          <p:sp>
            <p:nvSpPr>
              <p:cNvPr id="14" name="Shape 3536">
                <a:extLst>
                  <a:ext uri="{FF2B5EF4-FFF2-40B4-BE49-F238E27FC236}">
                    <a16:creationId xmlns:a16="http://schemas.microsoft.com/office/drawing/2014/main" id="{9E60BD2D-E973-D848-94DA-2522289CF023}"/>
                  </a:ext>
                </a:extLst>
              </p:cNvPr>
              <p:cNvSpPr/>
              <p:nvPr/>
            </p:nvSpPr>
            <p:spPr>
              <a:xfrm>
                <a:off x="0" y="0"/>
                <a:ext cx="1524000" cy="508000"/>
              </a:xfrm>
              <a:prstGeom prst="rect">
                <a:avLst/>
              </a:prstGeom>
              <a:solidFill>
                <a:srgbClr val="015092"/>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IE" sz="1400" cap="none">
                    <a:latin typeface="Calibri" panose="020F0502020204030204" pitchFamily="34" charset="0"/>
                    <a:cs typeface="Calibri" panose="020F0502020204030204" pitchFamily="34" charset="0"/>
                  </a:rPr>
                  <a:t>January</a:t>
                </a:r>
                <a:endParaRPr lang="en-IE" sz="1400">
                  <a:latin typeface="Calibri" panose="020F0502020204030204" pitchFamily="34" charset="0"/>
                  <a:cs typeface="Calibri" panose="020F0502020204030204" pitchFamily="34" charset="0"/>
                </a:endParaRPr>
              </a:p>
            </p:txBody>
          </p:sp>
        </p:grpSp>
        <p:sp>
          <p:nvSpPr>
            <p:cNvPr id="8" name="Shape 3538">
              <a:extLst>
                <a:ext uri="{FF2B5EF4-FFF2-40B4-BE49-F238E27FC236}">
                  <a16:creationId xmlns:a16="http://schemas.microsoft.com/office/drawing/2014/main" id="{A6354215-87B2-714D-B863-6578DB1C0933}"/>
                </a:ext>
              </a:extLst>
            </p:cNvPr>
            <p:cNvSpPr/>
            <p:nvPr/>
          </p:nvSpPr>
          <p:spPr>
            <a:xfrm>
              <a:off x="608959" y="359738"/>
              <a:ext cx="493135" cy="88826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05</a:t>
              </a:r>
            </a:p>
          </p:txBody>
        </p:sp>
      </p:grpSp>
      <p:sp>
        <p:nvSpPr>
          <p:cNvPr id="20" name="Shape 3538">
            <a:extLst>
              <a:ext uri="{FF2B5EF4-FFF2-40B4-BE49-F238E27FC236}">
                <a16:creationId xmlns:a16="http://schemas.microsoft.com/office/drawing/2014/main" id="{35FD298D-674A-CC48-8F61-37BFAA2B6DB3}"/>
              </a:ext>
            </a:extLst>
          </p:cNvPr>
          <p:cNvSpPr/>
          <p:nvPr userDrawn="1"/>
        </p:nvSpPr>
        <p:spPr>
          <a:xfrm>
            <a:off x="2920857" y="3136102"/>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24</a:t>
            </a:r>
          </a:p>
        </p:txBody>
      </p:sp>
      <p:sp>
        <p:nvSpPr>
          <p:cNvPr id="21" name="Shape 3538">
            <a:extLst>
              <a:ext uri="{FF2B5EF4-FFF2-40B4-BE49-F238E27FC236}">
                <a16:creationId xmlns:a16="http://schemas.microsoft.com/office/drawing/2014/main" id="{7B384765-BFC7-8A40-914E-EB681AEE534B}"/>
              </a:ext>
            </a:extLst>
          </p:cNvPr>
          <p:cNvSpPr/>
          <p:nvPr userDrawn="1"/>
        </p:nvSpPr>
        <p:spPr>
          <a:xfrm>
            <a:off x="7061317" y="260667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19</a:t>
            </a:r>
          </a:p>
        </p:txBody>
      </p:sp>
      <p:sp>
        <p:nvSpPr>
          <p:cNvPr id="22" name="Shape 3538">
            <a:extLst>
              <a:ext uri="{FF2B5EF4-FFF2-40B4-BE49-F238E27FC236}">
                <a16:creationId xmlns:a16="http://schemas.microsoft.com/office/drawing/2014/main" id="{AE2700E5-E78F-094F-96E0-403DD94E3ECA}"/>
              </a:ext>
            </a:extLst>
          </p:cNvPr>
          <p:cNvSpPr/>
          <p:nvPr userDrawn="1"/>
        </p:nvSpPr>
        <p:spPr>
          <a:xfrm>
            <a:off x="3640937" y="5319539"/>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09</a:t>
            </a:r>
          </a:p>
        </p:txBody>
      </p:sp>
      <p:sp>
        <p:nvSpPr>
          <p:cNvPr id="23" name="Shape 3538">
            <a:extLst>
              <a:ext uri="{FF2B5EF4-FFF2-40B4-BE49-F238E27FC236}">
                <a16:creationId xmlns:a16="http://schemas.microsoft.com/office/drawing/2014/main" id="{D2168131-C3E9-2642-AC6A-FD9DF04C35DF}"/>
              </a:ext>
            </a:extLst>
          </p:cNvPr>
          <p:cNvSpPr/>
          <p:nvPr userDrawn="1"/>
        </p:nvSpPr>
        <p:spPr>
          <a:xfrm>
            <a:off x="5945193" y="4771926"/>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30</a:t>
            </a:r>
          </a:p>
        </p:txBody>
      </p:sp>
      <p:sp>
        <p:nvSpPr>
          <p:cNvPr id="24" name="Shape 3539">
            <a:extLst>
              <a:ext uri="{FF2B5EF4-FFF2-40B4-BE49-F238E27FC236}">
                <a16:creationId xmlns:a16="http://schemas.microsoft.com/office/drawing/2014/main" id="{9070C1F2-9150-574A-80C7-16A9A88CD69A}"/>
              </a:ext>
            </a:extLst>
          </p:cNvPr>
          <p:cNvSpPr/>
          <p:nvPr userDrawn="1"/>
        </p:nvSpPr>
        <p:spPr>
          <a:xfrm>
            <a:off x="2748663" y="2380866"/>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5" name="Shape 3539">
            <a:extLst>
              <a:ext uri="{FF2B5EF4-FFF2-40B4-BE49-F238E27FC236}">
                <a16:creationId xmlns:a16="http://schemas.microsoft.com/office/drawing/2014/main" id="{F165BDCC-DA70-EC46-9626-3AB83AF24553}"/>
              </a:ext>
            </a:extLst>
          </p:cNvPr>
          <p:cNvSpPr/>
          <p:nvPr userDrawn="1"/>
        </p:nvSpPr>
        <p:spPr>
          <a:xfrm>
            <a:off x="7484962" y="2622989"/>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6" name="Shape 3539">
            <a:extLst>
              <a:ext uri="{FF2B5EF4-FFF2-40B4-BE49-F238E27FC236}">
                <a16:creationId xmlns:a16="http://schemas.microsoft.com/office/drawing/2014/main" id="{79E6AE81-3957-014F-ADD0-951A098602AC}"/>
              </a:ext>
            </a:extLst>
          </p:cNvPr>
          <p:cNvSpPr/>
          <p:nvPr userDrawn="1"/>
        </p:nvSpPr>
        <p:spPr>
          <a:xfrm>
            <a:off x="3374198" y="3154499"/>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7" name="Shape 3539">
            <a:extLst>
              <a:ext uri="{FF2B5EF4-FFF2-40B4-BE49-F238E27FC236}">
                <a16:creationId xmlns:a16="http://schemas.microsoft.com/office/drawing/2014/main" id="{4CDDE768-FC4E-754B-8160-BC3805C4D230}"/>
              </a:ext>
            </a:extLst>
          </p:cNvPr>
          <p:cNvSpPr/>
          <p:nvPr userDrawn="1"/>
        </p:nvSpPr>
        <p:spPr>
          <a:xfrm>
            <a:off x="4061660" y="5339645"/>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8" name="Shape 3539">
            <a:extLst>
              <a:ext uri="{FF2B5EF4-FFF2-40B4-BE49-F238E27FC236}">
                <a16:creationId xmlns:a16="http://schemas.microsoft.com/office/drawing/2014/main" id="{FCEA35DC-17D6-1745-9FC7-F6342C85336C}"/>
              </a:ext>
            </a:extLst>
          </p:cNvPr>
          <p:cNvSpPr/>
          <p:nvPr userDrawn="1"/>
        </p:nvSpPr>
        <p:spPr>
          <a:xfrm>
            <a:off x="6359164" y="478191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Tree>
    <p:extLst>
      <p:ext uri="{BB962C8B-B14F-4D97-AF65-F5344CB8AC3E}">
        <p14:creationId xmlns:p14="http://schemas.microsoft.com/office/powerpoint/2010/main" val="3306393061"/>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_ENTSO-E Graph 1">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E6E6B6E6-D392-B037-59F9-0CCFC041AAF8}"/>
              </a:ext>
            </a:extLst>
          </p:cNvPr>
          <p:cNvGraphicFramePr>
            <a:graphicFrameLocks noChangeAspect="1"/>
          </p:cNvGraphicFramePr>
          <p:nvPr userDrawn="1">
            <p:custDataLst>
              <p:tags r:id="rId1"/>
            </p:custDataLst>
            <p:extLst>
              <p:ext uri="{D42A27DB-BD31-4B8C-83A1-F6EECF244321}">
                <p14:modId xmlns:p14="http://schemas.microsoft.com/office/powerpoint/2010/main" val="2718017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9" name="Object 28" hidden="1">
                        <a:extLst>
                          <a:ext uri="{FF2B5EF4-FFF2-40B4-BE49-F238E27FC236}">
                            <a16:creationId xmlns:a16="http://schemas.microsoft.com/office/drawing/2014/main" id="{E6E6B6E6-D392-B037-59F9-0CCFC041AA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grpSp>
        <p:nvGrpSpPr>
          <p:cNvPr id="3" name="Group 3911" title="Jahres Zeitleiste Platzhalter">
            <a:extLst>
              <a:ext uri="{FF2B5EF4-FFF2-40B4-BE49-F238E27FC236}">
                <a16:creationId xmlns:a16="http://schemas.microsoft.com/office/drawing/2014/main" id="{C9AF7415-8D2A-C940-B919-D2896ED2CC76}"/>
              </a:ext>
            </a:extLst>
          </p:cNvPr>
          <p:cNvGrpSpPr/>
          <p:nvPr userDrawn="1"/>
        </p:nvGrpSpPr>
        <p:grpSpPr>
          <a:xfrm>
            <a:off x="1811524" y="2655243"/>
            <a:ext cx="7397880" cy="2749280"/>
            <a:chOff x="93735" y="581934"/>
            <a:chExt cx="10577686" cy="3930994"/>
          </a:xfrm>
        </p:grpSpPr>
        <p:grpSp>
          <p:nvGrpSpPr>
            <p:cNvPr id="4" name="Group 3892">
              <a:extLst>
                <a:ext uri="{FF2B5EF4-FFF2-40B4-BE49-F238E27FC236}">
                  <a16:creationId xmlns:a16="http://schemas.microsoft.com/office/drawing/2014/main" id="{BF9A743B-F676-5541-B47D-C0037A53680B}"/>
                </a:ext>
              </a:extLst>
            </p:cNvPr>
            <p:cNvGrpSpPr/>
            <p:nvPr/>
          </p:nvGrpSpPr>
          <p:grpSpPr>
            <a:xfrm>
              <a:off x="636627" y="581934"/>
              <a:ext cx="10034794" cy="3930994"/>
              <a:chOff x="6131" y="477113"/>
              <a:chExt cx="10034793" cy="3930992"/>
            </a:xfrm>
          </p:grpSpPr>
          <p:sp>
            <p:nvSpPr>
              <p:cNvPr id="7" name="Shape 3882">
                <a:extLst>
                  <a:ext uri="{FF2B5EF4-FFF2-40B4-BE49-F238E27FC236}">
                    <a16:creationId xmlns:a16="http://schemas.microsoft.com/office/drawing/2014/main" id="{FB374AB2-ACB5-F24F-8D5D-4E70071227EE}"/>
                  </a:ext>
                </a:extLst>
              </p:cNvPr>
              <p:cNvSpPr/>
              <p:nvPr/>
            </p:nvSpPr>
            <p:spPr>
              <a:xfrm flipV="1">
                <a:off x="4975193" y="477113"/>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8" name="Shape 3883">
                <a:extLst>
                  <a:ext uri="{FF2B5EF4-FFF2-40B4-BE49-F238E27FC236}">
                    <a16:creationId xmlns:a16="http://schemas.microsoft.com/office/drawing/2014/main" id="{EA1CE728-B269-1C4E-9B54-82A102A50404}"/>
                  </a:ext>
                </a:extLst>
              </p:cNvPr>
              <p:cNvSpPr/>
              <p:nvPr/>
            </p:nvSpPr>
            <p:spPr>
              <a:xfrm flipV="1">
                <a:off x="6131" y="477113"/>
                <a:ext cx="1" cy="1940560"/>
              </a:xfrm>
              <a:prstGeom prst="line">
                <a:avLst/>
              </a:prstGeom>
              <a:solidFill>
                <a:srgbClr val="015092"/>
              </a:solidFill>
              <a:ln w="63500" cap="flat">
                <a:solidFill>
                  <a:srgbClr val="015092"/>
                </a:solidFill>
                <a:prstDash val="solid"/>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9" name="Shape 3884">
                <a:extLst>
                  <a:ext uri="{FF2B5EF4-FFF2-40B4-BE49-F238E27FC236}">
                    <a16:creationId xmlns:a16="http://schemas.microsoft.com/office/drawing/2014/main" id="{7F9696C5-6EFA-3F44-ACCC-A640A163B09E}"/>
                  </a:ext>
                </a:extLst>
              </p:cNvPr>
              <p:cNvSpPr/>
              <p:nvPr/>
            </p:nvSpPr>
            <p:spPr>
              <a:xfrm>
                <a:off x="38737" y="2461556"/>
                <a:ext cx="9911442" cy="0"/>
              </a:xfrm>
              <a:prstGeom prst="line">
                <a:avLst/>
              </a:prstGeom>
              <a:noFill/>
              <a:ln w="63500" cap="flat">
                <a:solidFill>
                  <a:srgbClr val="313131">
                    <a:alpha val="80000"/>
                  </a:srgbClr>
                </a:solidFill>
                <a:prstDash val="solid"/>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10" name="Shape 3886">
                <a:extLst>
                  <a:ext uri="{FF2B5EF4-FFF2-40B4-BE49-F238E27FC236}">
                    <a16:creationId xmlns:a16="http://schemas.microsoft.com/office/drawing/2014/main" id="{9F291BB0-5EAA-9348-8F11-398FB22080F8}"/>
                  </a:ext>
                </a:extLst>
              </p:cNvPr>
              <p:cNvSpPr/>
              <p:nvPr/>
            </p:nvSpPr>
            <p:spPr>
              <a:xfrm>
                <a:off x="9850422" y="2364572"/>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11" name="Shape 3887">
                <a:extLst>
                  <a:ext uri="{FF2B5EF4-FFF2-40B4-BE49-F238E27FC236}">
                    <a16:creationId xmlns:a16="http://schemas.microsoft.com/office/drawing/2014/main" id="{BCE477E8-F7BD-0F42-9589-05CBDFAAB18A}"/>
                  </a:ext>
                </a:extLst>
              </p:cNvPr>
              <p:cNvSpPr/>
              <p:nvPr/>
            </p:nvSpPr>
            <p:spPr>
              <a:xfrm>
                <a:off x="2411544" y="2368317"/>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12" name="Shape 3888">
                <a:extLst>
                  <a:ext uri="{FF2B5EF4-FFF2-40B4-BE49-F238E27FC236}">
                    <a16:creationId xmlns:a16="http://schemas.microsoft.com/office/drawing/2014/main" id="{7429753A-3C9E-B84B-BE29-D4FB586DA37E}"/>
                  </a:ext>
                </a:extLst>
              </p:cNvPr>
              <p:cNvSpPr/>
              <p:nvPr/>
            </p:nvSpPr>
            <p:spPr>
              <a:xfrm>
                <a:off x="4883584" y="2368318"/>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13" name="Shape 3889">
                <a:extLst>
                  <a:ext uri="{FF2B5EF4-FFF2-40B4-BE49-F238E27FC236}">
                    <a16:creationId xmlns:a16="http://schemas.microsoft.com/office/drawing/2014/main" id="{01F5BD46-1837-2445-81BC-19FA29B81F17}"/>
                  </a:ext>
                </a:extLst>
              </p:cNvPr>
              <p:cNvSpPr/>
              <p:nvPr/>
            </p:nvSpPr>
            <p:spPr>
              <a:xfrm>
                <a:off x="7368877" y="2368318"/>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14" name="Shape 3890">
                <a:extLst>
                  <a:ext uri="{FF2B5EF4-FFF2-40B4-BE49-F238E27FC236}">
                    <a16:creationId xmlns:a16="http://schemas.microsoft.com/office/drawing/2014/main" id="{38B19469-B9A6-8940-8470-7A36199769F8}"/>
                  </a:ext>
                </a:extLst>
              </p:cNvPr>
              <p:cNvSpPr/>
              <p:nvPr/>
            </p:nvSpPr>
            <p:spPr>
              <a:xfrm flipV="1">
                <a:off x="7451364" y="2463799"/>
                <a:ext cx="1" cy="1940560"/>
              </a:xfrm>
              <a:prstGeom prst="line">
                <a:avLst/>
              </a:prstGeom>
              <a:noFill/>
              <a:ln w="63500" cap="flat">
                <a:solidFill>
                  <a:srgbClr val="313131">
                    <a:alpha val="60000"/>
                  </a:srgbClr>
                </a:solidFill>
                <a:prstDash val="solid"/>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15" name="Shape 3891">
                <a:extLst>
                  <a:ext uri="{FF2B5EF4-FFF2-40B4-BE49-F238E27FC236}">
                    <a16:creationId xmlns:a16="http://schemas.microsoft.com/office/drawing/2014/main" id="{117DD6A9-A883-E544-9621-C8501B30B3B4}"/>
                  </a:ext>
                </a:extLst>
              </p:cNvPr>
              <p:cNvSpPr/>
              <p:nvPr/>
            </p:nvSpPr>
            <p:spPr>
              <a:xfrm flipV="1">
                <a:off x="2498616" y="2467545"/>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grpSp>
        <p:sp>
          <p:nvSpPr>
            <p:cNvPr id="6" name="Shape 3904">
              <a:extLst>
                <a:ext uri="{FF2B5EF4-FFF2-40B4-BE49-F238E27FC236}">
                  <a16:creationId xmlns:a16="http://schemas.microsoft.com/office/drawing/2014/main" id="{97E1DA5A-D2AC-CD4A-94FA-4070AD6EB5B4}"/>
                </a:ext>
              </a:extLst>
            </p:cNvPr>
            <p:cNvSpPr/>
            <p:nvPr/>
          </p:nvSpPr>
          <p:spPr>
            <a:xfrm>
              <a:off x="93735" y="1997149"/>
              <a:ext cx="1116503" cy="1116503"/>
            </a:xfrm>
            <a:prstGeom prst="ellipse">
              <a:avLst/>
            </a:prstGeom>
            <a:solidFill>
              <a:srgbClr val="015092"/>
            </a:solidFill>
            <a:ln w="12700" cap="flat">
              <a:solidFill>
                <a:srgbClr val="015092"/>
              </a:solid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algn="ctr" rtl="0"/>
              <a:r>
                <a:rPr lang="en-IE" sz="1400" b="1">
                  <a:latin typeface="Calibri" panose="020F0502020204030204" pitchFamily="34" charset="0"/>
                  <a:cs typeface="Calibri" panose="020F0502020204030204" pitchFamily="34" charset="0"/>
                </a:rPr>
                <a:t>Start</a:t>
              </a:r>
            </a:p>
          </p:txBody>
        </p:sp>
      </p:grpSp>
      <p:sp>
        <p:nvSpPr>
          <p:cNvPr id="16" name="Shape 3899">
            <a:extLst>
              <a:ext uri="{FF2B5EF4-FFF2-40B4-BE49-F238E27FC236}">
                <a16:creationId xmlns:a16="http://schemas.microsoft.com/office/drawing/2014/main" id="{1C04B757-37FD-8344-9AF0-04B08289508A}"/>
              </a:ext>
            </a:extLst>
          </p:cNvPr>
          <p:cNvSpPr/>
          <p:nvPr userDrawn="1"/>
        </p:nvSpPr>
        <p:spPr>
          <a:xfrm>
            <a:off x="5500456" y="4177891"/>
            <a:ext cx="555807"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rtl="0"/>
            <a:r>
              <a:rPr lang="en-IE" sz="1400" b="1">
                <a:solidFill>
                  <a:srgbClr val="313131"/>
                </a:solidFill>
                <a:latin typeface="Calibri" panose="020F0502020204030204" pitchFamily="34" charset="0"/>
                <a:cs typeface="Calibri" panose="020F0502020204030204" pitchFamily="34" charset="0"/>
              </a:rPr>
              <a:t>2019</a:t>
            </a:r>
          </a:p>
        </p:txBody>
      </p:sp>
      <p:sp>
        <p:nvSpPr>
          <p:cNvPr id="17" name="Shape 3899">
            <a:extLst>
              <a:ext uri="{FF2B5EF4-FFF2-40B4-BE49-F238E27FC236}">
                <a16:creationId xmlns:a16="http://schemas.microsoft.com/office/drawing/2014/main" id="{68276EE8-CA57-2346-9CCF-A025AFF6855B}"/>
              </a:ext>
            </a:extLst>
          </p:cNvPr>
          <p:cNvSpPr/>
          <p:nvPr userDrawn="1"/>
        </p:nvSpPr>
        <p:spPr>
          <a:xfrm>
            <a:off x="8958826" y="4177891"/>
            <a:ext cx="488973"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rtl="0"/>
            <a:r>
              <a:rPr lang="en-IE" sz="1400" b="1">
                <a:solidFill>
                  <a:srgbClr val="313131"/>
                </a:solidFill>
                <a:latin typeface="Calibri" panose="020F0502020204030204" pitchFamily="34" charset="0"/>
                <a:cs typeface="Calibri" panose="020F0502020204030204" pitchFamily="34" charset="0"/>
              </a:rPr>
              <a:t>2021</a:t>
            </a:r>
          </a:p>
        </p:txBody>
      </p:sp>
      <p:sp>
        <p:nvSpPr>
          <p:cNvPr id="18" name="Shape 3899">
            <a:extLst>
              <a:ext uri="{FF2B5EF4-FFF2-40B4-BE49-F238E27FC236}">
                <a16:creationId xmlns:a16="http://schemas.microsoft.com/office/drawing/2014/main" id="{23DE72D4-878E-2144-A9D3-A42389C2E721}"/>
              </a:ext>
            </a:extLst>
          </p:cNvPr>
          <p:cNvSpPr/>
          <p:nvPr userDrawn="1"/>
        </p:nvSpPr>
        <p:spPr>
          <a:xfrm>
            <a:off x="3746385" y="3735364"/>
            <a:ext cx="549411"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rtl="0"/>
            <a:r>
              <a:rPr lang="en-IE" sz="1400" b="1">
                <a:solidFill>
                  <a:srgbClr val="313131"/>
                </a:solidFill>
                <a:latin typeface="Calibri" panose="020F0502020204030204" pitchFamily="34" charset="0"/>
                <a:cs typeface="Calibri" panose="020F0502020204030204" pitchFamily="34" charset="0"/>
              </a:rPr>
              <a:t>2018</a:t>
            </a:r>
          </a:p>
        </p:txBody>
      </p:sp>
      <p:sp>
        <p:nvSpPr>
          <p:cNvPr id="19" name="Shape 3899">
            <a:extLst>
              <a:ext uri="{FF2B5EF4-FFF2-40B4-BE49-F238E27FC236}">
                <a16:creationId xmlns:a16="http://schemas.microsoft.com/office/drawing/2014/main" id="{6FE0A369-2E74-4C41-9332-CEA1A3F8CAA5}"/>
              </a:ext>
            </a:extLst>
          </p:cNvPr>
          <p:cNvSpPr/>
          <p:nvPr userDrawn="1"/>
        </p:nvSpPr>
        <p:spPr>
          <a:xfrm>
            <a:off x="7204755" y="3735364"/>
            <a:ext cx="566327"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rtl="0"/>
            <a:r>
              <a:rPr lang="en-IE" sz="1400" b="1">
                <a:solidFill>
                  <a:srgbClr val="313131"/>
                </a:solidFill>
                <a:latin typeface="Calibri" panose="020F0502020204030204" pitchFamily="34" charset="0"/>
                <a:cs typeface="Calibri" panose="020F0502020204030204" pitchFamily="34" charset="0"/>
              </a:rPr>
              <a:t>2020</a:t>
            </a:r>
          </a:p>
        </p:txBody>
      </p:sp>
      <p:sp>
        <p:nvSpPr>
          <p:cNvPr id="20" name="Shape 3538">
            <a:extLst>
              <a:ext uri="{FF2B5EF4-FFF2-40B4-BE49-F238E27FC236}">
                <a16:creationId xmlns:a16="http://schemas.microsoft.com/office/drawing/2014/main" id="{6218F089-DA01-8A49-B7EB-18202B0E694E}"/>
              </a:ext>
            </a:extLst>
          </p:cNvPr>
          <p:cNvSpPr/>
          <p:nvPr userDrawn="1"/>
        </p:nvSpPr>
        <p:spPr>
          <a:xfrm>
            <a:off x="5819509" y="2475684"/>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11</a:t>
            </a:r>
          </a:p>
        </p:txBody>
      </p:sp>
      <p:sp>
        <p:nvSpPr>
          <p:cNvPr id="21" name="Shape 3538">
            <a:extLst>
              <a:ext uri="{FF2B5EF4-FFF2-40B4-BE49-F238E27FC236}">
                <a16:creationId xmlns:a16="http://schemas.microsoft.com/office/drawing/2014/main" id="{3ACB3470-0EB9-4B42-869A-F6D9D2389C11}"/>
              </a:ext>
            </a:extLst>
          </p:cNvPr>
          <p:cNvSpPr/>
          <p:nvPr userDrawn="1"/>
        </p:nvSpPr>
        <p:spPr>
          <a:xfrm>
            <a:off x="4055313" y="510351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09</a:t>
            </a:r>
          </a:p>
        </p:txBody>
      </p:sp>
      <p:sp>
        <p:nvSpPr>
          <p:cNvPr id="22" name="Shape 3538">
            <a:extLst>
              <a:ext uri="{FF2B5EF4-FFF2-40B4-BE49-F238E27FC236}">
                <a16:creationId xmlns:a16="http://schemas.microsoft.com/office/drawing/2014/main" id="{BD2E93CF-7EB0-1D44-8FE8-B42CB15F1E38}"/>
              </a:ext>
            </a:extLst>
          </p:cNvPr>
          <p:cNvSpPr/>
          <p:nvPr userDrawn="1"/>
        </p:nvSpPr>
        <p:spPr>
          <a:xfrm>
            <a:off x="7547701" y="510351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12</a:t>
            </a:r>
          </a:p>
        </p:txBody>
      </p:sp>
      <p:sp>
        <p:nvSpPr>
          <p:cNvPr id="23" name="Shape 3538">
            <a:extLst>
              <a:ext uri="{FF2B5EF4-FFF2-40B4-BE49-F238E27FC236}">
                <a16:creationId xmlns:a16="http://schemas.microsoft.com/office/drawing/2014/main" id="{1CA058CB-FB2E-7B41-9FC5-4261D2748707}"/>
              </a:ext>
            </a:extLst>
          </p:cNvPr>
          <p:cNvSpPr/>
          <p:nvPr userDrawn="1"/>
        </p:nvSpPr>
        <p:spPr>
          <a:xfrm>
            <a:off x="2308791" y="2475684"/>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05</a:t>
            </a:r>
          </a:p>
        </p:txBody>
      </p:sp>
      <p:sp>
        <p:nvSpPr>
          <p:cNvPr id="24" name="Shape 3539">
            <a:extLst>
              <a:ext uri="{FF2B5EF4-FFF2-40B4-BE49-F238E27FC236}">
                <a16:creationId xmlns:a16="http://schemas.microsoft.com/office/drawing/2014/main" id="{9FFAAAAB-BD81-254B-BB85-D3B92CADBECE}"/>
              </a:ext>
            </a:extLst>
          </p:cNvPr>
          <p:cNvSpPr/>
          <p:nvPr userDrawn="1"/>
        </p:nvSpPr>
        <p:spPr>
          <a:xfrm>
            <a:off x="2727791" y="2465838"/>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5" name="Inhaltsplatzhalter 1">
            <a:extLst>
              <a:ext uri="{FF2B5EF4-FFF2-40B4-BE49-F238E27FC236}">
                <a16:creationId xmlns:a16="http://schemas.microsoft.com/office/drawing/2014/main" id="{A948F616-4F52-274D-9802-62F7B100D2E0}"/>
              </a:ext>
            </a:extLst>
          </p:cNvPr>
          <p:cNvSpPr>
            <a:spLocks noGrp="1"/>
          </p:cNvSpPr>
          <p:nvPr>
            <p:ph idx="1" hasCustomPrompt="1"/>
          </p:nvPr>
        </p:nvSpPr>
        <p:spPr>
          <a:xfrm>
            <a:off x="383051" y="801295"/>
            <a:ext cx="11617325" cy="698184"/>
          </a:xfrm>
        </p:spPr>
        <p:txBody>
          <a:bodyPr>
            <a:normAutofit/>
          </a:bodyPr>
          <a:lstStyle>
            <a:lvl1pPr rtl="0">
              <a:defRPr/>
            </a:lvl1pPr>
          </a:lstStyle>
          <a:p>
            <a:r>
              <a:rPr lang="en-IE" b="1">
                <a:solidFill>
                  <a:srgbClr val="0F218B"/>
                </a:solidFill>
              </a:rPr>
              <a:t>Headline 3 – Edit text here.</a:t>
            </a:r>
            <a:endParaRPr lang="en-IE" b="1" i="1">
              <a:solidFill>
                <a:srgbClr val="0F218B"/>
              </a:solidFill>
            </a:endParaRPr>
          </a:p>
        </p:txBody>
      </p:sp>
      <p:sp>
        <p:nvSpPr>
          <p:cNvPr id="26" name="Shape 3539">
            <a:extLst>
              <a:ext uri="{FF2B5EF4-FFF2-40B4-BE49-F238E27FC236}">
                <a16:creationId xmlns:a16="http://schemas.microsoft.com/office/drawing/2014/main" id="{32B242B5-D413-7245-BEA1-FE249884F79E}"/>
              </a:ext>
            </a:extLst>
          </p:cNvPr>
          <p:cNvSpPr/>
          <p:nvPr userDrawn="1"/>
        </p:nvSpPr>
        <p:spPr>
          <a:xfrm>
            <a:off x="6188917" y="244375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7" name="Shape 3539">
            <a:extLst>
              <a:ext uri="{FF2B5EF4-FFF2-40B4-BE49-F238E27FC236}">
                <a16:creationId xmlns:a16="http://schemas.microsoft.com/office/drawing/2014/main" id="{44E594EA-C5DC-8D44-884B-A44AA0741311}"/>
              </a:ext>
            </a:extLst>
          </p:cNvPr>
          <p:cNvSpPr/>
          <p:nvPr userDrawn="1"/>
        </p:nvSpPr>
        <p:spPr>
          <a:xfrm>
            <a:off x="4501613" y="513437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8" name="Shape 3539">
            <a:extLst>
              <a:ext uri="{FF2B5EF4-FFF2-40B4-BE49-F238E27FC236}">
                <a16:creationId xmlns:a16="http://schemas.microsoft.com/office/drawing/2014/main" id="{6F33F5F3-AC6F-7047-9582-A2C841E188AD}"/>
              </a:ext>
            </a:extLst>
          </p:cNvPr>
          <p:cNvSpPr/>
          <p:nvPr userDrawn="1"/>
        </p:nvSpPr>
        <p:spPr>
          <a:xfrm>
            <a:off x="7962739" y="5112286"/>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Tree>
    <p:extLst>
      <p:ext uri="{BB962C8B-B14F-4D97-AF65-F5344CB8AC3E}">
        <p14:creationId xmlns:p14="http://schemas.microsoft.com/office/powerpoint/2010/main" val="2214612694"/>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_ENTSO-E Graph 1">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FEB7A2A-75B9-62C4-D3DE-00A41ADEE7ED}"/>
              </a:ext>
            </a:extLst>
          </p:cNvPr>
          <p:cNvGraphicFramePr>
            <a:graphicFrameLocks noChangeAspect="1"/>
          </p:cNvGraphicFramePr>
          <p:nvPr userDrawn="1">
            <p:custDataLst>
              <p:tags r:id="rId1"/>
            </p:custDataLst>
            <p:extLst>
              <p:ext uri="{D42A27DB-BD31-4B8C-83A1-F6EECF244321}">
                <p14:modId xmlns:p14="http://schemas.microsoft.com/office/powerpoint/2010/main" val="2958869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6" name="Object 5" hidden="1">
                        <a:extLst>
                          <a:ext uri="{FF2B5EF4-FFF2-40B4-BE49-F238E27FC236}">
                            <a16:creationId xmlns:a16="http://schemas.microsoft.com/office/drawing/2014/main" id="{9FEB7A2A-75B9-62C4-D3DE-00A41ADEE7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
        <p:nvSpPr>
          <p:cNvPr id="3" name="Inhaltsplatzhalter 10">
            <a:extLst>
              <a:ext uri="{FF2B5EF4-FFF2-40B4-BE49-F238E27FC236}">
                <a16:creationId xmlns:a16="http://schemas.microsoft.com/office/drawing/2014/main" id="{E54CE07E-D134-8945-B928-3A2AD7482FB9}"/>
              </a:ext>
            </a:extLst>
          </p:cNvPr>
          <p:cNvSpPr>
            <a:spLocks noGrp="1"/>
          </p:cNvSpPr>
          <p:nvPr>
            <p:ph idx="1" hasCustomPrompt="1"/>
          </p:nvPr>
        </p:nvSpPr>
        <p:spPr>
          <a:xfrm>
            <a:off x="388159" y="820513"/>
            <a:ext cx="11606646" cy="698594"/>
          </a:xfrm>
        </p:spPr>
        <p:txBody>
          <a:bodyPr>
            <a:normAutofit/>
          </a:bodyPr>
          <a:lstStyle>
            <a:lvl1pPr rtl="0">
              <a:defRPr/>
            </a:lvl1pPr>
          </a:lstStyle>
          <a:p>
            <a:r>
              <a:rPr lang="en-IE">
                <a:solidFill>
                  <a:srgbClr val="0F218B"/>
                </a:solidFill>
              </a:rPr>
              <a:t>Headline 3 – These SmartArt charts can be edited directly by clicking in the elements, then on SmartArt-Tools</a:t>
            </a:r>
          </a:p>
        </p:txBody>
      </p:sp>
      <p:graphicFrame>
        <p:nvGraphicFramePr>
          <p:cNvPr id="4" name="Diagramm 4" title="SmartArt-Grafik Platzhalter">
            <a:extLst>
              <a:ext uri="{FF2B5EF4-FFF2-40B4-BE49-F238E27FC236}">
                <a16:creationId xmlns:a16="http://schemas.microsoft.com/office/drawing/2014/main" id="{3D20D492-DCEB-1548-9F8A-4D5C573DEF13}"/>
              </a:ext>
            </a:extLst>
          </p:cNvPr>
          <p:cNvGraphicFramePr/>
          <p:nvPr userDrawn="1">
            <p:extLst>
              <p:ext uri="{D42A27DB-BD31-4B8C-83A1-F6EECF244321}">
                <p14:modId xmlns:p14="http://schemas.microsoft.com/office/powerpoint/2010/main" val="3857082432"/>
              </p:ext>
            </p:extLst>
          </p:nvPr>
        </p:nvGraphicFramePr>
        <p:xfrm>
          <a:off x="382588" y="2384884"/>
          <a:ext cx="11522075" cy="305985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3555843096"/>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9_ENTSO-E Thank you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4A1201-4071-E78E-3B2B-1703B49F8014}"/>
              </a:ext>
            </a:extLst>
          </p:cNvPr>
          <p:cNvGraphicFramePr>
            <a:graphicFrameLocks noChangeAspect="1"/>
          </p:cNvGraphicFramePr>
          <p:nvPr userDrawn="1">
            <p:custDataLst>
              <p:tags r:id="rId1"/>
            </p:custDataLst>
            <p:extLst>
              <p:ext uri="{D42A27DB-BD31-4B8C-83A1-F6EECF244321}">
                <p14:modId xmlns:p14="http://schemas.microsoft.com/office/powerpoint/2010/main" val="933032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104A1201-4071-E78E-3B2B-1703B49F80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495600" y="2780928"/>
            <a:ext cx="11617788" cy="936104"/>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Thank you very much for your attention </a:t>
            </a:r>
          </a:p>
        </p:txBody>
      </p:sp>
    </p:spTree>
    <p:extLst>
      <p:ext uri="{BB962C8B-B14F-4D97-AF65-F5344CB8AC3E}">
        <p14:creationId xmlns:p14="http://schemas.microsoft.com/office/powerpoint/2010/main" val="2434894939"/>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0_ENTSO-E Thank you slide_valu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422F04E-7072-09CB-8C2A-5B76D4F70A14}"/>
              </a:ext>
            </a:extLst>
          </p:cNvPr>
          <p:cNvGraphicFramePr>
            <a:graphicFrameLocks noChangeAspect="1"/>
          </p:cNvGraphicFramePr>
          <p:nvPr userDrawn="1">
            <p:custDataLst>
              <p:tags r:id="rId1"/>
            </p:custDataLst>
            <p:extLst>
              <p:ext uri="{D42A27DB-BD31-4B8C-83A1-F6EECF244321}">
                <p14:modId xmlns:p14="http://schemas.microsoft.com/office/powerpoint/2010/main" val="3979043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8" name="Object 7" hidden="1">
                        <a:extLst>
                          <a:ext uri="{FF2B5EF4-FFF2-40B4-BE49-F238E27FC236}">
                            <a16:creationId xmlns:a16="http://schemas.microsoft.com/office/drawing/2014/main" id="{2422F04E-7072-09CB-8C2A-5B76D4F70A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382588" y="134634"/>
            <a:ext cx="11426825" cy="936104"/>
          </a:xfrm>
          <a:prstGeom prst="rect">
            <a:avLst/>
          </a:prstGeom>
          <a:ln>
            <a:noFill/>
          </a:ln>
        </p:spPr>
        <p:txBody>
          <a:bodyPr vert="horz" anchor="ctr"/>
          <a:lstStyle>
            <a:lvl1pPr algn="ct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Thank you very much for your attention </a:t>
            </a:r>
          </a:p>
        </p:txBody>
      </p:sp>
      <p:sp>
        <p:nvSpPr>
          <p:cNvPr id="3" name="Title 1">
            <a:extLst>
              <a:ext uri="{FF2B5EF4-FFF2-40B4-BE49-F238E27FC236}">
                <a16:creationId xmlns:a16="http://schemas.microsoft.com/office/drawing/2014/main" id="{8D053C00-E906-E444-8E28-BAE1FF9E76D0}"/>
              </a:ext>
            </a:extLst>
          </p:cNvPr>
          <p:cNvSpPr txBox="1">
            <a:spLocks/>
          </p:cNvSpPr>
          <p:nvPr userDrawn="1"/>
        </p:nvSpPr>
        <p:spPr>
          <a:xfrm>
            <a:off x="382587" y="1186850"/>
            <a:ext cx="11426825" cy="6318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800" b="0">
                <a:solidFill>
                  <a:schemeClr val="tx1">
                    <a:lumMod val="50000"/>
                  </a:schemeClr>
                </a:solidFill>
                <a:effectLst/>
                <a:latin typeface="Calibri" panose="020F0502020204030204" pitchFamily="34" charset="0"/>
                <a:cs typeface="Calibri" panose="020F0502020204030204" pitchFamily="34" charset="0"/>
              </a:rPr>
              <a:t>Our values define who we are, what we stand for and how we behave.</a:t>
            </a:r>
          </a:p>
          <a:p>
            <a:pPr algn="ctr" rtl="0"/>
            <a:r>
              <a:rPr lang="en-IE" sz="1800" b="0">
                <a:solidFill>
                  <a:schemeClr val="tx1">
                    <a:lumMod val="50000"/>
                  </a:schemeClr>
                </a:solidFill>
                <a:effectLst/>
                <a:latin typeface="Calibri" panose="020F0502020204030204" pitchFamily="34" charset="0"/>
                <a:cs typeface="Calibri" panose="020F0502020204030204" pitchFamily="34" charset="0"/>
              </a:rPr>
              <a:t>We all play a part in bringing them to life</a:t>
            </a:r>
            <a:r>
              <a:rPr lang="en-IE" sz="2000" b="0">
                <a:solidFill>
                  <a:schemeClr val="tx1">
                    <a:lumMod val="50000"/>
                  </a:schemeClr>
                </a:solidFill>
                <a:effectLst/>
                <a:latin typeface="Calibri" panose="020F0502020204030204" pitchFamily="34" charset="0"/>
                <a:cs typeface="Calibri" panose="020F0502020204030204" pitchFamily="34" charset="0"/>
              </a:rPr>
              <a:t>.</a:t>
            </a:r>
          </a:p>
          <a:p>
            <a:pPr algn="ctr" rtl="0"/>
            <a:r>
              <a:rPr lang="en-IE" sz="2000" b="0">
                <a:solidFill>
                  <a:schemeClr val="tx1">
                    <a:lumMod val="50000"/>
                  </a:schemeClr>
                </a:solidFill>
                <a:effectLst/>
                <a:latin typeface="Calibri" panose="020F0502020204030204" pitchFamily="34" charset="0"/>
                <a:cs typeface="Calibri" panose="020F0502020204030204" pitchFamily="34" charset="0"/>
              </a:rPr>
              <a:t> </a:t>
            </a:r>
            <a:endParaRPr lang="en-IE" sz="1050" b="0">
              <a:solidFill>
                <a:schemeClr val="tx1">
                  <a:lumMod val="50000"/>
                </a:schemeClr>
              </a:solidFill>
              <a:effectLst/>
              <a:latin typeface="Calibri" panose="020F0502020204030204" pitchFamily="34" charset="0"/>
              <a:cs typeface="Calibri" panose="020F0502020204030204" pitchFamily="34" charset="0"/>
            </a:endParaRPr>
          </a:p>
        </p:txBody>
      </p:sp>
      <p:sp>
        <p:nvSpPr>
          <p:cNvPr id="5" name="Titel 5">
            <a:extLst>
              <a:ext uri="{FF2B5EF4-FFF2-40B4-BE49-F238E27FC236}">
                <a16:creationId xmlns:a16="http://schemas.microsoft.com/office/drawing/2014/main" id="{7550E8E7-BAB3-40B9-AB4C-F3ABA9592AFF}"/>
              </a:ext>
            </a:extLst>
          </p:cNvPr>
          <p:cNvSpPr txBox="1">
            <a:spLocks/>
          </p:cNvSpPr>
          <p:nvPr userDrawn="1"/>
        </p:nvSpPr>
        <p:spPr>
          <a:xfrm>
            <a:off x="286875" y="5533432"/>
            <a:ext cx="11617788" cy="631871"/>
          </a:xfrm>
          <a:prstGeom prst="rect">
            <a:avLst/>
          </a:prstGeom>
          <a:ln>
            <a:noFill/>
          </a:ln>
        </p:spPr>
        <p:txBody>
          <a:bodyPr anchor="ctr"/>
          <a:lstStyle>
            <a:lvl1pPr algn="ctr" defTabSz="914400" rtl="0" eaLnBrk="1" latinLnBrk="0" hangingPunct="1">
              <a:lnSpc>
                <a:spcPts val="3200"/>
              </a:lnSpc>
              <a:spcBef>
                <a:spcPct val="0"/>
              </a:spcBef>
              <a:buNone/>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pPr rtl="0"/>
            <a:r>
              <a:rPr lang="en-IE"/>
              <a:t>We are ENTSO-E</a:t>
            </a:r>
          </a:p>
        </p:txBody>
      </p:sp>
      <p:sp>
        <p:nvSpPr>
          <p:cNvPr id="6" name="Title 1">
            <a:extLst>
              <a:ext uri="{FF2B5EF4-FFF2-40B4-BE49-F238E27FC236}">
                <a16:creationId xmlns:a16="http://schemas.microsoft.com/office/drawing/2014/main" id="{70B34F4F-2938-408E-99E5-B9481D786209}"/>
              </a:ext>
            </a:extLst>
          </p:cNvPr>
          <p:cNvSpPr txBox="1">
            <a:spLocks/>
          </p:cNvSpPr>
          <p:nvPr userDrawn="1"/>
        </p:nvSpPr>
        <p:spPr>
          <a:xfrm>
            <a:off x="1201008"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200" b="0">
                <a:solidFill>
                  <a:schemeClr val="bg1"/>
                </a:solidFill>
                <a:effectLst/>
                <a:latin typeface="Calibri" panose="020F0502020204030204" pitchFamily="34" charset="0"/>
                <a:cs typeface="Calibri" panose="020F0502020204030204" pitchFamily="34" charset="0"/>
              </a:rPr>
              <a:t>We deliver to the highest standards. We provide an environment in which people can develop to their full potential.</a:t>
            </a:r>
          </a:p>
        </p:txBody>
      </p:sp>
      <p:sp>
        <p:nvSpPr>
          <p:cNvPr id="7" name="Title 1">
            <a:extLst>
              <a:ext uri="{FF2B5EF4-FFF2-40B4-BE49-F238E27FC236}">
                <a16:creationId xmlns:a16="http://schemas.microsoft.com/office/drawing/2014/main" id="{81A3B0E4-3084-4984-B778-6DEE61707D69}"/>
              </a:ext>
            </a:extLst>
          </p:cNvPr>
          <p:cNvSpPr txBox="1">
            <a:spLocks/>
          </p:cNvSpPr>
          <p:nvPr userDrawn="1"/>
        </p:nvSpPr>
        <p:spPr>
          <a:xfrm>
            <a:off x="1201009"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800" b="1">
                <a:solidFill>
                  <a:schemeClr val="bg1"/>
                </a:solidFill>
                <a:effectLst/>
                <a:latin typeface="Calibri" panose="020F0502020204030204" pitchFamily="34" charset="0"/>
                <a:cs typeface="Calibri" panose="020F0502020204030204" pitchFamily="34" charset="0"/>
              </a:rPr>
              <a:t>EXCELLENCE</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1" name="Gruppieren 10">
            <a:extLst>
              <a:ext uri="{FF2B5EF4-FFF2-40B4-BE49-F238E27FC236}">
                <a16:creationId xmlns:a16="http://schemas.microsoft.com/office/drawing/2014/main" id="{82D4A0DE-6C67-44B0-B22A-C0A05BBC69FC}"/>
              </a:ext>
            </a:extLst>
          </p:cNvPr>
          <p:cNvGrpSpPr/>
          <p:nvPr userDrawn="1"/>
        </p:nvGrpSpPr>
        <p:grpSpPr>
          <a:xfrm>
            <a:off x="1376411" y="2083344"/>
            <a:ext cx="1089193" cy="1118842"/>
            <a:chOff x="1478254" y="1759825"/>
            <a:chExt cx="1089193" cy="1118842"/>
          </a:xfrm>
        </p:grpSpPr>
        <p:sp>
          <p:nvSpPr>
            <p:cNvPr id="2" name="Ellipse 1">
              <a:extLst>
                <a:ext uri="{FF2B5EF4-FFF2-40B4-BE49-F238E27FC236}">
                  <a16:creationId xmlns:a16="http://schemas.microsoft.com/office/drawing/2014/main" id="{EF03CA22-6B13-49DE-A795-8B07042FA0BE}"/>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a:p>
          </p:txBody>
        </p:sp>
        <p:pic>
          <p:nvPicPr>
            <p:cNvPr id="10" name="Grafik 9">
              <a:extLst>
                <a:ext uri="{FF2B5EF4-FFF2-40B4-BE49-F238E27FC236}">
                  <a16:creationId xmlns:a16="http://schemas.microsoft.com/office/drawing/2014/main" id="{161B2F95-9B35-4040-81B2-ACDE054BDD85}"/>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478254" y="1798667"/>
              <a:ext cx="1080000" cy="1080000"/>
            </a:xfrm>
            <a:prstGeom prst="rect">
              <a:avLst/>
            </a:prstGeom>
          </p:spPr>
        </p:pic>
      </p:grpSp>
      <p:sp>
        <p:nvSpPr>
          <p:cNvPr id="12" name="Title 1">
            <a:extLst>
              <a:ext uri="{FF2B5EF4-FFF2-40B4-BE49-F238E27FC236}">
                <a16:creationId xmlns:a16="http://schemas.microsoft.com/office/drawing/2014/main" id="{E81CF4DD-25A2-40F4-952B-66B4466BBD93}"/>
              </a:ext>
            </a:extLst>
          </p:cNvPr>
          <p:cNvSpPr txBox="1">
            <a:spLocks/>
          </p:cNvSpPr>
          <p:nvPr userDrawn="1"/>
        </p:nvSpPr>
        <p:spPr>
          <a:xfrm>
            <a:off x="3287689"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200" b="0">
                <a:solidFill>
                  <a:schemeClr val="bg1"/>
                </a:solidFill>
                <a:effectLst/>
                <a:latin typeface="Calibri" panose="020F0502020204030204" pitchFamily="34" charset="0"/>
                <a:cs typeface="Calibri" panose="020F0502020204030204" pitchFamily="34" charset="0"/>
              </a:rPr>
              <a:t>We trust each other, we are transparent and we empower people. We respect diversity.</a:t>
            </a:r>
          </a:p>
        </p:txBody>
      </p:sp>
      <p:sp>
        <p:nvSpPr>
          <p:cNvPr id="13" name="Title 1">
            <a:extLst>
              <a:ext uri="{FF2B5EF4-FFF2-40B4-BE49-F238E27FC236}">
                <a16:creationId xmlns:a16="http://schemas.microsoft.com/office/drawing/2014/main" id="{33B85503-5C78-444D-B346-AB59AA416AC8}"/>
              </a:ext>
            </a:extLst>
          </p:cNvPr>
          <p:cNvSpPr txBox="1">
            <a:spLocks/>
          </p:cNvSpPr>
          <p:nvPr userDrawn="1"/>
        </p:nvSpPr>
        <p:spPr>
          <a:xfrm>
            <a:off x="3287688"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800" b="1">
                <a:solidFill>
                  <a:schemeClr val="bg1"/>
                </a:solidFill>
                <a:effectLst/>
                <a:latin typeface="Calibri" panose="020F0502020204030204" pitchFamily="34" charset="0"/>
                <a:cs typeface="Calibri" panose="020F0502020204030204" pitchFamily="34" charset="0"/>
              </a:rPr>
              <a:t>TRUST</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4" name="Gruppieren 13">
            <a:extLst>
              <a:ext uri="{FF2B5EF4-FFF2-40B4-BE49-F238E27FC236}">
                <a16:creationId xmlns:a16="http://schemas.microsoft.com/office/drawing/2014/main" id="{B5475377-A926-4847-B972-EA12DF6C0701}"/>
              </a:ext>
            </a:extLst>
          </p:cNvPr>
          <p:cNvGrpSpPr/>
          <p:nvPr userDrawn="1"/>
        </p:nvGrpSpPr>
        <p:grpSpPr>
          <a:xfrm>
            <a:off x="3463091" y="2083344"/>
            <a:ext cx="1089193" cy="1118842"/>
            <a:chOff x="1478254" y="1759825"/>
            <a:chExt cx="1089193" cy="1118842"/>
          </a:xfrm>
        </p:grpSpPr>
        <p:sp>
          <p:nvSpPr>
            <p:cNvPr id="15" name="Ellipse 14">
              <a:extLst>
                <a:ext uri="{FF2B5EF4-FFF2-40B4-BE49-F238E27FC236}">
                  <a16:creationId xmlns:a16="http://schemas.microsoft.com/office/drawing/2014/main" id="{13BB04B6-217B-499D-8F98-894FB375B2F9}"/>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a:p>
          </p:txBody>
        </p:sp>
        <p:pic>
          <p:nvPicPr>
            <p:cNvPr id="16" name="Grafik 15">
              <a:extLst>
                <a:ext uri="{FF2B5EF4-FFF2-40B4-BE49-F238E27FC236}">
                  <a16:creationId xmlns:a16="http://schemas.microsoft.com/office/drawing/2014/main" id="{2760D55D-13ED-4E94-966A-95F12368925C}"/>
                </a:ext>
              </a:extLst>
            </p:cNvPr>
            <p:cNvPicPr>
              <a:picLocks noChangeAspect="1"/>
            </p:cNvPicPr>
            <p:nvPr userDrawn="1"/>
          </p:nvPicPr>
          <p:blipFill>
            <a:blip r:embed="rId6" cstate="hqprint">
              <a:extLst>
                <a:ext uri="{28A0092B-C50C-407E-A947-70E740481C1C}">
                  <a14:useLocalDpi xmlns:a14="http://schemas.microsoft.com/office/drawing/2010/main" val="0"/>
                </a:ext>
              </a:extLst>
            </a:blip>
            <a:srcRect/>
            <a:stretch/>
          </p:blipFill>
          <p:spPr>
            <a:xfrm>
              <a:off x="1478254" y="1798667"/>
              <a:ext cx="1080000" cy="1080000"/>
            </a:xfrm>
            <a:prstGeom prst="rect">
              <a:avLst/>
            </a:prstGeom>
          </p:spPr>
        </p:pic>
      </p:grpSp>
      <p:sp>
        <p:nvSpPr>
          <p:cNvPr id="17" name="Title 1">
            <a:extLst>
              <a:ext uri="{FF2B5EF4-FFF2-40B4-BE49-F238E27FC236}">
                <a16:creationId xmlns:a16="http://schemas.microsoft.com/office/drawing/2014/main" id="{E979720F-B102-477C-A18C-F42F69F7B3FA}"/>
              </a:ext>
            </a:extLst>
          </p:cNvPr>
          <p:cNvSpPr txBox="1">
            <a:spLocks/>
          </p:cNvSpPr>
          <p:nvPr userDrawn="1"/>
        </p:nvSpPr>
        <p:spPr>
          <a:xfrm>
            <a:off x="537600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200" b="0">
                <a:solidFill>
                  <a:schemeClr val="bg1"/>
                </a:solidFill>
                <a:effectLst/>
                <a:latin typeface="Calibri" panose="020F0502020204030204" pitchFamily="34" charset="0"/>
                <a:cs typeface="Calibri" panose="020F0502020204030204" pitchFamily="34" charset="0"/>
              </a:rPr>
              <a:t>We act in the interest of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ENTSO-E</a:t>
            </a:r>
          </a:p>
        </p:txBody>
      </p:sp>
      <p:sp>
        <p:nvSpPr>
          <p:cNvPr id="18" name="Title 1">
            <a:extLst>
              <a:ext uri="{FF2B5EF4-FFF2-40B4-BE49-F238E27FC236}">
                <a16:creationId xmlns:a16="http://schemas.microsoft.com/office/drawing/2014/main" id="{DEDA1B90-9F8A-4C63-B8FF-D940062EC4C4}"/>
              </a:ext>
            </a:extLst>
          </p:cNvPr>
          <p:cNvSpPr txBox="1">
            <a:spLocks/>
          </p:cNvSpPr>
          <p:nvPr userDrawn="1"/>
        </p:nvSpPr>
        <p:spPr>
          <a:xfrm>
            <a:off x="537600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800" b="1">
                <a:solidFill>
                  <a:schemeClr val="bg1"/>
                </a:solidFill>
                <a:effectLst/>
                <a:latin typeface="Calibri" panose="020F0502020204030204" pitchFamily="34" charset="0"/>
                <a:cs typeface="Calibri" panose="020F0502020204030204" pitchFamily="34" charset="0"/>
              </a:rPr>
              <a:t>INTEGRITY</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9" name="Gruppieren 18">
            <a:extLst>
              <a:ext uri="{FF2B5EF4-FFF2-40B4-BE49-F238E27FC236}">
                <a16:creationId xmlns:a16="http://schemas.microsoft.com/office/drawing/2014/main" id="{955A5FDF-13A6-4E3F-98FC-5D8B5F750CF6}"/>
              </a:ext>
            </a:extLst>
          </p:cNvPr>
          <p:cNvGrpSpPr/>
          <p:nvPr userDrawn="1"/>
        </p:nvGrpSpPr>
        <p:grpSpPr>
          <a:xfrm>
            <a:off x="5551403" y="2024327"/>
            <a:ext cx="1089193" cy="1139017"/>
            <a:chOff x="1478254" y="1700808"/>
            <a:chExt cx="1089193" cy="1139017"/>
          </a:xfrm>
        </p:grpSpPr>
        <p:sp>
          <p:nvSpPr>
            <p:cNvPr id="20" name="Ellipse 19">
              <a:extLst>
                <a:ext uri="{FF2B5EF4-FFF2-40B4-BE49-F238E27FC236}">
                  <a16:creationId xmlns:a16="http://schemas.microsoft.com/office/drawing/2014/main" id="{7B46EB16-3C21-4C1F-96E5-A09D69B4EA5B}"/>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a:p>
          </p:txBody>
        </p:sp>
        <p:pic>
          <p:nvPicPr>
            <p:cNvPr id="21" name="Grafik 20">
              <a:extLst>
                <a:ext uri="{FF2B5EF4-FFF2-40B4-BE49-F238E27FC236}">
                  <a16:creationId xmlns:a16="http://schemas.microsoft.com/office/drawing/2014/main" id="{4B4C9A02-66CE-4BBC-A5CB-9F9670516C1D}"/>
                </a:ext>
              </a:extLst>
            </p:cNvPr>
            <p:cNvPicPr>
              <a:picLocks noChangeAspect="1"/>
            </p:cNvPicPr>
            <p:nvPr userDrawn="1"/>
          </p:nvPicPr>
          <p:blipFill>
            <a:blip r:embed="rId7" cstate="hqprint">
              <a:extLst>
                <a:ext uri="{28A0092B-C50C-407E-A947-70E740481C1C}">
                  <a14:useLocalDpi xmlns:a14="http://schemas.microsoft.com/office/drawing/2010/main" val="0"/>
                </a:ext>
              </a:extLst>
            </a:blip>
            <a:srcRect/>
            <a:stretch/>
          </p:blipFill>
          <p:spPr>
            <a:xfrm>
              <a:off x="1478254" y="1700808"/>
              <a:ext cx="1080000" cy="1080000"/>
            </a:xfrm>
            <a:prstGeom prst="rect">
              <a:avLst/>
            </a:prstGeom>
          </p:spPr>
        </p:pic>
      </p:grpSp>
      <p:sp>
        <p:nvSpPr>
          <p:cNvPr id="22" name="Title 1">
            <a:extLst>
              <a:ext uri="{FF2B5EF4-FFF2-40B4-BE49-F238E27FC236}">
                <a16:creationId xmlns:a16="http://schemas.microsoft.com/office/drawing/2014/main" id="{2E634EBD-DFF6-43C8-9422-8F16AAB96C86}"/>
              </a:ext>
            </a:extLst>
          </p:cNvPr>
          <p:cNvSpPr txBox="1">
            <a:spLocks/>
          </p:cNvSpPr>
          <p:nvPr userDrawn="1"/>
        </p:nvSpPr>
        <p:spPr>
          <a:xfrm>
            <a:off x="7392263"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200" b="0">
                <a:solidFill>
                  <a:schemeClr val="bg1"/>
                </a:solidFill>
                <a:effectLst/>
                <a:latin typeface="Calibri" panose="020F0502020204030204" pitchFamily="34" charset="0"/>
                <a:cs typeface="Calibri" panose="020F0502020204030204" pitchFamily="34" charset="0"/>
              </a:rPr>
              <a:t>We care about people. We work transversal and we support each other. We celebrate success.</a:t>
            </a:r>
          </a:p>
        </p:txBody>
      </p:sp>
      <p:sp>
        <p:nvSpPr>
          <p:cNvPr id="23" name="Title 1">
            <a:extLst>
              <a:ext uri="{FF2B5EF4-FFF2-40B4-BE49-F238E27FC236}">
                <a16:creationId xmlns:a16="http://schemas.microsoft.com/office/drawing/2014/main" id="{2B8B0EDA-AFDC-4A3F-8B48-271A245E4727}"/>
              </a:ext>
            </a:extLst>
          </p:cNvPr>
          <p:cNvSpPr txBox="1">
            <a:spLocks/>
          </p:cNvSpPr>
          <p:nvPr userDrawn="1"/>
        </p:nvSpPr>
        <p:spPr>
          <a:xfrm>
            <a:off x="7392262"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800" b="1">
                <a:solidFill>
                  <a:schemeClr val="bg1"/>
                </a:solidFill>
                <a:effectLst/>
                <a:latin typeface="Calibri" panose="020F0502020204030204" pitchFamily="34" charset="0"/>
                <a:cs typeface="Calibri" panose="020F0502020204030204" pitchFamily="34" charset="0"/>
              </a:rPr>
              <a:t>TEAM</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4" name="Gruppieren 23">
            <a:extLst>
              <a:ext uri="{FF2B5EF4-FFF2-40B4-BE49-F238E27FC236}">
                <a16:creationId xmlns:a16="http://schemas.microsoft.com/office/drawing/2014/main" id="{DB57394F-A3ED-46EA-ACEB-FE66F27FAB09}"/>
              </a:ext>
            </a:extLst>
          </p:cNvPr>
          <p:cNvGrpSpPr/>
          <p:nvPr userDrawn="1"/>
        </p:nvGrpSpPr>
        <p:grpSpPr>
          <a:xfrm>
            <a:off x="7576858" y="2080275"/>
            <a:ext cx="1080000" cy="1083069"/>
            <a:chOff x="1487447" y="1756756"/>
            <a:chExt cx="1080000" cy="1083069"/>
          </a:xfrm>
        </p:grpSpPr>
        <p:sp>
          <p:nvSpPr>
            <p:cNvPr id="25" name="Ellipse 24">
              <a:extLst>
                <a:ext uri="{FF2B5EF4-FFF2-40B4-BE49-F238E27FC236}">
                  <a16:creationId xmlns:a16="http://schemas.microsoft.com/office/drawing/2014/main" id="{047968BE-8FA5-46E6-AEB4-7BBD707663C8}"/>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a:p>
          </p:txBody>
        </p:sp>
        <p:pic>
          <p:nvPicPr>
            <p:cNvPr id="26" name="Grafik 25">
              <a:extLst>
                <a:ext uri="{FF2B5EF4-FFF2-40B4-BE49-F238E27FC236}">
                  <a16:creationId xmlns:a16="http://schemas.microsoft.com/office/drawing/2014/main" id="{7EB613B2-536A-4138-AE88-6840149C7A1B}"/>
                </a:ext>
              </a:extLst>
            </p:cNvPr>
            <p:cNvPicPr>
              <a:picLocks noChangeAspect="1"/>
            </p:cNvPicPr>
            <p:nvPr userDrawn="1"/>
          </p:nvPicPr>
          <p:blipFill>
            <a:blip r:embed="rId8" cstate="hqprint">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
        <p:nvSpPr>
          <p:cNvPr id="27" name="Title 1">
            <a:extLst>
              <a:ext uri="{FF2B5EF4-FFF2-40B4-BE49-F238E27FC236}">
                <a16:creationId xmlns:a16="http://schemas.microsoft.com/office/drawing/2014/main" id="{EC54E769-6637-4291-8E33-04784D80068D}"/>
              </a:ext>
            </a:extLst>
          </p:cNvPr>
          <p:cNvSpPr txBox="1">
            <a:spLocks/>
          </p:cNvSpPr>
          <p:nvPr userDrawn="1"/>
        </p:nvSpPr>
        <p:spPr>
          <a:xfrm>
            <a:off x="933636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200" b="0">
                <a:solidFill>
                  <a:schemeClr val="bg1"/>
                </a:solidFill>
                <a:effectLst/>
                <a:latin typeface="Calibri" panose="020F0502020204030204" pitchFamily="34" charset="0"/>
                <a:cs typeface="Calibri" panose="020F0502020204030204" pitchFamily="34" charset="0"/>
              </a:rPr>
              <a:t>We are a learning organisation.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We explore new paths and solutions.</a:t>
            </a:r>
          </a:p>
        </p:txBody>
      </p:sp>
      <p:sp>
        <p:nvSpPr>
          <p:cNvPr id="28" name="Title 1">
            <a:extLst>
              <a:ext uri="{FF2B5EF4-FFF2-40B4-BE49-F238E27FC236}">
                <a16:creationId xmlns:a16="http://schemas.microsoft.com/office/drawing/2014/main" id="{1EAE1D68-1D65-449A-A1D4-1C7A4EE8D7F3}"/>
              </a:ext>
            </a:extLst>
          </p:cNvPr>
          <p:cNvSpPr txBox="1">
            <a:spLocks/>
          </p:cNvSpPr>
          <p:nvPr userDrawn="1"/>
        </p:nvSpPr>
        <p:spPr>
          <a:xfrm>
            <a:off x="933636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800" b="1">
                <a:solidFill>
                  <a:schemeClr val="bg1"/>
                </a:solidFill>
                <a:effectLst/>
                <a:latin typeface="Calibri" panose="020F0502020204030204" pitchFamily="34" charset="0"/>
                <a:cs typeface="Calibri" panose="020F0502020204030204" pitchFamily="34" charset="0"/>
              </a:rPr>
              <a:t>FUTURE THINKING</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9" name="Gruppieren 28">
            <a:extLst>
              <a:ext uri="{FF2B5EF4-FFF2-40B4-BE49-F238E27FC236}">
                <a16:creationId xmlns:a16="http://schemas.microsoft.com/office/drawing/2014/main" id="{3C70C999-7CBE-4D11-A6B2-D77A57C5B0AD}"/>
              </a:ext>
            </a:extLst>
          </p:cNvPr>
          <p:cNvGrpSpPr/>
          <p:nvPr userDrawn="1"/>
        </p:nvGrpSpPr>
        <p:grpSpPr>
          <a:xfrm>
            <a:off x="9520956" y="2080275"/>
            <a:ext cx="1080000" cy="1083069"/>
            <a:chOff x="1487447" y="1756756"/>
            <a:chExt cx="1080000" cy="1083069"/>
          </a:xfrm>
        </p:grpSpPr>
        <p:sp>
          <p:nvSpPr>
            <p:cNvPr id="30" name="Ellipse 29">
              <a:extLst>
                <a:ext uri="{FF2B5EF4-FFF2-40B4-BE49-F238E27FC236}">
                  <a16:creationId xmlns:a16="http://schemas.microsoft.com/office/drawing/2014/main" id="{29D45C60-2B3F-49B7-BD2B-64F936E7A262}"/>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a:p>
          </p:txBody>
        </p:sp>
        <p:pic>
          <p:nvPicPr>
            <p:cNvPr id="31" name="Grafik 30">
              <a:extLst>
                <a:ext uri="{FF2B5EF4-FFF2-40B4-BE49-F238E27FC236}">
                  <a16:creationId xmlns:a16="http://schemas.microsoft.com/office/drawing/2014/main" id="{C7C06749-CCF9-45D3-B10D-3B95BF64A939}"/>
                </a:ext>
              </a:extLst>
            </p:cNvPr>
            <p:cNvPicPr>
              <a:picLocks noChangeAspect="1"/>
            </p:cNvPicPr>
            <p:nvPr userDrawn="1"/>
          </p:nvPicPr>
          <p:blipFill>
            <a:blip r:embed="rId9" cstate="hqprint">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Tree>
    <p:extLst>
      <p:ext uri="{BB962C8B-B14F-4D97-AF65-F5344CB8AC3E}">
        <p14:creationId xmlns:p14="http://schemas.microsoft.com/office/powerpoint/2010/main" val="36264658"/>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1_ENTSO-E Key take-away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AB8C1AA-6A9C-8C5D-3908-DC3888D08956}"/>
              </a:ext>
            </a:extLst>
          </p:cNvPr>
          <p:cNvGraphicFramePr>
            <a:graphicFrameLocks noChangeAspect="1"/>
          </p:cNvGraphicFramePr>
          <p:nvPr userDrawn="1">
            <p:custDataLst>
              <p:tags r:id="rId1"/>
            </p:custDataLst>
            <p:extLst>
              <p:ext uri="{D42A27DB-BD31-4B8C-83A1-F6EECF244321}">
                <p14:modId xmlns:p14="http://schemas.microsoft.com/office/powerpoint/2010/main" val="2691018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FAB8C1AA-6A9C-8C5D-3908-DC3888D089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86346" y="476672"/>
            <a:ext cx="11617788" cy="936104"/>
          </a:xfrm>
          <a:prstGeom prst="rect">
            <a:avLst/>
          </a:prstGeom>
          <a:ln>
            <a:noFill/>
          </a:ln>
        </p:spPr>
        <p:txBody>
          <a:bodyPr vert="horz" anchor="t"/>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Key take-aways</a:t>
            </a:r>
          </a:p>
        </p:txBody>
      </p:sp>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rtl="0">
              <a:lnSpc>
                <a:spcPts val="2600"/>
              </a:lnSpc>
              <a:spcBef>
                <a:spcPts val="0"/>
              </a:spcBef>
              <a:buNone/>
              <a:defRPr sz="2000" b="0">
                <a:solidFill>
                  <a:schemeClr val="tx1"/>
                </a:solidFill>
                <a:latin typeface="Calibri" panose="020F0502020204030204" pitchFamily="34" charset="0"/>
                <a:cs typeface="Calibri" panose="020F0502020204030204" pitchFamily="34" charset="0"/>
              </a:defRPr>
            </a:lvl1pPr>
          </a:lstStyle>
          <a:p>
            <a:pPr lvl="0"/>
            <a:r>
              <a:rPr lang="en-IE"/>
              <a:t>Text</a:t>
            </a:r>
          </a:p>
        </p:txBody>
      </p:sp>
      <p:sp>
        <p:nvSpPr>
          <p:cNvPr id="4" name="Rechteck 1">
            <a:extLst>
              <a:ext uri="{FF2B5EF4-FFF2-40B4-BE49-F238E27FC236}">
                <a16:creationId xmlns:a16="http://schemas.microsoft.com/office/drawing/2014/main" id="{9B4626A2-3A46-4841-8EA9-2789E9CF76F6}"/>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sz="1800">
              <a:solidFill>
                <a:schemeClr val="accent2"/>
              </a:solidFill>
            </a:endParaRPr>
          </a:p>
        </p:txBody>
      </p:sp>
    </p:spTree>
    <p:extLst>
      <p:ext uri="{BB962C8B-B14F-4D97-AF65-F5344CB8AC3E}">
        <p14:creationId xmlns:p14="http://schemas.microsoft.com/office/powerpoint/2010/main" val="2624925402"/>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ENTSO-E One column bullet points">
    <p:spTree>
      <p:nvGrpSpPr>
        <p:cNvPr id="1" name=""/>
        <p:cNvGrpSpPr/>
        <p:nvPr/>
      </p:nvGrpSpPr>
      <p:grpSpPr>
        <a:xfrm>
          <a:off x="0" y="0"/>
          <a:ext cx="0" cy="0"/>
          <a:chOff x="0" y="0"/>
          <a:chExt cx="0" cy="0"/>
        </a:xfrm>
      </p:grpSpPr>
      <p:sp>
        <p:nvSpPr>
          <p:cNvPr id="6" name="Inhaltsplatzhalter 2">
            <a:extLst>
              <a:ext uri="{FF2B5EF4-FFF2-40B4-BE49-F238E27FC236}">
                <a16:creationId xmlns:a16="http://schemas.microsoft.com/office/drawing/2014/main" id="{935407F8-9A7B-4A34-BB6A-ACBE6B64DA8C}"/>
              </a:ext>
            </a:extLst>
          </p:cNvPr>
          <p:cNvSpPr>
            <a:spLocks noGrp="1"/>
          </p:cNvSpPr>
          <p:nvPr>
            <p:ph idx="16" hasCustomPrompt="1"/>
          </p:nvPr>
        </p:nvSpPr>
        <p:spPr>
          <a:xfrm>
            <a:off x="413466" y="1124744"/>
            <a:ext cx="11616268"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8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9D00A475-8F1F-43A8-B9D4-0E2195454A9F}"/>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887331821"/>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orient="horz" pos="1480">
          <p15:clr>
            <a:srgbClr val="A4A3A4"/>
          </p15:clr>
        </p15:guide>
        <p15:guide id="6" orient="horz" pos="1548">
          <p15:clr>
            <a:srgbClr val="A4A3A4"/>
          </p15:clr>
        </p15:guide>
        <p15:guide id="9" pos="7499">
          <p15:clr>
            <a:srgbClr val="A4A3A4"/>
          </p15:clr>
        </p15:guide>
        <p15:guide id="10" pos="181">
          <p15:clr>
            <a:srgbClr val="A4A3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2_ENTSO-E Questio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287EF1-6A7B-12BB-C2F2-6E16D7E63650}"/>
              </a:ext>
            </a:extLst>
          </p:cNvPr>
          <p:cNvGraphicFramePr>
            <a:graphicFrameLocks noChangeAspect="1"/>
          </p:cNvGraphicFramePr>
          <p:nvPr userDrawn="1">
            <p:custDataLst>
              <p:tags r:id="rId1"/>
            </p:custDataLst>
            <p:extLst>
              <p:ext uri="{D42A27DB-BD31-4B8C-83A1-F6EECF244321}">
                <p14:modId xmlns:p14="http://schemas.microsoft.com/office/powerpoint/2010/main" val="333346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3D287EF1-6A7B-12BB-C2F2-6E16D7E636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gn="ctr" rtl="0">
              <a:lnSpc>
                <a:spcPts val="2600"/>
              </a:lnSpc>
              <a:spcBef>
                <a:spcPts val="0"/>
              </a:spcBef>
              <a:buNone/>
              <a:tabLst>
                <a:tab pos="3763963" algn="l"/>
              </a:tabLst>
              <a:defRPr sz="2800" b="1">
                <a:solidFill>
                  <a:srgbClr val="0F218B"/>
                </a:solidFill>
                <a:latin typeface="Calibri" panose="020F0502020204030204" pitchFamily="34" charset="0"/>
                <a:cs typeface="Calibri" panose="020F0502020204030204" pitchFamily="34" charset="0"/>
              </a:defRPr>
            </a:lvl1pPr>
          </a:lstStyle>
          <a:p>
            <a:pPr lvl="0"/>
            <a:r>
              <a:rPr lang="en-IE"/>
              <a:t>Questions?</a:t>
            </a:r>
          </a:p>
        </p:txBody>
      </p:sp>
      <p:sp>
        <p:nvSpPr>
          <p:cNvPr id="2" name="TextBox 1">
            <a:extLst>
              <a:ext uri="{FF2B5EF4-FFF2-40B4-BE49-F238E27FC236}">
                <a16:creationId xmlns:a16="http://schemas.microsoft.com/office/drawing/2014/main" id="{ED24F55E-FB99-4958-B7AF-F28A79322EB2}"/>
              </a:ext>
            </a:extLst>
          </p:cNvPr>
          <p:cNvSpPr txBox="1"/>
          <p:nvPr userDrawn="1"/>
        </p:nvSpPr>
        <p:spPr>
          <a:xfrm>
            <a:off x="5447928" y="4149080"/>
            <a:ext cx="3384376" cy="369332"/>
          </a:xfrm>
          <a:prstGeom prst="rect">
            <a:avLst/>
          </a:prstGeom>
          <a:noFill/>
        </p:spPr>
        <p:txBody>
          <a:bodyPr wrap="square" rtlCol="0">
            <a:spAutoFit/>
          </a:bodyPr>
          <a:lstStyle/>
          <a:p>
            <a:pPr rtl="0"/>
            <a:r>
              <a:rPr lang="en-IE">
                <a:solidFill>
                  <a:srgbClr val="0F218B"/>
                </a:solidFill>
                <a:latin typeface="Calibri" panose="020F0502020204030204" pitchFamily="34" charset="0"/>
                <a:cs typeface="Calibri" panose="020F0502020204030204" pitchFamily="34" charset="0"/>
              </a:rPr>
              <a:t>contact:</a:t>
            </a:r>
          </a:p>
        </p:txBody>
      </p:sp>
      <p:sp>
        <p:nvSpPr>
          <p:cNvPr id="5" name="Rechteck 1">
            <a:extLst>
              <a:ext uri="{FF2B5EF4-FFF2-40B4-BE49-F238E27FC236}">
                <a16:creationId xmlns:a16="http://schemas.microsoft.com/office/drawing/2014/main" id="{C2D06D34-321E-4E67-BD6C-917AD342E7D4}"/>
              </a:ext>
            </a:extLst>
          </p:cNvPr>
          <p:cNvSpPr/>
          <p:nvPr userDrawn="1"/>
        </p:nvSpPr>
        <p:spPr>
          <a:xfrm rot="5400000" flipH="1">
            <a:off x="6064640" y="3063656"/>
            <a:ext cx="61200" cy="180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sz="1800">
              <a:solidFill>
                <a:schemeClr val="accent2"/>
              </a:solidFill>
            </a:endParaRPr>
          </a:p>
        </p:txBody>
      </p:sp>
    </p:spTree>
    <p:extLst>
      <p:ext uri="{BB962C8B-B14F-4D97-AF65-F5344CB8AC3E}">
        <p14:creationId xmlns:p14="http://schemas.microsoft.com/office/powerpoint/2010/main" val="3835544463"/>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4987E2-68C6-3065-DA29-89BED4A3EAF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419AAE4-0974-7DDF-E823-A98F9BACAC8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268E8F7-3BB4-8A8D-A3DD-6507A527DBA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B5D7F3B-FD55-5317-8054-ADE9097DBC9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18DD479-87FE-22A0-8CF0-C10AFB2E05D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C086179-90CD-6752-20E3-BA95E8247084}"/>
              </a:ext>
            </a:extLst>
          </p:cNvPr>
          <p:cNvSpPr>
            <a:spLocks noGrp="1"/>
          </p:cNvSpPr>
          <p:nvPr>
            <p:ph type="dt" sz="half" idx="10"/>
          </p:nvPr>
        </p:nvSpPr>
        <p:spPr/>
        <p:txBody>
          <a:bodyPr/>
          <a:lstStyle/>
          <a:p>
            <a:fld id="{70EA71EB-2A00-437E-9653-D931A7A7132B}" type="datetimeFigureOut">
              <a:rPr lang="en-US" smtClean="0"/>
              <a:t>6/18/2025</a:t>
            </a:fld>
            <a:endParaRPr lang="en-US"/>
          </a:p>
        </p:txBody>
      </p:sp>
      <p:sp>
        <p:nvSpPr>
          <p:cNvPr id="8" name="Footer Placeholder 7">
            <a:extLst>
              <a:ext uri="{FF2B5EF4-FFF2-40B4-BE49-F238E27FC236}">
                <a16:creationId xmlns:a16="http://schemas.microsoft.com/office/drawing/2014/main" id="{E8CC8795-1663-FA15-0993-619AB1A2DFE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226F710-F3FD-B961-31D3-0E71793660B3}"/>
              </a:ext>
            </a:extLst>
          </p:cNvPr>
          <p:cNvSpPr>
            <a:spLocks noGrp="1"/>
          </p:cNvSpPr>
          <p:nvPr>
            <p:ph type="sldNum" sz="quarter" idx="12"/>
          </p:nvPr>
        </p:nvSpPr>
        <p:spPr/>
        <p:txBody>
          <a:bodyPr/>
          <a:lstStyle/>
          <a:p>
            <a:fld id="{2BB21B3E-DDB9-409D-A9EC-6B86F7479BCC}" type="slidenum">
              <a:rPr lang="en-US" smtClean="0"/>
              <a:t>‹#›</a:t>
            </a:fld>
            <a:endParaRPr lang="en-US"/>
          </a:p>
        </p:txBody>
      </p:sp>
    </p:spTree>
    <p:extLst>
      <p:ext uri="{BB962C8B-B14F-4D97-AF65-F5344CB8AC3E}">
        <p14:creationId xmlns:p14="http://schemas.microsoft.com/office/powerpoint/2010/main" val="88630282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sp>
        <p:nvSpPr>
          <p:cNvPr id="4" name="Rectangle 6"/>
          <p:cNvSpPr/>
          <p:nvPr/>
        </p:nvSpPr>
        <p:spPr>
          <a:xfrm>
            <a:off x="0"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 name="Rectangle 7"/>
          <p:cNvSpPr/>
          <p:nvPr/>
        </p:nvSpPr>
        <p:spPr>
          <a:xfrm>
            <a:off x="0" y="6334125"/>
            <a:ext cx="12192000" cy="666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6" name="Straight Connector 8"/>
          <p:cNvCxnSpPr/>
          <p:nvPr/>
        </p:nvCxnSpPr>
        <p:spPr>
          <a:xfrm>
            <a:off x="1188245" y="4867200"/>
            <a:ext cx="9875837"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 name="Subtitle 2"/>
          <p:cNvSpPr>
            <a:spLocks noGrp="1"/>
          </p:cNvSpPr>
          <p:nvPr>
            <p:ph type="subTitle" idx="1"/>
          </p:nvPr>
        </p:nvSpPr>
        <p:spPr>
          <a:xfrm>
            <a:off x="1096963" y="3647557"/>
            <a:ext cx="10058400" cy="1143000"/>
          </a:xfrm>
        </p:spPr>
        <p:txBody>
          <a:bodyPr lIns="91440" rIns="91440" anchor="ctr">
            <a:normAutofit/>
          </a:bodyPr>
          <a:lstStyle>
            <a:lvl1pPr marL="0" indent="0" algn="ctr">
              <a:buNone/>
              <a:defRPr lang="en-US" sz="4800" kern="1200" spc="-50" dirty="0">
                <a:solidFill>
                  <a:schemeClr val="tx1">
                    <a:lumMod val="75000"/>
                    <a:lumOff val="25000"/>
                  </a:schemeClr>
                </a:solidFill>
                <a:latin typeface="+mj-lt"/>
                <a:ea typeface="+mj-ea"/>
                <a:cs typeface="+mj-cs"/>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GB"/>
              <a:t>Click to edit Master subtitle style</a:t>
            </a:r>
            <a:endParaRPr lang="en-US"/>
          </a:p>
        </p:txBody>
      </p:sp>
      <p:sp>
        <p:nvSpPr>
          <p:cNvPr id="7" name="Date Placeholder 3"/>
          <p:cNvSpPr>
            <a:spLocks noGrp="1"/>
          </p:cNvSpPr>
          <p:nvPr>
            <p:ph type="dt" sz="half" idx="10"/>
          </p:nvPr>
        </p:nvSpPr>
        <p:spPr/>
        <p:txBody>
          <a:bodyPr/>
          <a:lstStyle>
            <a:lvl1pPr>
              <a:defRPr/>
            </a:lvl1pPr>
          </a:lstStyle>
          <a:p>
            <a:pPr>
              <a:defRPr/>
            </a:pPr>
            <a:r>
              <a:rPr lang="en-US"/>
              <a:t>13/07/2023</a:t>
            </a:r>
          </a:p>
        </p:txBody>
      </p:sp>
      <p:sp>
        <p:nvSpPr>
          <p:cNvPr id="8" name="Footer Placeholder 4"/>
          <p:cNvSpPr>
            <a:spLocks noGrp="1"/>
          </p:cNvSpPr>
          <p:nvPr>
            <p:ph type="ftr" sz="quarter" idx="11"/>
          </p:nvPr>
        </p:nvSpPr>
        <p:spPr/>
        <p:txBody>
          <a:bodyPr/>
          <a:lstStyle>
            <a:lvl1pPr>
              <a:defRPr/>
            </a:lvl1pPr>
          </a:lstStyle>
          <a:p>
            <a:pPr>
              <a:defRPr/>
            </a:pPr>
            <a:r>
              <a:rPr lang="en-US"/>
              <a:t>JAO S.A. </a:t>
            </a:r>
          </a:p>
        </p:txBody>
      </p:sp>
      <p:sp>
        <p:nvSpPr>
          <p:cNvPr id="9" name="Slide Number Placeholder 5"/>
          <p:cNvSpPr>
            <a:spLocks noGrp="1"/>
          </p:cNvSpPr>
          <p:nvPr>
            <p:ph type="sldNum" sz="quarter" idx="12"/>
          </p:nvPr>
        </p:nvSpPr>
        <p:spPr/>
        <p:txBody>
          <a:bodyPr/>
          <a:lstStyle>
            <a:lvl1pPr>
              <a:defRPr/>
            </a:lvl1pPr>
          </a:lstStyle>
          <a:p>
            <a:fld id="{7BF1EAC8-EAE7-456F-BF9D-40FECC92E7BE}" type="slidenum">
              <a:rPr lang="en-US" altLang="tr-TR"/>
              <a:pPr/>
              <a:t>‹#›</a:t>
            </a:fld>
            <a:endParaRPr lang="en-US" altLang="tr-TR"/>
          </a:p>
        </p:txBody>
      </p:sp>
      <p:pic>
        <p:nvPicPr>
          <p:cNvPr id="12" name="Picture 11" descr="Icon&#10;&#10;Description automatically generated with low confidence">
            <a:extLst>
              <a:ext uri="{FF2B5EF4-FFF2-40B4-BE49-F238E27FC236}">
                <a16:creationId xmlns:a16="http://schemas.microsoft.com/office/drawing/2014/main" id="{4EF03D01-9937-664A-9ADF-DCC6370B0357}"/>
              </a:ext>
            </a:extLst>
          </p:cNvPr>
          <p:cNvPicPr>
            <a:picLocks noChangeAspect="1"/>
          </p:cNvPicPr>
          <p:nvPr userDrawn="1"/>
        </p:nvPicPr>
        <p:blipFill>
          <a:blip r:embed="rId2"/>
          <a:stretch>
            <a:fillRect/>
          </a:stretch>
        </p:blipFill>
        <p:spPr>
          <a:xfrm>
            <a:off x="3881798" y="762443"/>
            <a:ext cx="4428404" cy="2448000"/>
          </a:xfrm>
          <a:prstGeom prst="rect">
            <a:avLst/>
          </a:prstGeom>
        </p:spPr>
      </p:pic>
      <p:sp>
        <p:nvSpPr>
          <p:cNvPr id="19" name="Text Placeholder 18">
            <a:extLst>
              <a:ext uri="{FF2B5EF4-FFF2-40B4-BE49-F238E27FC236}">
                <a16:creationId xmlns:a16="http://schemas.microsoft.com/office/drawing/2014/main" id="{721B77CE-1C51-4B4C-B187-AA8981045F39}"/>
              </a:ext>
            </a:extLst>
          </p:cNvPr>
          <p:cNvSpPr>
            <a:spLocks noGrp="1"/>
          </p:cNvSpPr>
          <p:nvPr>
            <p:ph type="body" sz="quarter" idx="13" hasCustomPrompt="1"/>
          </p:nvPr>
        </p:nvSpPr>
        <p:spPr>
          <a:xfrm>
            <a:off x="3249613" y="4943844"/>
            <a:ext cx="5753100" cy="741362"/>
          </a:xfrm>
        </p:spPr>
        <p:txBody>
          <a:bodyPr anchor="ctr"/>
          <a:lstStyle>
            <a:lvl1pPr algn="ctr">
              <a:defRPr sz="2400"/>
            </a:lvl1pPr>
            <a:lvl2pPr marL="200025" indent="0">
              <a:buNone/>
              <a:defRPr/>
            </a:lvl2pPr>
            <a:lvl3pPr marL="384175" indent="0">
              <a:buNone/>
              <a:defRPr/>
            </a:lvl3pPr>
            <a:lvl4pPr marL="566737" indent="0">
              <a:buNone/>
              <a:defRPr/>
            </a:lvl4pPr>
            <a:lvl5pPr marL="749300" indent="0">
              <a:buNone/>
              <a:defRPr/>
            </a:lvl5pPr>
          </a:lstStyle>
          <a:p>
            <a:pPr lvl="0"/>
            <a:r>
              <a:rPr lang="en-GB"/>
              <a:t>Click to edit Master subtitle style</a:t>
            </a:r>
            <a:endParaRPr lang="en-LU"/>
          </a:p>
        </p:txBody>
      </p:sp>
    </p:spTree>
    <p:extLst>
      <p:ext uri="{BB962C8B-B14F-4D97-AF65-F5344CB8AC3E}">
        <p14:creationId xmlns:p14="http://schemas.microsoft.com/office/powerpoint/2010/main" val="2543560252"/>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r>
              <a:rPr lang="en-US"/>
              <a:t>13/07/2023</a:t>
            </a:r>
          </a:p>
        </p:txBody>
      </p:sp>
      <p:sp>
        <p:nvSpPr>
          <p:cNvPr id="4" name="Footer Placeholder 4"/>
          <p:cNvSpPr>
            <a:spLocks noGrp="1"/>
          </p:cNvSpPr>
          <p:nvPr>
            <p:ph type="ftr" sz="quarter" idx="11"/>
          </p:nvPr>
        </p:nvSpPr>
        <p:spPr/>
        <p:txBody>
          <a:bodyPr/>
          <a:lstStyle>
            <a:lvl1pPr>
              <a:defRPr/>
            </a:lvl1pPr>
          </a:lstStyle>
          <a:p>
            <a:pPr>
              <a:defRPr/>
            </a:pPr>
            <a:r>
              <a:rPr lang="en-US"/>
              <a:t>JAO S.A. </a:t>
            </a:r>
          </a:p>
        </p:txBody>
      </p:sp>
      <p:sp>
        <p:nvSpPr>
          <p:cNvPr id="5" name="Slide Number Placeholder 5"/>
          <p:cNvSpPr>
            <a:spLocks noGrp="1"/>
          </p:cNvSpPr>
          <p:nvPr>
            <p:ph type="sldNum" sz="quarter" idx="12"/>
          </p:nvPr>
        </p:nvSpPr>
        <p:spPr/>
        <p:txBody>
          <a:bodyPr/>
          <a:lstStyle>
            <a:lvl1pPr>
              <a:defRPr/>
            </a:lvl1pPr>
          </a:lstStyle>
          <a:p>
            <a:fld id="{1C49AE54-70AB-4959-BB99-F77CE3D3F279}" type="slidenum">
              <a:rPr lang="en-US" altLang="tr-TR"/>
              <a:pPr/>
              <a:t>‹#›</a:t>
            </a:fld>
            <a:endParaRPr lang="en-US" altLang="tr-TR"/>
          </a:p>
        </p:txBody>
      </p:sp>
    </p:spTree>
    <p:extLst>
      <p:ext uri="{BB962C8B-B14F-4D97-AF65-F5344CB8AC3E}">
        <p14:creationId xmlns:p14="http://schemas.microsoft.com/office/powerpoint/2010/main" val="146608396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0832591-CD6D-9641-A9BB-75F77328DDD4}"/>
              </a:ext>
            </a:extLst>
          </p:cNvPr>
          <p:cNvGraphicFramePr>
            <a:graphicFrameLocks noChangeAspect="1"/>
          </p:cNvGraphicFramePr>
          <p:nvPr userDrawn="1">
            <p:custDataLst>
              <p:tags r:id="rId1"/>
            </p:custDataLst>
            <p:extLst>
              <p:ext uri="{D42A27DB-BD31-4B8C-83A1-F6EECF244321}">
                <p14:modId xmlns:p14="http://schemas.microsoft.com/office/powerpoint/2010/main" val="1195239636"/>
              </p:ext>
            </p:extLst>
          </p:nvPr>
        </p:nvGraphicFramePr>
        <p:xfrm>
          <a:off x="1955" y="1588"/>
          <a:ext cx="1510"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90832591-CD6D-9641-A9BB-75F77328DDD4}"/>
                          </a:ext>
                        </a:extLst>
                      </p:cNvPr>
                      <p:cNvPicPr/>
                      <p:nvPr/>
                    </p:nvPicPr>
                    <p:blipFill>
                      <a:blip r:embed="rId4"/>
                      <a:stretch>
                        <a:fillRect/>
                      </a:stretch>
                    </p:blipFill>
                    <p:spPr>
                      <a:xfrm>
                        <a:off x="1955" y="1588"/>
                        <a:ext cx="1510" cy="1588"/>
                      </a:xfrm>
                      <a:prstGeom prst="rect">
                        <a:avLst/>
                      </a:prstGeom>
                    </p:spPr>
                  </p:pic>
                </p:oleObj>
              </mc:Fallback>
            </mc:AlternateContent>
          </a:graphicData>
        </a:graphic>
      </p:graphicFrame>
      <p:sp>
        <p:nvSpPr>
          <p:cNvPr id="2" name="Title 1"/>
          <p:cNvSpPr>
            <a:spLocks noGrp="1"/>
          </p:cNvSpPr>
          <p:nvPr>
            <p:ph type="title"/>
          </p:nvPr>
        </p:nvSpPr>
        <p:spPr>
          <a:xfrm>
            <a:off x="644769" y="108000"/>
            <a:ext cx="8689558" cy="336550"/>
          </a:xfrm>
        </p:spPr>
        <p:txBody>
          <a:bodyPr vert="horz" lIns="72000" tIns="36000" rIns="72000" bIns="36000" rtlCol="0" anchor="t">
            <a:noAutofit/>
          </a:bodyPr>
          <a:lstStyle>
            <a:lvl1pPr>
              <a:defRPr lang="nl-NL" sz="1600" b="1" i="0" dirty="0">
                <a:solidFill>
                  <a:srgbClr val="3366FF"/>
                </a:solidFill>
                <a:latin typeface="+mn-lt"/>
                <a:ea typeface="Arial Unicode MS" panose="020B0604020202020204" pitchFamily="34" charset="-128"/>
                <a:cs typeface="Arial" panose="020B0604020202020204" pitchFamily="34" charset="0"/>
              </a:defRPr>
            </a:lvl1pPr>
          </a:lstStyle>
          <a:p>
            <a:pPr marL="0" lvl="0" indent="0" algn="l" rtl="0" eaLnBrk="1" fontAlgn="base" hangingPunct="1">
              <a:spcBef>
                <a:spcPts val="400"/>
              </a:spcBef>
              <a:spcAft>
                <a:spcPct val="0"/>
              </a:spcAft>
              <a:buClr>
                <a:schemeClr val="bg1"/>
              </a:buClr>
              <a:buSzPct val="120000"/>
              <a:buFont typeface="Arial" panose="020B0604020202020204" pitchFamily="34" charset="0"/>
              <a:buNone/>
            </a:pPr>
            <a:r>
              <a:rPr lang="en-US"/>
              <a:t>Click to edit Master title style</a:t>
            </a:r>
            <a:endParaRPr lang="nl-NL"/>
          </a:p>
        </p:txBody>
      </p:sp>
      <p:sp>
        <p:nvSpPr>
          <p:cNvPr id="13" name="Text Placeholder 12"/>
          <p:cNvSpPr>
            <a:spLocks noGrp="1"/>
          </p:cNvSpPr>
          <p:nvPr>
            <p:ph type="body" sz="quarter" idx="16" hasCustomPrompt="1"/>
          </p:nvPr>
        </p:nvSpPr>
        <p:spPr>
          <a:xfrm>
            <a:off x="644770" y="461650"/>
            <a:ext cx="10653692" cy="363850"/>
          </a:xfrm>
          <a:prstGeom prst="rect">
            <a:avLst/>
          </a:prstGeom>
        </p:spPr>
        <p:txBody>
          <a:bodyPr vert="horz" lIns="72000" tIns="36000" rIns="72000" bIns="36000" rtlCol="0" anchor="t">
            <a:noAutofit/>
          </a:bodyPr>
          <a:lstStyle>
            <a:lvl1pPr>
              <a:defRPr lang="nl-NL" sz="1400" b="0" i="0" dirty="0">
                <a:solidFill>
                  <a:srgbClr val="3366FF"/>
                </a:solidFill>
                <a:latin typeface="+mj-lt"/>
              </a:defRPr>
            </a:lvl1pPr>
          </a:lstStyle>
          <a:p>
            <a:pPr lvl="0">
              <a:spcBef>
                <a:spcPct val="0"/>
              </a:spcBef>
            </a:pPr>
            <a:r>
              <a:rPr lang="en-US"/>
              <a:t>Click to edit Description</a:t>
            </a:r>
          </a:p>
        </p:txBody>
      </p:sp>
      <p:sp>
        <p:nvSpPr>
          <p:cNvPr id="4" name="Content Placeholder 3"/>
          <p:cNvSpPr>
            <a:spLocks noGrp="1"/>
          </p:cNvSpPr>
          <p:nvPr>
            <p:ph sz="quarter" idx="17"/>
          </p:nvPr>
        </p:nvSpPr>
        <p:spPr>
          <a:xfrm>
            <a:off x="644770" y="1080000"/>
            <a:ext cx="11078308" cy="4320000"/>
          </a:xfrm>
        </p:spPr>
        <p:txBody>
          <a:bodyPr/>
          <a:lstStyle>
            <a:lvl1pPr>
              <a:defRPr b="0" i="0">
                <a:solidFill>
                  <a:srgbClr val="3366FF"/>
                </a:solidFill>
                <a:latin typeface="+mn-lt"/>
              </a:defRPr>
            </a:lvl1pPr>
            <a:lvl2pPr>
              <a:defRPr b="0" i="0">
                <a:latin typeface="+mn-lt"/>
              </a:defRPr>
            </a:lvl2pPr>
            <a:lvl3pPr>
              <a:defRPr b="0" i="0">
                <a:latin typeface="+mn-lt"/>
              </a:defRPr>
            </a:lvl3pPr>
            <a:lvl4pPr>
              <a:defRPr b="0" i="0">
                <a:latin typeface="+mn-lt"/>
              </a:defRPr>
            </a:lvl4pPr>
            <a:lvl5pPr>
              <a:defRPr>
                <a:latin typeface="+mn-lt"/>
              </a:defRPr>
            </a:lvl5pPr>
          </a:lstStyle>
          <a:p>
            <a:pPr lvl="0"/>
            <a:r>
              <a:rPr lang="en-US"/>
              <a:t>Edit Master text styles</a:t>
            </a:r>
          </a:p>
          <a:p>
            <a:pPr lvl="1"/>
            <a:r>
              <a:rPr lang="en-US"/>
              <a:t>[Add text]</a:t>
            </a:r>
          </a:p>
          <a:p>
            <a:pPr lvl="2"/>
            <a:r>
              <a:rPr lang="en-US"/>
              <a:t>[Add text]</a:t>
            </a:r>
          </a:p>
          <a:p>
            <a:pPr lvl="3"/>
            <a:r>
              <a:rPr lang="en-US"/>
              <a:t>[Add text]</a:t>
            </a:r>
            <a:endParaRPr lang="nl-NL"/>
          </a:p>
        </p:txBody>
      </p:sp>
      <p:sp>
        <p:nvSpPr>
          <p:cNvPr id="6" name="Espace réservé du numéro de diapositive 1">
            <a:extLst>
              <a:ext uri="{FF2B5EF4-FFF2-40B4-BE49-F238E27FC236}">
                <a16:creationId xmlns:a16="http://schemas.microsoft.com/office/drawing/2014/main" id="{20A0F5B2-75A8-4841-A428-67AD9E889F7B}"/>
              </a:ext>
            </a:extLst>
          </p:cNvPr>
          <p:cNvSpPr>
            <a:spLocks noGrp="1"/>
          </p:cNvSpPr>
          <p:nvPr>
            <p:ph type="sldNum" sz="quarter" idx="4"/>
          </p:nvPr>
        </p:nvSpPr>
        <p:spPr>
          <a:xfrm>
            <a:off x="11260270" y="6553201"/>
            <a:ext cx="819105"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a:p>
        </p:txBody>
      </p:sp>
      <p:sp>
        <p:nvSpPr>
          <p:cNvPr id="7" name="Footer Placeholder 7">
            <a:extLst>
              <a:ext uri="{FF2B5EF4-FFF2-40B4-BE49-F238E27FC236}">
                <a16:creationId xmlns:a16="http://schemas.microsoft.com/office/drawing/2014/main" id="{163FFC53-B4C8-3948-9F3E-8E9AA9898332}"/>
              </a:ext>
            </a:extLst>
          </p:cNvPr>
          <p:cNvSpPr>
            <a:spLocks noGrp="1"/>
          </p:cNvSpPr>
          <p:nvPr>
            <p:ph type="ftr" sz="quarter" idx="3"/>
          </p:nvPr>
        </p:nvSpPr>
        <p:spPr>
          <a:xfrm>
            <a:off x="644770" y="6553201"/>
            <a:ext cx="4134645" cy="273089"/>
          </a:xfrm>
          <a:prstGeom prst="rect">
            <a:avLst/>
          </a:prstGeom>
        </p:spPr>
        <p:txBody>
          <a:bodyPr vert="horz" lIns="72000" tIns="45720" rIns="72000" bIns="45720" rtlCol="0" anchor="ctr"/>
          <a:lstStyle>
            <a:lvl1pPr algn="l">
              <a:defRPr lang="en-GB" sz="900" b="0" i="0" dirty="0">
                <a:solidFill>
                  <a:schemeClr val="bg1">
                    <a:lumMod val="50000"/>
                  </a:schemeClr>
                </a:solidFill>
                <a:latin typeface="+mn-lt"/>
                <a:ea typeface="Arial Unicode MS" panose="020B0604020202020204" pitchFamily="34" charset="-128"/>
                <a:cs typeface="Arial" panose="020B0604020202020204" pitchFamily="34" charset="0"/>
              </a:defRPr>
            </a:lvl1pPr>
          </a:lstStyle>
          <a:p>
            <a:r>
              <a:rPr lang="en-GB"/>
              <a:t>Core SG | DD/MM/2022</a:t>
            </a:r>
            <a:endParaRPr lang="en-NL"/>
          </a:p>
        </p:txBody>
      </p:sp>
    </p:spTree>
    <p:extLst>
      <p:ext uri="{BB962C8B-B14F-4D97-AF65-F5344CB8AC3E}">
        <p14:creationId xmlns:p14="http://schemas.microsoft.com/office/powerpoint/2010/main" val="167884414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FA3BC5-7826-AE4F-821A-D9B918CE0235}"/>
              </a:ext>
            </a:extLst>
          </p:cNvPr>
          <p:cNvGraphicFramePr>
            <a:graphicFrameLocks noChangeAspect="1"/>
          </p:cNvGraphicFramePr>
          <p:nvPr userDrawn="1">
            <p:custDataLst>
              <p:tags r:id="rId1"/>
            </p:custDataLst>
            <p:extLst>
              <p:ext uri="{D42A27DB-BD31-4B8C-83A1-F6EECF244321}">
                <p14:modId xmlns:p14="http://schemas.microsoft.com/office/powerpoint/2010/main" val="1192535564"/>
              </p:ext>
            </p:extLst>
          </p:nvPr>
        </p:nvGraphicFramePr>
        <p:xfrm>
          <a:off x="1955" y="1588"/>
          <a:ext cx="1510"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8FA3BC5-7826-AE4F-821A-D9B918CE0235}"/>
                          </a:ext>
                        </a:extLst>
                      </p:cNvPr>
                      <p:cNvPicPr/>
                      <p:nvPr/>
                    </p:nvPicPr>
                    <p:blipFill>
                      <a:blip r:embed="rId4"/>
                      <a:stretch>
                        <a:fillRect/>
                      </a:stretch>
                    </p:blipFill>
                    <p:spPr>
                      <a:xfrm>
                        <a:off x="1955" y="1588"/>
                        <a:ext cx="1510" cy="1588"/>
                      </a:xfrm>
                      <a:prstGeom prst="rect">
                        <a:avLst/>
                      </a:prstGeom>
                    </p:spPr>
                  </p:pic>
                </p:oleObj>
              </mc:Fallback>
            </mc:AlternateContent>
          </a:graphicData>
        </a:graphic>
      </p:graphicFrame>
      <p:sp>
        <p:nvSpPr>
          <p:cNvPr id="2" name="Title 1"/>
          <p:cNvSpPr>
            <a:spLocks noGrp="1"/>
          </p:cNvSpPr>
          <p:nvPr>
            <p:ph type="title"/>
          </p:nvPr>
        </p:nvSpPr>
        <p:spPr>
          <a:xfrm>
            <a:off x="644769" y="108000"/>
            <a:ext cx="8387594" cy="336550"/>
          </a:xfrm>
        </p:spPr>
        <p:txBody>
          <a:bodyPr vert="horz" lIns="72000" tIns="36000" rIns="72000" bIns="36000" rtlCol="0" anchor="t">
            <a:noAutofit/>
          </a:bodyPr>
          <a:lstStyle>
            <a:lvl1pPr>
              <a:defRPr lang="nl-NL" sz="1600" b="1" i="0" dirty="0">
                <a:solidFill>
                  <a:srgbClr val="3366FF"/>
                </a:solidFill>
                <a:latin typeface="+mn-lt"/>
                <a:ea typeface="Arial Unicode MS" panose="020B0604020202020204" pitchFamily="34" charset="-128"/>
                <a:cs typeface="Arial" panose="020B0604020202020204" pitchFamily="34" charset="0"/>
              </a:defRPr>
            </a:lvl1pPr>
          </a:lstStyle>
          <a:p>
            <a:pPr marL="0" lvl="0" indent="0" algn="l" rtl="0" eaLnBrk="1" fontAlgn="base" hangingPunct="1">
              <a:spcBef>
                <a:spcPts val="400"/>
              </a:spcBef>
              <a:spcAft>
                <a:spcPct val="0"/>
              </a:spcAft>
              <a:buClr>
                <a:schemeClr val="bg1"/>
              </a:buClr>
              <a:buSzPct val="120000"/>
              <a:buFont typeface="Arial" panose="020B0604020202020204" pitchFamily="34" charset="0"/>
              <a:buNone/>
            </a:pPr>
            <a:r>
              <a:rPr lang="en-US"/>
              <a:t>Click to edit Master title style</a:t>
            </a:r>
            <a:endParaRPr lang="nl-NL"/>
          </a:p>
        </p:txBody>
      </p:sp>
      <p:sp>
        <p:nvSpPr>
          <p:cNvPr id="13" name="Text Placeholder 12"/>
          <p:cNvSpPr>
            <a:spLocks noGrp="1"/>
          </p:cNvSpPr>
          <p:nvPr>
            <p:ph type="body" sz="quarter" idx="16" hasCustomPrompt="1"/>
          </p:nvPr>
        </p:nvSpPr>
        <p:spPr>
          <a:xfrm>
            <a:off x="644770" y="461650"/>
            <a:ext cx="10329870" cy="363850"/>
          </a:xfrm>
          <a:prstGeom prst="rect">
            <a:avLst/>
          </a:prstGeom>
        </p:spPr>
        <p:txBody>
          <a:bodyPr vert="horz" lIns="72000" tIns="36000" rIns="72000" bIns="36000" rtlCol="0" anchor="t">
            <a:noAutofit/>
          </a:bodyPr>
          <a:lstStyle>
            <a:lvl1pPr>
              <a:defRPr lang="nl-NL" sz="1400" b="0" i="0" dirty="0">
                <a:solidFill>
                  <a:srgbClr val="3366FF"/>
                </a:solidFill>
                <a:latin typeface="+mj-lt"/>
              </a:defRPr>
            </a:lvl1pPr>
          </a:lstStyle>
          <a:p>
            <a:pPr lvl="0">
              <a:spcBef>
                <a:spcPct val="0"/>
              </a:spcBef>
            </a:pPr>
            <a:r>
              <a:rPr lang="en-US"/>
              <a:t>Click to edit Description</a:t>
            </a:r>
          </a:p>
          <a:p>
            <a:pPr lvl="0">
              <a:spcBef>
                <a:spcPct val="0"/>
              </a:spcBef>
            </a:pPr>
            <a:endParaRPr lang="nl-NL"/>
          </a:p>
        </p:txBody>
      </p:sp>
      <p:sp>
        <p:nvSpPr>
          <p:cNvPr id="6" name="Espace réservé du numéro de diapositive 1">
            <a:extLst>
              <a:ext uri="{FF2B5EF4-FFF2-40B4-BE49-F238E27FC236}">
                <a16:creationId xmlns:a16="http://schemas.microsoft.com/office/drawing/2014/main" id="{A202140A-AFAB-44A8-AB9C-F5EEF12E385F}"/>
              </a:ext>
            </a:extLst>
          </p:cNvPr>
          <p:cNvSpPr>
            <a:spLocks noGrp="1"/>
          </p:cNvSpPr>
          <p:nvPr>
            <p:ph type="sldNum" sz="quarter" idx="4"/>
          </p:nvPr>
        </p:nvSpPr>
        <p:spPr>
          <a:xfrm>
            <a:off x="11260270" y="6553201"/>
            <a:ext cx="819105"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a:p>
        </p:txBody>
      </p:sp>
      <p:sp>
        <p:nvSpPr>
          <p:cNvPr id="5" name="Footer Placeholder 7">
            <a:extLst>
              <a:ext uri="{FF2B5EF4-FFF2-40B4-BE49-F238E27FC236}">
                <a16:creationId xmlns:a16="http://schemas.microsoft.com/office/drawing/2014/main" id="{36FB24C9-4EA8-1C44-B915-5E92856272EC}"/>
              </a:ext>
            </a:extLst>
          </p:cNvPr>
          <p:cNvSpPr>
            <a:spLocks noGrp="1"/>
          </p:cNvSpPr>
          <p:nvPr>
            <p:ph type="ftr" sz="quarter" idx="3"/>
          </p:nvPr>
        </p:nvSpPr>
        <p:spPr>
          <a:xfrm>
            <a:off x="644770" y="6553201"/>
            <a:ext cx="4134645" cy="273089"/>
          </a:xfrm>
          <a:prstGeom prst="rect">
            <a:avLst/>
          </a:prstGeom>
        </p:spPr>
        <p:txBody>
          <a:bodyPr vert="horz" lIns="72000" tIns="45720" rIns="72000" bIns="45720" rtlCol="0" anchor="ctr"/>
          <a:lstStyle>
            <a:lvl1pPr algn="l">
              <a:defRPr lang="en-GB" sz="900" b="0" i="0" dirty="0">
                <a:solidFill>
                  <a:schemeClr val="bg1">
                    <a:lumMod val="50000"/>
                  </a:schemeClr>
                </a:solidFill>
                <a:latin typeface="+mn-lt"/>
                <a:ea typeface="Arial Unicode MS" panose="020B0604020202020204" pitchFamily="34" charset="-128"/>
                <a:cs typeface="Arial" panose="020B0604020202020204" pitchFamily="34" charset="0"/>
              </a:defRPr>
            </a:lvl1pPr>
          </a:lstStyle>
          <a:p>
            <a:r>
              <a:rPr lang="en-GB"/>
              <a:t>Core SG | DD/MM/2022</a:t>
            </a:r>
            <a:endParaRPr lang="en-NL"/>
          </a:p>
        </p:txBody>
      </p:sp>
    </p:spTree>
    <p:extLst>
      <p:ext uri="{BB962C8B-B14F-4D97-AF65-F5344CB8AC3E}">
        <p14:creationId xmlns:p14="http://schemas.microsoft.com/office/powerpoint/2010/main" val="1486199996"/>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2370669" y="2912663"/>
            <a:ext cx="9101929" cy="792162"/>
          </a:xfrm>
          <a:prstGeom prst="rect">
            <a:avLst/>
          </a:prstGeom>
        </p:spPr>
        <p:txBody>
          <a:bodyPr/>
          <a:lstStyle>
            <a:lvl1pPr marL="0" indent="0">
              <a:buNone/>
              <a:defRPr lang="en-US" sz="1800" b="0" i="0" baseline="0" dirty="0">
                <a:solidFill>
                  <a:schemeClr val="tx2"/>
                </a:solidFill>
                <a:latin typeface="+mn-lt"/>
                <a:ea typeface="Arial Unicode MS" panose="020B0604020202020204" pitchFamily="34" charset="-128"/>
                <a:cs typeface="Arial" panose="020B0604020202020204" pitchFamily="34" charset="0"/>
              </a:defRPr>
            </a:lvl1pPr>
          </a:lstStyle>
          <a:p>
            <a:pPr lvl="0"/>
            <a:r>
              <a:rPr lang="en-US"/>
              <a:t>Date, Place</a:t>
            </a:r>
          </a:p>
        </p:txBody>
      </p:sp>
      <p:sp>
        <p:nvSpPr>
          <p:cNvPr id="15" name="Text Placeholder 15"/>
          <p:cNvSpPr>
            <a:spLocks noGrp="1"/>
          </p:cNvSpPr>
          <p:nvPr>
            <p:ph type="body" sz="quarter" idx="12" hasCustomPrompt="1"/>
          </p:nvPr>
        </p:nvSpPr>
        <p:spPr>
          <a:xfrm>
            <a:off x="2372329" y="1792322"/>
            <a:ext cx="9101929" cy="792162"/>
          </a:xfrm>
          <a:prstGeom prst="rect">
            <a:avLst/>
          </a:prstGeom>
        </p:spPr>
        <p:txBody>
          <a:bodyPr anchor="ctr" anchorCtr="0">
            <a:noAutofit/>
          </a:bodyPr>
          <a:lstStyle>
            <a:lvl1pPr marL="0" indent="0">
              <a:buNone/>
              <a:defRPr lang="en-US" sz="3000" b="0" i="0" baseline="0" dirty="0">
                <a:solidFill>
                  <a:srgbClr val="3366FF"/>
                </a:solidFill>
                <a:latin typeface="+mn-lt"/>
                <a:ea typeface="Arial Unicode MS" panose="020B0604020202020204" pitchFamily="34" charset="-128"/>
                <a:cs typeface="Arial" panose="020B0604020202020204" pitchFamily="34" charset="0"/>
              </a:defRPr>
            </a:lvl1pPr>
          </a:lstStyle>
          <a:p>
            <a:pPr lvl="0"/>
            <a:r>
              <a:rPr lang="en-US"/>
              <a:t>Name of the meeting</a:t>
            </a:r>
          </a:p>
        </p:txBody>
      </p:sp>
      <p:grpSp>
        <p:nvGrpSpPr>
          <p:cNvPr id="161" name="Graphic 3">
            <a:extLst>
              <a:ext uri="{FF2B5EF4-FFF2-40B4-BE49-F238E27FC236}">
                <a16:creationId xmlns:a16="http://schemas.microsoft.com/office/drawing/2014/main" id="{0CD8ADA5-8F92-4554-B026-77F47736CA6D}"/>
              </a:ext>
            </a:extLst>
          </p:cNvPr>
          <p:cNvGrpSpPr>
            <a:grpSpLocks/>
          </p:cNvGrpSpPr>
          <p:nvPr userDrawn="1"/>
        </p:nvGrpSpPr>
        <p:grpSpPr>
          <a:xfrm>
            <a:off x="5914064" y="2340000"/>
            <a:ext cx="6867692" cy="4460400"/>
            <a:chOff x="66025" y="-34306"/>
            <a:chExt cx="6381750" cy="5895975"/>
          </a:xfrm>
          <a:scene3d>
            <a:camera prst="perspectiveRight">
              <a:rot lat="0" lon="19500000" rev="0"/>
            </a:camera>
            <a:lightRig rig="threePt" dir="t"/>
          </a:scene3d>
        </p:grpSpPr>
        <p:sp>
          <p:nvSpPr>
            <p:cNvPr id="162" name="Freeform: Shape 161">
              <a:extLst>
                <a:ext uri="{FF2B5EF4-FFF2-40B4-BE49-F238E27FC236}">
                  <a16:creationId xmlns:a16="http://schemas.microsoft.com/office/drawing/2014/main" id="{4E29C2D3-A23A-475E-ADFD-E18D9CA663A9}"/>
                </a:ext>
              </a:extLst>
            </p:cNvPr>
            <p:cNvSpPr/>
            <p:nvPr/>
          </p:nvSpPr>
          <p:spPr>
            <a:xfrm>
              <a:off x="5751687" y="4420250"/>
              <a:ext cx="484155" cy="202882"/>
            </a:xfrm>
            <a:custGeom>
              <a:avLst/>
              <a:gdLst>
                <a:gd name="connsiteX0" fmla="*/ 426530 w 484155"/>
                <a:gd name="connsiteY0" fmla="*/ 0 h 202882"/>
                <a:gd name="connsiteX1" fmla="*/ 396050 w 484155"/>
                <a:gd name="connsiteY1" fmla="*/ 0 h 202882"/>
                <a:gd name="connsiteX2" fmla="*/ 0 w 484155"/>
                <a:gd name="connsiteY2" fmla="*/ 95 h 202882"/>
                <a:gd name="connsiteX3" fmla="*/ 0 w 484155"/>
                <a:gd name="connsiteY3" fmla="*/ 196596 h 202882"/>
                <a:gd name="connsiteX4" fmla="*/ 476 w 484155"/>
                <a:gd name="connsiteY4" fmla="*/ 202882 h 202882"/>
                <a:gd name="connsiteX5" fmla="*/ 69152 w 484155"/>
                <a:gd name="connsiteY5" fmla="*/ 135255 h 202882"/>
                <a:gd name="connsiteX6" fmla="*/ 426530 w 484155"/>
                <a:gd name="connsiteY6" fmla="*/ 135350 h 202882"/>
                <a:gd name="connsiteX7" fmla="*/ 484156 w 484155"/>
                <a:gd name="connsiteY7" fmla="*/ 77724 h 202882"/>
                <a:gd name="connsiteX8" fmla="*/ 484156 w 484155"/>
                <a:gd name="connsiteY8" fmla="*/ 57721 h 202882"/>
                <a:gd name="connsiteX9" fmla="*/ 426530 w 484155"/>
                <a:gd name="connsiteY9" fmla="*/ 0 h 20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155" h="202882">
                  <a:moveTo>
                    <a:pt x="426530" y="0"/>
                  </a:moveTo>
                  <a:lnTo>
                    <a:pt x="396050" y="0"/>
                  </a:lnTo>
                  <a:cubicBezTo>
                    <a:pt x="63913" y="0"/>
                    <a:pt x="40767" y="0"/>
                    <a:pt x="0" y="95"/>
                  </a:cubicBezTo>
                  <a:lnTo>
                    <a:pt x="0" y="196596"/>
                  </a:lnTo>
                  <a:cubicBezTo>
                    <a:pt x="571" y="196977"/>
                    <a:pt x="476" y="199930"/>
                    <a:pt x="476" y="202882"/>
                  </a:cubicBezTo>
                  <a:cubicBezTo>
                    <a:pt x="476" y="170497"/>
                    <a:pt x="7334" y="135255"/>
                    <a:pt x="69152" y="135255"/>
                  </a:cubicBezTo>
                  <a:lnTo>
                    <a:pt x="426530" y="135350"/>
                  </a:lnTo>
                  <a:cubicBezTo>
                    <a:pt x="458248" y="135350"/>
                    <a:pt x="484156" y="109442"/>
                    <a:pt x="484156" y="77724"/>
                  </a:cubicBezTo>
                  <a:lnTo>
                    <a:pt x="484156" y="57721"/>
                  </a:lnTo>
                  <a:cubicBezTo>
                    <a:pt x="484156" y="25908"/>
                    <a:pt x="458153" y="0"/>
                    <a:pt x="426530" y="0"/>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63" name="Freeform: Shape 162">
              <a:extLst>
                <a:ext uri="{FF2B5EF4-FFF2-40B4-BE49-F238E27FC236}">
                  <a16:creationId xmlns:a16="http://schemas.microsoft.com/office/drawing/2014/main" id="{234AE2FD-7B38-405F-825B-32C4DFBE3385}"/>
                </a:ext>
              </a:extLst>
            </p:cNvPr>
            <p:cNvSpPr/>
            <p:nvPr/>
          </p:nvSpPr>
          <p:spPr>
            <a:xfrm>
              <a:off x="4971686" y="52273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64" name="Freeform: Shape 163">
              <a:extLst>
                <a:ext uri="{FF2B5EF4-FFF2-40B4-BE49-F238E27FC236}">
                  <a16:creationId xmlns:a16="http://schemas.microsoft.com/office/drawing/2014/main" id="{7544EF93-D6DB-4383-8F27-964E55DFD859}"/>
                </a:ext>
              </a:extLst>
            </p:cNvPr>
            <p:cNvSpPr/>
            <p:nvPr/>
          </p:nvSpPr>
          <p:spPr>
            <a:xfrm>
              <a:off x="4507341" y="448711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65" name="Freeform: Shape 164">
              <a:extLst>
                <a:ext uri="{FF2B5EF4-FFF2-40B4-BE49-F238E27FC236}">
                  <a16:creationId xmlns:a16="http://schemas.microsoft.com/office/drawing/2014/main" id="{51E76D50-2021-4BFC-9880-8D03EC62ECC1}"/>
                </a:ext>
              </a:extLst>
            </p:cNvPr>
            <p:cNvSpPr/>
            <p:nvPr/>
          </p:nvSpPr>
          <p:spPr>
            <a:xfrm>
              <a:off x="4659360" y="479953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66" name="Freeform: Shape 165">
              <a:extLst>
                <a:ext uri="{FF2B5EF4-FFF2-40B4-BE49-F238E27FC236}">
                  <a16:creationId xmlns:a16="http://schemas.microsoft.com/office/drawing/2014/main" id="{2E9D3B00-85FC-4691-A0E3-08835F15F394}"/>
                </a:ext>
              </a:extLst>
            </p:cNvPr>
            <p:cNvSpPr/>
            <p:nvPr/>
          </p:nvSpPr>
          <p:spPr>
            <a:xfrm>
              <a:off x="4806046" y="50789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67" name="Freeform: Shape 166">
              <a:extLst>
                <a:ext uri="{FF2B5EF4-FFF2-40B4-BE49-F238E27FC236}">
                  <a16:creationId xmlns:a16="http://schemas.microsoft.com/office/drawing/2014/main" id="{6EC0746B-8391-4A6E-84B9-4FCD93197C17}"/>
                </a:ext>
              </a:extLst>
            </p:cNvPr>
            <p:cNvSpPr/>
            <p:nvPr/>
          </p:nvSpPr>
          <p:spPr>
            <a:xfrm>
              <a:off x="539988" y="2223595"/>
              <a:ext cx="151257" cy="159829"/>
            </a:xfrm>
            <a:custGeom>
              <a:avLst/>
              <a:gdLst>
                <a:gd name="connsiteX0" fmla="*/ 151257 w 151257"/>
                <a:gd name="connsiteY0" fmla="*/ 159829 h 159829"/>
                <a:gd name="connsiteX1" fmla="*/ 151257 w 151257"/>
                <a:gd name="connsiteY1" fmla="*/ 83439 h 159829"/>
                <a:gd name="connsiteX2" fmla="*/ 67818 w 151257"/>
                <a:gd name="connsiteY2" fmla="*/ 0 h 159829"/>
                <a:gd name="connsiteX3" fmla="*/ 0 w 151257"/>
                <a:gd name="connsiteY3" fmla="*/ 0 h 159829"/>
                <a:gd name="connsiteX4" fmla="*/ 0 w 151257"/>
                <a:gd name="connsiteY4" fmla="*/ 76391 h 159829"/>
                <a:gd name="connsiteX5" fmla="*/ 83439 w 151257"/>
                <a:gd name="connsiteY5" fmla="*/ 159829 h 159829"/>
                <a:gd name="connsiteX6" fmla="*/ 151257 w 151257"/>
                <a:gd name="connsiteY6" fmla="*/ 159829 h 15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257" h="159829">
                  <a:moveTo>
                    <a:pt x="151257" y="159829"/>
                  </a:moveTo>
                  <a:lnTo>
                    <a:pt x="151257" y="83439"/>
                  </a:lnTo>
                  <a:cubicBezTo>
                    <a:pt x="151257" y="37529"/>
                    <a:pt x="113729" y="0"/>
                    <a:pt x="67818" y="0"/>
                  </a:cubicBezTo>
                  <a:lnTo>
                    <a:pt x="0" y="0"/>
                  </a:lnTo>
                  <a:lnTo>
                    <a:pt x="0" y="76391"/>
                  </a:lnTo>
                  <a:cubicBezTo>
                    <a:pt x="0" y="122301"/>
                    <a:pt x="37529" y="159829"/>
                    <a:pt x="83439" y="159829"/>
                  </a:cubicBezTo>
                  <a:lnTo>
                    <a:pt x="151257" y="159829"/>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68" name="Freeform: Shape 167">
              <a:extLst>
                <a:ext uri="{FF2B5EF4-FFF2-40B4-BE49-F238E27FC236}">
                  <a16:creationId xmlns:a16="http://schemas.microsoft.com/office/drawing/2014/main" id="{003148F5-74A7-44E6-9797-EA3C6C4F2724}"/>
                </a:ext>
              </a:extLst>
            </p:cNvPr>
            <p:cNvSpPr/>
            <p:nvPr/>
          </p:nvSpPr>
          <p:spPr>
            <a:xfrm>
              <a:off x="243761" y="2223595"/>
              <a:ext cx="447484" cy="566261"/>
            </a:xfrm>
            <a:custGeom>
              <a:avLst/>
              <a:gdLst>
                <a:gd name="connsiteX0" fmla="*/ 83344 w 447484"/>
                <a:gd name="connsiteY0" fmla="*/ 566261 h 566261"/>
                <a:gd name="connsiteX1" fmla="*/ 364046 w 447484"/>
                <a:gd name="connsiteY1" fmla="*/ 566261 h 566261"/>
                <a:gd name="connsiteX2" fmla="*/ 447485 w 447484"/>
                <a:gd name="connsiteY2" fmla="*/ 482822 h 566261"/>
                <a:gd name="connsiteX3" fmla="*/ 447485 w 447484"/>
                <a:gd name="connsiteY3" fmla="*/ 240316 h 566261"/>
                <a:gd name="connsiteX4" fmla="*/ 447485 w 447484"/>
                <a:gd name="connsiteY4" fmla="*/ 159829 h 566261"/>
                <a:gd name="connsiteX5" fmla="*/ 379667 w 447484"/>
                <a:gd name="connsiteY5" fmla="*/ 159829 h 566261"/>
                <a:gd name="connsiteX6" fmla="*/ 375952 w 447484"/>
                <a:gd name="connsiteY6" fmla="*/ 159829 h 566261"/>
                <a:gd name="connsiteX7" fmla="*/ 372999 w 447484"/>
                <a:gd name="connsiteY7" fmla="*/ 159544 h 566261"/>
                <a:gd name="connsiteX8" fmla="*/ 296228 w 447484"/>
                <a:gd name="connsiteY8" fmla="*/ 76391 h 566261"/>
                <a:gd name="connsiteX9" fmla="*/ 296228 w 447484"/>
                <a:gd name="connsiteY9" fmla="*/ 0 h 566261"/>
                <a:gd name="connsiteX10" fmla="*/ 237458 w 447484"/>
                <a:gd name="connsiteY10" fmla="*/ 0 h 566261"/>
                <a:gd name="connsiteX11" fmla="*/ 156496 w 447484"/>
                <a:gd name="connsiteY11" fmla="*/ 78676 h 566261"/>
                <a:gd name="connsiteX12" fmla="*/ 77153 w 447484"/>
                <a:gd name="connsiteY12" fmla="*/ 159639 h 566261"/>
                <a:gd name="connsiteX13" fmla="*/ 0 w 447484"/>
                <a:gd name="connsiteY13" fmla="*/ 240506 h 566261"/>
                <a:gd name="connsiteX14" fmla="*/ 0 w 447484"/>
                <a:gd name="connsiteY14" fmla="*/ 482632 h 566261"/>
                <a:gd name="connsiteX15" fmla="*/ 83344 w 447484"/>
                <a:gd name="connsiteY15" fmla="*/ 566261 h 56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484" h="566261">
                  <a:moveTo>
                    <a:pt x="83344" y="566261"/>
                  </a:moveTo>
                  <a:lnTo>
                    <a:pt x="364046" y="566261"/>
                  </a:lnTo>
                  <a:cubicBezTo>
                    <a:pt x="409956" y="566261"/>
                    <a:pt x="447485" y="528733"/>
                    <a:pt x="447485" y="482822"/>
                  </a:cubicBezTo>
                  <a:lnTo>
                    <a:pt x="447485" y="240316"/>
                  </a:lnTo>
                  <a:lnTo>
                    <a:pt x="447485" y="159829"/>
                  </a:lnTo>
                  <a:lnTo>
                    <a:pt x="379667" y="159829"/>
                  </a:lnTo>
                  <a:cubicBezTo>
                    <a:pt x="378428" y="159829"/>
                    <a:pt x="377190" y="159829"/>
                    <a:pt x="375952" y="159829"/>
                  </a:cubicBezTo>
                  <a:cubicBezTo>
                    <a:pt x="374999" y="159734"/>
                    <a:pt x="373951" y="159639"/>
                    <a:pt x="372999" y="159544"/>
                  </a:cubicBezTo>
                  <a:cubicBezTo>
                    <a:pt x="330232" y="156115"/>
                    <a:pt x="296228" y="120015"/>
                    <a:pt x="296228" y="76391"/>
                  </a:cubicBezTo>
                  <a:lnTo>
                    <a:pt x="296228" y="0"/>
                  </a:lnTo>
                  <a:lnTo>
                    <a:pt x="237458" y="0"/>
                  </a:lnTo>
                  <a:cubicBezTo>
                    <a:pt x="193643" y="0"/>
                    <a:pt x="157734" y="34957"/>
                    <a:pt x="156496" y="78676"/>
                  </a:cubicBezTo>
                  <a:cubicBezTo>
                    <a:pt x="155258" y="122110"/>
                    <a:pt x="120396" y="157543"/>
                    <a:pt x="77153" y="159639"/>
                  </a:cubicBezTo>
                  <a:cubicBezTo>
                    <a:pt x="33909" y="161734"/>
                    <a:pt x="0" y="197263"/>
                    <a:pt x="0" y="240506"/>
                  </a:cubicBezTo>
                  <a:lnTo>
                    <a:pt x="0" y="482632"/>
                  </a:lnTo>
                  <a:cubicBezTo>
                    <a:pt x="0" y="528733"/>
                    <a:pt x="37529" y="566261"/>
                    <a:pt x="83344" y="566261"/>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69" name="Freeform: Shape 168">
              <a:extLst>
                <a:ext uri="{FF2B5EF4-FFF2-40B4-BE49-F238E27FC236}">
                  <a16:creationId xmlns:a16="http://schemas.microsoft.com/office/drawing/2014/main" id="{7F547AD2-0592-4BBE-8DAA-E39DA7FA4765}"/>
                </a:ext>
              </a:extLst>
            </p:cNvPr>
            <p:cNvSpPr/>
            <p:nvPr/>
          </p:nvSpPr>
          <p:spPr>
            <a:xfrm>
              <a:off x="718392" y="1652285"/>
              <a:ext cx="1079087" cy="1436369"/>
            </a:xfrm>
            <a:custGeom>
              <a:avLst/>
              <a:gdLst>
                <a:gd name="connsiteX0" fmla="*/ 235363 w 1079087"/>
                <a:gd name="connsiteY0" fmla="*/ 707612 h 1436369"/>
                <a:gd name="connsiteX1" fmla="*/ 366617 w 1079087"/>
                <a:gd name="connsiteY1" fmla="*/ 707612 h 1436369"/>
                <a:gd name="connsiteX2" fmla="*/ 373856 w 1079087"/>
                <a:gd name="connsiteY2" fmla="*/ 707326 h 1436369"/>
                <a:gd name="connsiteX3" fmla="*/ 387953 w 1079087"/>
                <a:gd name="connsiteY3" fmla="*/ 707326 h 1436369"/>
                <a:gd name="connsiteX4" fmla="*/ 388906 w 1079087"/>
                <a:gd name="connsiteY4" fmla="*/ 707422 h 1436369"/>
                <a:gd name="connsiteX5" fmla="*/ 463772 w 1079087"/>
                <a:gd name="connsiteY5" fmla="*/ 788194 h 1436369"/>
                <a:gd name="connsiteX6" fmla="*/ 463772 w 1079087"/>
                <a:gd name="connsiteY6" fmla="*/ 789527 h 1436369"/>
                <a:gd name="connsiteX7" fmla="*/ 386239 w 1079087"/>
                <a:gd name="connsiteY7" fmla="*/ 870490 h 1436369"/>
                <a:gd name="connsiteX8" fmla="*/ 306896 w 1079087"/>
                <a:gd name="connsiteY8" fmla="*/ 945166 h 1436369"/>
                <a:gd name="connsiteX9" fmla="*/ 226314 w 1079087"/>
                <a:gd name="connsiteY9" fmla="*/ 1017746 h 1436369"/>
                <a:gd name="connsiteX10" fmla="*/ 206407 w 1079087"/>
                <a:gd name="connsiteY10" fmla="*/ 1017746 h 1436369"/>
                <a:gd name="connsiteX11" fmla="*/ 146495 w 1079087"/>
                <a:gd name="connsiteY11" fmla="*/ 1077658 h 1436369"/>
                <a:gd name="connsiteX12" fmla="*/ 146495 w 1079087"/>
                <a:gd name="connsiteY12" fmla="*/ 1083850 h 1436369"/>
                <a:gd name="connsiteX13" fmla="*/ 206407 w 1079087"/>
                <a:gd name="connsiteY13" fmla="*/ 1143762 h 1436369"/>
                <a:gd name="connsiteX14" fmla="*/ 225362 w 1079087"/>
                <a:gd name="connsiteY14" fmla="*/ 1143762 h 1436369"/>
                <a:gd name="connsiteX15" fmla="*/ 306324 w 1079087"/>
                <a:gd name="connsiteY15" fmla="*/ 1224724 h 1436369"/>
                <a:gd name="connsiteX16" fmla="*/ 306324 w 1079087"/>
                <a:gd name="connsiteY16" fmla="*/ 1229392 h 1436369"/>
                <a:gd name="connsiteX17" fmla="*/ 225362 w 1079087"/>
                <a:gd name="connsiteY17" fmla="*/ 1310354 h 1436369"/>
                <a:gd name="connsiteX18" fmla="*/ 59912 w 1079087"/>
                <a:gd name="connsiteY18" fmla="*/ 1310354 h 1436369"/>
                <a:gd name="connsiteX19" fmla="*/ 0 w 1079087"/>
                <a:gd name="connsiteY19" fmla="*/ 1370266 h 1436369"/>
                <a:gd name="connsiteX20" fmla="*/ 0 w 1079087"/>
                <a:gd name="connsiteY20" fmla="*/ 1376458 h 1436369"/>
                <a:gd name="connsiteX21" fmla="*/ 59912 w 1079087"/>
                <a:gd name="connsiteY21" fmla="*/ 1436370 h 1436369"/>
                <a:gd name="connsiteX22" fmla="*/ 389954 w 1079087"/>
                <a:gd name="connsiteY22" fmla="*/ 1436370 h 1436369"/>
                <a:gd name="connsiteX23" fmla="*/ 397764 w 1079087"/>
                <a:gd name="connsiteY23" fmla="*/ 1436370 h 1436369"/>
                <a:gd name="connsiteX24" fmla="*/ 521208 w 1079087"/>
                <a:gd name="connsiteY24" fmla="*/ 1436370 h 1436369"/>
                <a:gd name="connsiteX25" fmla="*/ 603980 w 1079087"/>
                <a:gd name="connsiteY25" fmla="*/ 1363218 h 1436369"/>
                <a:gd name="connsiteX26" fmla="*/ 684371 w 1079087"/>
                <a:gd name="connsiteY26" fmla="*/ 1292162 h 1436369"/>
                <a:gd name="connsiteX27" fmla="*/ 838390 w 1079087"/>
                <a:gd name="connsiteY27" fmla="*/ 1292162 h 1436369"/>
                <a:gd name="connsiteX28" fmla="*/ 920782 w 1079087"/>
                <a:gd name="connsiteY28" fmla="*/ 1221581 h 1436369"/>
                <a:gd name="connsiteX29" fmla="*/ 998315 w 1079087"/>
                <a:gd name="connsiteY29" fmla="*/ 1153192 h 1436369"/>
                <a:gd name="connsiteX30" fmla="*/ 1079087 w 1079087"/>
                <a:gd name="connsiteY30" fmla="*/ 1069848 h 1436369"/>
                <a:gd name="connsiteX31" fmla="*/ 1079087 w 1079087"/>
                <a:gd name="connsiteY31" fmla="*/ 956310 h 1436369"/>
                <a:gd name="connsiteX32" fmla="*/ 998792 w 1079087"/>
                <a:gd name="connsiteY32" fmla="*/ 872966 h 1436369"/>
                <a:gd name="connsiteX33" fmla="*/ 921258 w 1079087"/>
                <a:gd name="connsiteY33" fmla="*/ 800672 h 1436369"/>
                <a:gd name="connsiteX34" fmla="*/ 840581 w 1079087"/>
                <a:gd name="connsiteY34" fmla="*/ 726186 h 1436369"/>
                <a:gd name="connsiteX35" fmla="*/ 761810 w 1079087"/>
                <a:gd name="connsiteY35" fmla="*/ 645223 h 1436369"/>
                <a:gd name="connsiteX36" fmla="*/ 761810 w 1079087"/>
                <a:gd name="connsiteY36" fmla="*/ 515969 h 1436369"/>
                <a:gd name="connsiteX37" fmla="*/ 684657 w 1079087"/>
                <a:gd name="connsiteY37" fmla="*/ 432816 h 1436369"/>
                <a:gd name="connsiteX38" fmla="*/ 609695 w 1079087"/>
                <a:gd name="connsiteY38" fmla="*/ 352044 h 1436369"/>
                <a:gd name="connsiteX39" fmla="*/ 609695 w 1079087"/>
                <a:gd name="connsiteY39" fmla="*/ 224980 h 1436369"/>
                <a:gd name="connsiteX40" fmla="*/ 527780 w 1079087"/>
                <a:gd name="connsiteY40" fmla="*/ 141541 h 1436369"/>
                <a:gd name="connsiteX41" fmla="*/ 449009 w 1079087"/>
                <a:gd name="connsiteY41" fmla="*/ 71818 h 1436369"/>
                <a:gd name="connsiteX42" fmla="*/ 366427 w 1079087"/>
                <a:gd name="connsiteY42" fmla="*/ 0 h 1436369"/>
                <a:gd name="connsiteX43" fmla="*/ 235363 w 1079087"/>
                <a:gd name="connsiteY43" fmla="*/ 0 h 1436369"/>
                <a:gd name="connsiteX44" fmla="*/ 151924 w 1079087"/>
                <a:gd name="connsiteY44" fmla="*/ 83439 h 1436369"/>
                <a:gd name="connsiteX45" fmla="*/ 151924 w 1079087"/>
                <a:gd name="connsiteY45" fmla="*/ 624268 h 1436369"/>
                <a:gd name="connsiteX46" fmla="*/ 235363 w 1079087"/>
                <a:gd name="connsiteY46" fmla="*/ 707612 h 14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79087" h="1436369">
                  <a:moveTo>
                    <a:pt x="235363" y="707612"/>
                  </a:moveTo>
                  <a:lnTo>
                    <a:pt x="366617" y="707612"/>
                  </a:lnTo>
                  <a:cubicBezTo>
                    <a:pt x="369094" y="707612"/>
                    <a:pt x="371475" y="707517"/>
                    <a:pt x="373856" y="707326"/>
                  </a:cubicBezTo>
                  <a:cubicBezTo>
                    <a:pt x="378809" y="706850"/>
                    <a:pt x="383000" y="706850"/>
                    <a:pt x="387953" y="707326"/>
                  </a:cubicBezTo>
                  <a:cubicBezTo>
                    <a:pt x="388239" y="707326"/>
                    <a:pt x="388620" y="707422"/>
                    <a:pt x="388906" y="707422"/>
                  </a:cubicBezTo>
                  <a:cubicBezTo>
                    <a:pt x="431292" y="710660"/>
                    <a:pt x="463772" y="745712"/>
                    <a:pt x="463772" y="788194"/>
                  </a:cubicBezTo>
                  <a:lnTo>
                    <a:pt x="463772" y="789527"/>
                  </a:lnTo>
                  <a:cubicBezTo>
                    <a:pt x="463772" y="832866"/>
                    <a:pt x="429578" y="868585"/>
                    <a:pt x="386239" y="870490"/>
                  </a:cubicBezTo>
                  <a:cubicBezTo>
                    <a:pt x="344900" y="872299"/>
                    <a:pt x="311182" y="904494"/>
                    <a:pt x="306896" y="945166"/>
                  </a:cubicBezTo>
                  <a:cubicBezTo>
                    <a:pt x="302514" y="986599"/>
                    <a:pt x="267938" y="1017746"/>
                    <a:pt x="226314" y="1017746"/>
                  </a:cubicBezTo>
                  <a:lnTo>
                    <a:pt x="206407" y="1017746"/>
                  </a:lnTo>
                  <a:cubicBezTo>
                    <a:pt x="173450" y="1017746"/>
                    <a:pt x="146495" y="1044702"/>
                    <a:pt x="146495" y="1077658"/>
                  </a:cubicBezTo>
                  <a:lnTo>
                    <a:pt x="146495" y="1083850"/>
                  </a:lnTo>
                  <a:cubicBezTo>
                    <a:pt x="146495" y="1116806"/>
                    <a:pt x="173450" y="1143762"/>
                    <a:pt x="206407" y="1143762"/>
                  </a:cubicBezTo>
                  <a:lnTo>
                    <a:pt x="225362" y="1143762"/>
                  </a:lnTo>
                  <a:cubicBezTo>
                    <a:pt x="269939" y="1143762"/>
                    <a:pt x="306324" y="1180148"/>
                    <a:pt x="306324" y="1224724"/>
                  </a:cubicBezTo>
                  <a:lnTo>
                    <a:pt x="306324" y="1229392"/>
                  </a:lnTo>
                  <a:cubicBezTo>
                    <a:pt x="306324" y="1273969"/>
                    <a:pt x="269939" y="1310354"/>
                    <a:pt x="225362" y="1310354"/>
                  </a:cubicBezTo>
                  <a:lnTo>
                    <a:pt x="59912" y="1310354"/>
                  </a:lnTo>
                  <a:cubicBezTo>
                    <a:pt x="26956" y="1310354"/>
                    <a:pt x="0" y="1337310"/>
                    <a:pt x="0" y="1370266"/>
                  </a:cubicBezTo>
                  <a:lnTo>
                    <a:pt x="0" y="1376458"/>
                  </a:lnTo>
                  <a:cubicBezTo>
                    <a:pt x="0" y="1409414"/>
                    <a:pt x="26956" y="1436370"/>
                    <a:pt x="59912" y="1436370"/>
                  </a:cubicBezTo>
                  <a:lnTo>
                    <a:pt x="389954" y="1436370"/>
                  </a:lnTo>
                  <a:lnTo>
                    <a:pt x="397764" y="1436370"/>
                  </a:lnTo>
                  <a:lnTo>
                    <a:pt x="521208" y="1436370"/>
                  </a:lnTo>
                  <a:cubicBezTo>
                    <a:pt x="563594" y="1436370"/>
                    <a:pt x="598932" y="1404271"/>
                    <a:pt x="603980" y="1363218"/>
                  </a:cubicBezTo>
                  <a:cubicBezTo>
                    <a:pt x="609028" y="1322451"/>
                    <a:pt x="643223" y="1292162"/>
                    <a:pt x="684371" y="1292162"/>
                  </a:cubicBezTo>
                  <a:lnTo>
                    <a:pt x="838390" y="1292162"/>
                  </a:lnTo>
                  <a:cubicBezTo>
                    <a:pt x="879920" y="1292162"/>
                    <a:pt x="914590" y="1261396"/>
                    <a:pt x="920782" y="1221581"/>
                  </a:cubicBezTo>
                  <a:cubicBezTo>
                    <a:pt x="926878" y="1182719"/>
                    <a:pt x="958977" y="1154335"/>
                    <a:pt x="998315" y="1153192"/>
                  </a:cubicBezTo>
                  <a:cubicBezTo>
                    <a:pt x="1042988" y="1151763"/>
                    <a:pt x="1079087" y="1114806"/>
                    <a:pt x="1079087" y="1069848"/>
                  </a:cubicBezTo>
                  <a:lnTo>
                    <a:pt x="1079087" y="956310"/>
                  </a:lnTo>
                  <a:cubicBezTo>
                    <a:pt x="1079087" y="911447"/>
                    <a:pt x="1043273" y="874586"/>
                    <a:pt x="998792" y="872966"/>
                  </a:cubicBezTo>
                  <a:cubicBezTo>
                    <a:pt x="958310" y="871442"/>
                    <a:pt x="925640" y="840962"/>
                    <a:pt x="921258" y="800672"/>
                  </a:cubicBezTo>
                  <a:cubicBezTo>
                    <a:pt x="916877" y="759619"/>
                    <a:pt x="882396" y="727329"/>
                    <a:pt x="840581" y="726186"/>
                  </a:cubicBezTo>
                  <a:cubicBezTo>
                    <a:pt x="796766" y="724948"/>
                    <a:pt x="761810" y="689038"/>
                    <a:pt x="761810" y="645223"/>
                  </a:cubicBezTo>
                  <a:lnTo>
                    <a:pt x="761810" y="515969"/>
                  </a:lnTo>
                  <a:cubicBezTo>
                    <a:pt x="761810" y="472154"/>
                    <a:pt x="727615" y="436055"/>
                    <a:pt x="684657" y="432816"/>
                  </a:cubicBezTo>
                  <a:cubicBezTo>
                    <a:pt x="642271" y="429577"/>
                    <a:pt x="609695" y="394525"/>
                    <a:pt x="609695" y="352044"/>
                  </a:cubicBezTo>
                  <a:lnTo>
                    <a:pt x="609695" y="224980"/>
                  </a:lnTo>
                  <a:cubicBezTo>
                    <a:pt x="609695" y="179641"/>
                    <a:pt x="572929" y="142399"/>
                    <a:pt x="527780" y="141541"/>
                  </a:cubicBezTo>
                  <a:cubicBezTo>
                    <a:pt x="487680" y="140875"/>
                    <a:pt x="454533" y="111538"/>
                    <a:pt x="449009" y="71818"/>
                  </a:cubicBezTo>
                  <a:cubicBezTo>
                    <a:pt x="443294" y="31337"/>
                    <a:pt x="408337" y="0"/>
                    <a:pt x="366427" y="0"/>
                  </a:cubicBezTo>
                  <a:lnTo>
                    <a:pt x="235363" y="0"/>
                  </a:lnTo>
                  <a:cubicBezTo>
                    <a:pt x="189452" y="0"/>
                    <a:pt x="151924" y="37528"/>
                    <a:pt x="151924" y="83439"/>
                  </a:cubicBezTo>
                  <a:lnTo>
                    <a:pt x="151924" y="624268"/>
                  </a:lnTo>
                  <a:cubicBezTo>
                    <a:pt x="151924" y="670084"/>
                    <a:pt x="189452" y="707612"/>
                    <a:pt x="235363" y="707612"/>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70" name="Freeform: Shape 169">
              <a:extLst>
                <a:ext uri="{FF2B5EF4-FFF2-40B4-BE49-F238E27FC236}">
                  <a16:creationId xmlns:a16="http://schemas.microsoft.com/office/drawing/2014/main" id="{570D6ED2-D417-4439-9C27-7A1895C9117A}"/>
                </a:ext>
              </a:extLst>
            </p:cNvPr>
            <p:cNvSpPr/>
            <p:nvPr/>
          </p:nvSpPr>
          <p:spPr>
            <a:xfrm>
              <a:off x="4979019" y="1499219"/>
              <a:ext cx="450437" cy="290036"/>
            </a:xfrm>
            <a:custGeom>
              <a:avLst/>
              <a:gdLst>
                <a:gd name="connsiteX0" fmla="*/ 450438 w 450437"/>
                <a:gd name="connsiteY0" fmla="*/ 0 h 290036"/>
                <a:gd name="connsiteX1" fmla="*/ 70009 w 450437"/>
                <a:gd name="connsiteY1" fmla="*/ 0 h 290036"/>
                <a:gd name="connsiteX2" fmla="*/ 0 w 450437"/>
                <a:gd name="connsiteY2" fmla="*/ 70009 h 290036"/>
                <a:gd name="connsiteX3" fmla="*/ 0 w 450437"/>
                <a:gd name="connsiteY3" fmla="*/ 220028 h 290036"/>
                <a:gd name="connsiteX4" fmla="*/ 70009 w 450437"/>
                <a:gd name="connsiteY4" fmla="*/ 290036 h 290036"/>
                <a:gd name="connsiteX5" fmla="*/ 450438 w 450437"/>
                <a:gd name="connsiteY5" fmla="*/ 290036 h 290036"/>
                <a:gd name="connsiteX6" fmla="*/ 450438 w 450437"/>
                <a:gd name="connsiteY6" fmla="*/ 0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437" h="290036">
                  <a:moveTo>
                    <a:pt x="450438" y="0"/>
                  </a:moveTo>
                  <a:lnTo>
                    <a:pt x="70009" y="0"/>
                  </a:lnTo>
                  <a:cubicBezTo>
                    <a:pt x="31528" y="0"/>
                    <a:pt x="0" y="31528"/>
                    <a:pt x="0" y="70009"/>
                  </a:cubicBezTo>
                  <a:lnTo>
                    <a:pt x="0" y="220028"/>
                  </a:lnTo>
                  <a:cubicBezTo>
                    <a:pt x="0" y="258509"/>
                    <a:pt x="31528" y="290036"/>
                    <a:pt x="70009" y="290036"/>
                  </a:cubicBezTo>
                  <a:lnTo>
                    <a:pt x="450438" y="290036"/>
                  </a:lnTo>
                  <a:lnTo>
                    <a:pt x="450438"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71" name="Freeform: Shape 170">
              <a:extLst>
                <a:ext uri="{FF2B5EF4-FFF2-40B4-BE49-F238E27FC236}">
                  <a16:creationId xmlns:a16="http://schemas.microsoft.com/office/drawing/2014/main" id="{FDE50500-F2AB-450F-908F-5EF21B38E96D}"/>
                </a:ext>
              </a:extLst>
            </p:cNvPr>
            <p:cNvSpPr/>
            <p:nvPr/>
          </p:nvSpPr>
          <p:spPr>
            <a:xfrm>
              <a:off x="4666981" y="1789445"/>
              <a:ext cx="762571" cy="290036"/>
            </a:xfrm>
            <a:custGeom>
              <a:avLst/>
              <a:gdLst>
                <a:gd name="connsiteX0" fmla="*/ 762476 w 762571"/>
                <a:gd name="connsiteY0" fmla="*/ 290036 h 290036"/>
                <a:gd name="connsiteX1" fmla="*/ 70009 w 762571"/>
                <a:gd name="connsiteY1" fmla="*/ 290036 h 290036"/>
                <a:gd name="connsiteX2" fmla="*/ 0 w 762571"/>
                <a:gd name="connsiteY2" fmla="*/ 220028 h 290036"/>
                <a:gd name="connsiteX3" fmla="*/ 0 w 762571"/>
                <a:gd name="connsiteY3" fmla="*/ 70009 h 290036"/>
                <a:gd name="connsiteX4" fmla="*/ 70009 w 762571"/>
                <a:gd name="connsiteY4" fmla="*/ 0 h 290036"/>
                <a:gd name="connsiteX5" fmla="*/ 208216 w 762571"/>
                <a:gd name="connsiteY5" fmla="*/ 0 h 290036"/>
                <a:gd name="connsiteX6" fmla="*/ 299847 w 762571"/>
                <a:gd name="connsiteY6" fmla="*/ 61531 h 290036"/>
                <a:gd name="connsiteX7" fmla="*/ 299847 w 762571"/>
                <a:gd name="connsiteY7" fmla="*/ 77629 h 290036"/>
                <a:gd name="connsiteX8" fmla="*/ 368046 w 762571"/>
                <a:gd name="connsiteY8" fmla="*/ 145828 h 290036"/>
                <a:gd name="connsiteX9" fmla="*/ 391763 w 762571"/>
                <a:gd name="connsiteY9" fmla="*/ 145828 h 290036"/>
                <a:gd name="connsiteX10" fmla="*/ 459962 w 762571"/>
                <a:gd name="connsiteY10" fmla="*/ 77629 h 290036"/>
                <a:gd name="connsiteX11" fmla="*/ 459962 w 762571"/>
                <a:gd name="connsiteY11" fmla="*/ 61531 h 290036"/>
                <a:gd name="connsiteX12" fmla="*/ 421005 w 762571"/>
                <a:gd name="connsiteY12" fmla="*/ 0 h 290036"/>
                <a:gd name="connsiteX13" fmla="*/ 762571 w 762571"/>
                <a:gd name="connsiteY13" fmla="*/ 0 h 290036"/>
                <a:gd name="connsiteX14" fmla="*/ 762571 w 762571"/>
                <a:gd name="connsiteY14" fmla="*/ 290036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571" h="290036">
                  <a:moveTo>
                    <a:pt x="762476" y="290036"/>
                  </a:moveTo>
                  <a:lnTo>
                    <a:pt x="70009" y="290036"/>
                  </a:lnTo>
                  <a:cubicBezTo>
                    <a:pt x="31528" y="290036"/>
                    <a:pt x="0" y="258509"/>
                    <a:pt x="0" y="220028"/>
                  </a:cubicBezTo>
                  <a:lnTo>
                    <a:pt x="0" y="70009"/>
                  </a:lnTo>
                  <a:cubicBezTo>
                    <a:pt x="0" y="31528"/>
                    <a:pt x="31528" y="0"/>
                    <a:pt x="70009" y="0"/>
                  </a:cubicBezTo>
                  <a:lnTo>
                    <a:pt x="208216" y="0"/>
                  </a:lnTo>
                  <a:cubicBezTo>
                    <a:pt x="268224" y="1143"/>
                    <a:pt x="299847" y="34480"/>
                    <a:pt x="299847" y="61531"/>
                  </a:cubicBezTo>
                  <a:lnTo>
                    <a:pt x="299847" y="77629"/>
                  </a:lnTo>
                  <a:cubicBezTo>
                    <a:pt x="299847" y="115157"/>
                    <a:pt x="330517" y="145828"/>
                    <a:pt x="368046" y="145828"/>
                  </a:cubicBezTo>
                  <a:lnTo>
                    <a:pt x="391763" y="145828"/>
                  </a:lnTo>
                  <a:cubicBezTo>
                    <a:pt x="429292" y="145828"/>
                    <a:pt x="459962" y="115157"/>
                    <a:pt x="459962" y="77629"/>
                  </a:cubicBezTo>
                  <a:lnTo>
                    <a:pt x="459962" y="61531"/>
                  </a:lnTo>
                  <a:cubicBezTo>
                    <a:pt x="459962" y="34480"/>
                    <a:pt x="443960" y="10954"/>
                    <a:pt x="421005" y="0"/>
                  </a:cubicBezTo>
                  <a:lnTo>
                    <a:pt x="762571" y="0"/>
                  </a:lnTo>
                  <a:lnTo>
                    <a:pt x="762571" y="290036"/>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72" name="Freeform: Shape 171">
              <a:extLst>
                <a:ext uri="{FF2B5EF4-FFF2-40B4-BE49-F238E27FC236}">
                  <a16:creationId xmlns:a16="http://schemas.microsoft.com/office/drawing/2014/main" id="{884C6493-08C8-4679-9200-FD8247C1B096}"/>
                </a:ext>
              </a:extLst>
            </p:cNvPr>
            <p:cNvSpPr/>
            <p:nvPr/>
          </p:nvSpPr>
          <p:spPr>
            <a:xfrm>
              <a:off x="4752787" y="2078719"/>
              <a:ext cx="676764" cy="280797"/>
            </a:xfrm>
            <a:custGeom>
              <a:avLst/>
              <a:gdLst>
                <a:gd name="connsiteX0" fmla="*/ 676764 w 676764"/>
                <a:gd name="connsiteY0" fmla="*/ 63056 h 280797"/>
                <a:gd name="connsiteX1" fmla="*/ 676764 w 676764"/>
                <a:gd name="connsiteY1" fmla="*/ 75914 h 280797"/>
                <a:gd name="connsiteX2" fmla="*/ 676764 w 676764"/>
                <a:gd name="connsiteY2" fmla="*/ 84106 h 280797"/>
                <a:gd name="connsiteX3" fmla="*/ 616281 w 676764"/>
                <a:gd name="connsiteY3" fmla="*/ 144590 h 280797"/>
                <a:gd name="connsiteX4" fmla="*/ 526174 w 676764"/>
                <a:gd name="connsiteY4" fmla="*/ 144590 h 280797"/>
                <a:gd name="connsiteX5" fmla="*/ 526174 w 676764"/>
                <a:gd name="connsiteY5" fmla="*/ 220313 h 280797"/>
                <a:gd name="connsiteX6" fmla="*/ 465691 w 676764"/>
                <a:gd name="connsiteY6" fmla="*/ 280797 h 280797"/>
                <a:gd name="connsiteX7" fmla="*/ 227566 w 676764"/>
                <a:gd name="connsiteY7" fmla="*/ 280797 h 280797"/>
                <a:gd name="connsiteX8" fmla="*/ 227566 w 676764"/>
                <a:gd name="connsiteY8" fmla="*/ 205073 h 280797"/>
                <a:gd name="connsiteX9" fmla="*/ 167082 w 676764"/>
                <a:gd name="connsiteY9" fmla="*/ 144590 h 280797"/>
                <a:gd name="connsiteX10" fmla="*/ 7348 w 676764"/>
                <a:gd name="connsiteY10" fmla="*/ 144590 h 280797"/>
                <a:gd name="connsiteX11" fmla="*/ 67832 w 676764"/>
                <a:gd name="connsiteY11" fmla="*/ 84106 h 280797"/>
                <a:gd name="connsiteX12" fmla="*/ 67832 w 676764"/>
                <a:gd name="connsiteY12" fmla="*/ 63056 h 280797"/>
                <a:gd name="connsiteX13" fmla="*/ 7348 w 676764"/>
                <a:gd name="connsiteY13" fmla="*/ 2572 h 280797"/>
                <a:gd name="connsiteX14" fmla="*/ 96502 w 676764"/>
                <a:gd name="connsiteY14" fmla="*/ 1905 h 280797"/>
                <a:gd name="connsiteX15" fmla="*/ 96502 w 676764"/>
                <a:gd name="connsiteY15" fmla="*/ 0 h 280797"/>
                <a:gd name="connsiteX16" fmla="*/ 465691 w 676764"/>
                <a:gd name="connsiteY16" fmla="*/ 0 h 280797"/>
                <a:gd name="connsiteX17" fmla="*/ 676764 w 676764"/>
                <a:gd name="connsiteY17" fmla="*/ 0 h 280797"/>
                <a:gd name="connsiteX18" fmla="*/ 676764 w 676764"/>
                <a:gd name="connsiteY18" fmla="*/ 63056 h 280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6764" h="280797">
                  <a:moveTo>
                    <a:pt x="676764" y="63056"/>
                  </a:moveTo>
                  <a:lnTo>
                    <a:pt x="676764" y="75914"/>
                  </a:lnTo>
                  <a:lnTo>
                    <a:pt x="676764" y="84106"/>
                  </a:lnTo>
                  <a:cubicBezTo>
                    <a:pt x="676764" y="117348"/>
                    <a:pt x="649523" y="144590"/>
                    <a:pt x="616281" y="144590"/>
                  </a:cubicBezTo>
                  <a:lnTo>
                    <a:pt x="526174" y="144590"/>
                  </a:lnTo>
                  <a:lnTo>
                    <a:pt x="526174" y="220313"/>
                  </a:lnTo>
                  <a:cubicBezTo>
                    <a:pt x="526174" y="253556"/>
                    <a:pt x="498933" y="280797"/>
                    <a:pt x="465691" y="280797"/>
                  </a:cubicBezTo>
                  <a:lnTo>
                    <a:pt x="227566" y="280797"/>
                  </a:lnTo>
                  <a:lnTo>
                    <a:pt x="227566" y="205073"/>
                  </a:lnTo>
                  <a:cubicBezTo>
                    <a:pt x="227566" y="171831"/>
                    <a:pt x="200324" y="144590"/>
                    <a:pt x="167082" y="144590"/>
                  </a:cubicBezTo>
                  <a:lnTo>
                    <a:pt x="7348" y="144590"/>
                  </a:lnTo>
                  <a:cubicBezTo>
                    <a:pt x="40590" y="144590"/>
                    <a:pt x="67832" y="117443"/>
                    <a:pt x="67832" y="84106"/>
                  </a:cubicBezTo>
                  <a:lnTo>
                    <a:pt x="67832" y="63056"/>
                  </a:lnTo>
                  <a:cubicBezTo>
                    <a:pt x="67832" y="29813"/>
                    <a:pt x="40590" y="2572"/>
                    <a:pt x="7348" y="2572"/>
                  </a:cubicBezTo>
                  <a:cubicBezTo>
                    <a:pt x="-18370" y="2572"/>
                    <a:pt x="26302" y="2286"/>
                    <a:pt x="96502" y="1905"/>
                  </a:cubicBezTo>
                  <a:lnTo>
                    <a:pt x="96502" y="0"/>
                  </a:lnTo>
                  <a:lnTo>
                    <a:pt x="465691" y="0"/>
                  </a:lnTo>
                  <a:lnTo>
                    <a:pt x="676764" y="0"/>
                  </a:lnTo>
                  <a:lnTo>
                    <a:pt x="676764" y="63056"/>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73" name="Freeform: Shape 172">
              <a:extLst>
                <a:ext uri="{FF2B5EF4-FFF2-40B4-BE49-F238E27FC236}">
                  <a16:creationId xmlns:a16="http://schemas.microsoft.com/office/drawing/2014/main" id="{5BDA4D17-B2AC-48E6-ADE4-0905618EB51A}"/>
                </a:ext>
              </a:extLst>
            </p:cNvPr>
            <p:cNvSpPr/>
            <p:nvPr/>
          </p:nvSpPr>
          <p:spPr>
            <a:xfrm>
              <a:off x="4480672" y="2223214"/>
              <a:ext cx="495776" cy="136207"/>
            </a:xfrm>
            <a:custGeom>
              <a:avLst/>
              <a:gdLst>
                <a:gd name="connsiteX0" fmla="*/ 495776 w 495776"/>
                <a:gd name="connsiteY0" fmla="*/ 136208 h 136207"/>
                <a:gd name="connsiteX1" fmla="*/ 495776 w 495776"/>
                <a:gd name="connsiteY1" fmla="*/ 60484 h 136207"/>
                <a:gd name="connsiteX2" fmla="*/ 435292 w 495776"/>
                <a:gd name="connsiteY2" fmla="*/ 0 h 136207"/>
                <a:gd name="connsiteX3" fmla="*/ 89630 w 495776"/>
                <a:gd name="connsiteY3" fmla="*/ 0 h 136207"/>
                <a:gd name="connsiteX4" fmla="*/ 29146 w 495776"/>
                <a:gd name="connsiteY4" fmla="*/ 60484 h 136207"/>
                <a:gd name="connsiteX5" fmla="*/ 29146 w 495776"/>
                <a:gd name="connsiteY5" fmla="*/ 73914 h 136207"/>
                <a:gd name="connsiteX6" fmla="*/ 0 w 495776"/>
                <a:gd name="connsiteY6" fmla="*/ 136208 h 136207"/>
                <a:gd name="connsiteX7" fmla="*/ 495776 w 495776"/>
                <a:gd name="connsiteY7" fmla="*/ 136208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776" h="136207">
                  <a:moveTo>
                    <a:pt x="495776" y="136208"/>
                  </a:moveTo>
                  <a:lnTo>
                    <a:pt x="495776" y="60484"/>
                  </a:lnTo>
                  <a:cubicBezTo>
                    <a:pt x="495776" y="27242"/>
                    <a:pt x="468534" y="0"/>
                    <a:pt x="435292" y="0"/>
                  </a:cubicBezTo>
                  <a:lnTo>
                    <a:pt x="89630" y="0"/>
                  </a:lnTo>
                  <a:cubicBezTo>
                    <a:pt x="56388" y="0"/>
                    <a:pt x="29146" y="27242"/>
                    <a:pt x="29146" y="60484"/>
                  </a:cubicBezTo>
                  <a:lnTo>
                    <a:pt x="29146" y="73914"/>
                  </a:lnTo>
                  <a:cubicBezTo>
                    <a:pt x="29146" y="98870"/>
                    <a:pt x="17907" y="121253"/>
                    <a:pt x="0" y="136208"/>
                  </a:cubicBezTo>
                  <a:lnTo>
                    <a:pt x="495776" y="136208"/>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74" name="Freeform: Shape 173">
              <a:extLst>
                <a:ext uri="{FF2B5EF4-FFF2-40B4-BE49-F238E27FC236}">
                  <a16:creationId xmlns:a16="http://schemas.microsoft.com/office/drawing/2014/main" id="{E1943416-4C7E-481A-8D67-5886E7EE0068}"/>
                </a:ext>
              </a:extLst>
            </p:cNvPr>
            <p:cNvSpPr/>
            <p:nvPr/>
          </p:nvSpPr>
          <p:spPr>
            <a:xfrm>
              <a:off x="3380820" y="2942637"/>
              <a:ext cx="1117568" cy="468344"/>
            </a:xfrm>
            <a:custGeom>
              <a:avLst/>
              <a:gdLst>
                <a:gd name="connsiteX0" fmla="*/ 1117568 w 1117568"/>
                <a:gd name="connsiteY0" fmla="*/ 208883 h 468344"/>
                <a:gd name="connsiteX1" fmla="*/ 1117568 w 1117568"/>
                <a:gd name="connsiteY1" fmla="*/ 303943 h 468344"/>
                <a:gd name="connsiteX2" fmla="*/ 1047559 w 1117568"/>
                <a:gd name="connsiteY2" fmla="*/ 303276 h 468344"/>
                <a:gd name="connsiteX3" fmla="*/ 1041273 w 1117568"/>
                <a:gd name="connsiteY3" fmla="*/ 303276 h 468344"/>
                <a:gd name="connsiteX4" fmla="*/ 960310 w 1117568"/>
                <a:gd name="connsiteY4" fmla="*/ 384238 h 468344"/>
                <a:gd name="connsiteX5" fmla="*/ 960310 w 1117568"/>
                <a:gd name="connsiteY5" fmla="*/ 398335 h 468344"/>
                <a:gd name="connsiteX6" fmla="*/ 890302 w 1117568"/>
                <a:gd name="connsiteY6" fmla="*/ 468344 h 468344"/>
                <a:gd name="connsiteX7" fmla="*/ 323088 w 1117568"/>
                <a:gd name="connsiteY7" fmla="*/ 468344 h 468344"/>
                <a:gd name="connsiteX8" fmla="*/ 322421 w 1117568"/>
                <a:gd name="connsiteY8" fmla="*/ 398335 h 468344"/>
                <a:gd name="connsiteX9" fmla="*/ 322421 w 1117568"/>
                <a:gd name="connsiteY9" fmla="*/ 384238 h 468344"/>
                <a:gd name="connsiteX10" fmla="*/ 241459 w 1117568"/>
                <a:gd name="connsiteY10" fmla="*/ 303276 h 468344"/>
                <a:gd name="connsiteX11" fmla="*/ 224695 w 1117568"/>
                <a:gd name="connsiteY11" fmla="*/ 303276 h 468344"/>
                <a:gd name="connsiteX12" fmla="*/ 154876 w 1117568"/>
                <a:gd name="connsiteY12" fmla="*/ 238887 h 468344"/>
                <a:gd name="connsiteX13" fmla="*/ 74104 w 1117568"/>
                <a:gd name="connsiteY13" fmla="*/ 164401 h 468344"/>
                <a:gd name="connsiteX14" fmla="*/ 70009 w 1117568"/>
                <a:gd name="connsiteY14" fmla="*/ 164401 h 468344"/>
                <a:gd name="connsiteX15" fmla="*/ 0 w 1117568"/>
                <a:gd name="connsiteY15" fmla="*/ 94393 h 468344"/>
                <a:gd name="connsiteX16" fmla="*/ 0 w 1117568"/>
                <a:gd name="connsiteY16" fmla="*/ 70009 h 468344"/>
                <a:gd name="connsiteX17" fmla="*/ 70009 w 1117568"/>
                <a:gd name="connsiteY17" fmla="*/ 0 h 468344"/>
                <a:gd name="connsiteX18" fmla="*/ 403003 w 1117568"/>
                <a:gd name="connsiteY18" fmla="*/ 0 h 468344"/>
                <a:gd name="connsiteX19" fmla="*/ 452533 w 1117568"/>
                <a:gd name="connsiteY19" fmla="*/ 0 h 468344"/>
                <a:gd name="connsiteX20" fmla="*/ 567880 w 1117568"/>
                <a:gd name="connsiteY20" fmla="*/ 0 h 468344"/>
                <a:gd name="connsiteX21" fmla="*/ 637699 w 1117568"/>
                <a:gd name="connsiteY21" fmla="*/ 64389 h 468344"/>
                <a:gd name="connsiteX22" fmla="*/ 718471 w 1117568"/>
                <a:gd name="connsiteY22" fmla="*/ 138874 h 468344"/>
                <a:gd name="connsiteX23" fmla="*/ 1047655 w 1117568"/>
                <a:gd name="connsiteY23" fmla="*/ 138874 h 468344"/>
                <a:gd name="connsiteX24" fmla="*/ 1117568 w 1117568"/>
                <a:gd name="connsiteY24" fmla="*/ 208883 h 46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17568" h="468344">
                  <a:moveTo>
                    <a:pt x="1117568" y="208883"/>
                  </a:moveTo>
                  <a:lnTo>
                    <a:pt x="1117568" y="303943"/>
                  </a:lnTo>
                  <a:lnTo>
                    <a:pt x="1047559" y="303276"/>
                  </a:lnTo>
                  <a:lnTo>
                    <a:pt x="1041273" y="303276"/>
                  </a:lnTo>
                  <a:cubicBezTo>
                    <a:pt x="996696" y="303276"/>
                    <a:pt x="960310" y="339662"/>
                    <a:pt x="960310" y="384238"/>
                  </a:cubicBezTo>
                  <a:lnTo>
                    <a:pt x="960310" y="398335"/>
                  </a:lnTo>
                  <a:cubicBezTo>
                    <a:pt x="960310" y="436816"/>
                    <a:pt x="928783" y="468344"/>
                    <a:pt x="890302" y="468344"/>
                  </a:cubicBezTo>
                  <a:lnTo>
                    <a:pt x="323088" y="468344"/>
                  </a:lnTo>
                  <a:lnTo>
                    <a:pt x="322421" y="398335"/>
                  </a:lnTo>
                  <a:lnTo>
                    <a:pt x="322421" y="384238"/>
                  </a:lnTo>
                  <a:cubicBezTo>
                    <a:pt x="322421" y="339662"/>
                    <a:pt x="286036" y="303276"/>
                    <a:pt x="241459" y="303276"/>
                  </a:cubicBezTo>
                  <a:lnTo>
                    <a:pt x="224695" y="303276"/>
                  </a:lnTo>
                  <a:cubicBezTo>
                    <a:pt x="188023" y="303276"/>
                    <a:pt x="157734" y="274796"/>
                    <a:pt x="154876" y="238887"/>
                  </a:cubicBezTo>
                  <a:cubicBezTo>
                    <a:pt x="151447" y="196691"/>
                    <a:pt x="116491" y="164401"/>
                    <a:pt x="74104" y="164401"/>
                  </a:cubicBezTo>
                  <a:lnTo>
                    <a:pt x="70009" y="164401"/>
                  </a:lnTo>
                  <a:cubicBezTo>
                    <a:pt x="31528" y="164401"/>
                    <a:pt x="0" y="132874"/>
                    <a:pt x="0" y="94393"/>
                  </a:cubicBezTo>
                  <a:lnTo>
                    <a:pt x="0" y="70009"/>
                  </a:lnTo>
                  <a:cubicBezTo>
                    <a:pt x="0" y="31528"/>
                    <a:pt x="31528" y="0"/>
                    <a:pt x="70009" y="0"/>
                  </a:cubicBezTo>
                  <a:lnTo>
                    <a:pt x="403003" y="0"/>
                  </a:lnTo>
                  <a:lnTo>
                    <a:pt x="452533" y="0"/>
                  </a:lnTo>
                  <a:lnTo>
                    <a:pt x="567880" y="0"/>
                  </a:lnTo>
                  <a:cubicBezTo>
                    <a:pt x="604456" y="0"/>
                    <a:pt x="634841" y="28480"/>
                    <a:pt x="637699" y="64389"/>
                  </a:cubicBezTo>
                  <a:cubicBezTo>
                    <a:pt x="641128" y="106585"/>
                    <a:pt x="676084" y="138874"/>
                    <a:pt x="718471" y="138874"/>
                  </a:cubicBezTo>
                  <a:lnTo>
                    <a:pt x="1047655" y="138874"/>
                  </a:lnTo>
                  <a:cubicBezTo>
                    <a:pt x="1086040" y="138874"/>
                    <a:pt x="1117568" y="170402"/>
                    <a:pt x="1117568" y="208883"/>
                  </a:cubicBez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75" name="Freeform: Shape 174">
              <a:extLst>
                <a:ext uri="{FF2B5EF4-FFF2-40B4-BE49-F238E27FC236}">
                  <a16:creationId xmlns:a16="http://schemas.microsoft.com/office/drawing/2014/main" id="{7B262B4E-CCF8-48FB-BAC8-633C35083B45}"/>
                </a:ext>
              </a:extLst>
            </p:cNvPr>
            <p:cNvSpPr/>
            <p:nvPr/>
          </p:nvSpPr>
          <p:spPr>
            <a:xfrm>
              <a:off x="4183110" y="3246961"/>
              <a:ext cx="781336" cy="280130"/>
            </a:xfrm>
            <a:custGeom>
              <a:avLst/>
              <a:gdLst>
                <a:gd name="connsiteX0" fmla="*/ 0 w 781336"/>
                <a:gd name="connsiteY0" fmla="*/ 164116 h 280130"/>
                <a:gd name="connsiteX1" fmla="*/ 0 w 781336"/>
                <a:gd name="connsiteY1" fmla="*/ 280130 h 280130"/>
                <a:gd name="connsiteX2" fmla="*/ 241363 w 781336"/>
                <a:gd name="connsiteY2" fmla="*/ 280130 h 280130"/>
                <a:gd name="connsiteX3" fmla="*/ 290894 w 781336"/>
                <a:gd name="connsiteY3" fmla="*/ 280130 h 280130"/>
                <a:gd name="connsiteX4" fmla="*/ 406241 w 781336"/>
                <a:gd name="connsiteY4" fmla="*/ 280130 h 280130"/>
                <a:gd name="connsiteX5" fmla="*/ 476060 w 781336"/>
                <a:gd name="connsiteY5" fmla="*/ 215741 h 280130"/>
                <a:gd name="connsiteX6" fmla="*/ 556832 w 781336"/>
                <a:gd name="connsiteY6" fmla="*/ 141256 h 280130"/>
                <a:gd name="connsiteX7" fmla="*/ 781336 w 781336"/>
                <a:gd name="connsiteY7" fmla="*/ 141256 h 280130"/>
                <a:gd name="connsiteX8" fmla="*/ 781336 w 781336"/>
                <a:gd name="connsiteY8" fmla="*/ 1524 h 280130"/>
                <a:gd name="connsiteX9" fmla="*/ 530162 w 781336"/>
                <a:gd name="connsiteY9" fmla="*/ 1524 h 280130"/>
                <a:gd name="connsiteX10" fmla="*/ 223647 w 781336"/>
                <a:gd name="connsiteY10" fmla="*/ 0 h 280130"/>
                <a:gd name="connsiteX11" fmla="*/ 157925 w 781336"/>
                <a:gd name="connsiteY11" fmla="*/ 80010 h 280130"/>
                <a:gd name="connsiteX12" fmla="*/ 157925 w 781336"/>
                <a:gd name="connsiteY12" fmla="*/ 94107 h 280130"/>
                <a:gd name="connsiteX13" fmla="*/ 87916 w 781336"/>
                <a:gd name="connsiteY13" fmla="*/ 164116 h 280130"/>
                <a:gd name="connsiteX14" fmla="*/ 0 w 781336"/>
                <a:gd name="connsiteY14" fmla="*/ 164116 h 280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1336" h="280130">
                  <a:moveTo>
                    <a:pt x="0" y="164116"/>
                  </a:moveTo>
                  <a:lnTo>
                    <a:pt x="0" y="280130"/>
                  </a:lnTo>
                  <a:lnTo>
                    <a:pt x="241363" y="280130"/>
                  </a:lnTo>
                  <a:lnTo>
                    <a:pt x="290894" y="280130"/>
                  </a:lnTo>
                  <a:lnTo>
                    <a:pt x="406241" y="280130"/>
                  </a:lnTo>
                  <a:cubicBezTo>
                    <a:pt x="442817" y="280130"/>
                    <a:pt x="473202" y="251651"/>
                    <a:pt x="476060" y="215741"/>
                  </a:cubicBezTo>
                  <a:cubicBezTo>
                    <a:pt x="479488" y="173546"/>
                    <a:pt x="514445" y="141256"/>
                    <a:pt x="556832" y="141256"/>
                  </a:cubicBezTo>
                  <a:lnTo>
                    <a:pt x="781336" y="141256"/>
                  </a:lnTo>
                  <a:lnTo>
                    <a:pt x="781336" y="1524"/>
                  </a:lnTo>
                  <a:lnTo>
                    <a:pt x="530162" y="1524"/>
                  </a:lnTo>
                  <a:lnTo>
                    <a:pt x="223647" y="0"/>
                  </a:lnTo>
                  <a:cubicBezTo>
                    <a:pt x="188500" y="8858"/>
                    <a:pt x="157925" y="42196"/>
                    <a:pt x="157925" y="80010"/>
                  </a:cubicBezTo>
                  <a:lnTo>
                    <a:pt x="157925" y="94107"/>
                  </a:lnTo>
                  <a:cubicBezTo>
                    <a:pt x="157925" y="132588"/>
                    <a:pt x="126397" y="164116"/>
                    <a:pt x="87916" y="164116"/>
                  </a:cubicBezTo>
                  <a:lnTo>
                    <a:pt x="0" y="164116"/>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76" name="Freeform: Shape 175">
              <a:extLst>
                <a:ext uri="{FF2B5EF4-FFF2-40B4-BE49-F238E27FC236}">
                  <a16:creationId xmlns:a16="http://schemas.microsoft.com/office/drawing/2014/main" id="{05145005-D286-4846-8652-53F5150847B3}"/>
                </a:ext>
              </a:extLst>
            </p:cNvPr>
            <p:cNvSpPr/>
            <p:nvPr/>
          </p:nvSpPr>
          <p:spPr>
            <a:xfrm>
              <a:off x="3700479" y="2359612"/>
              <a:ext cx="1578101" cy="888872"/>
            </a:xfrm>
            <a:custGeom>
              <a:avLst/>
              <a:gdLst>
                <a:gd name="connsiteX0" fmla="*/ 1423702 w 1578101"/>
                <a:gd name="connsiteY0" fmla="*/ 828389 h 888872"/>
                <a:gd name="connsiteX1" fmla="*/ 1363218 w 1578101"/>
                <a:gd name="connsiteY1" fmla="*/ 888873 h 888872"/>
                <a:gd name="connsiteX2" fmla="*/ 1012793 w 1578101"/>
                <a:gd name="connsiteY2" fmla="*/ 888873 h 888872"/>
                <a:gd name="connsiteX3" fmla="*/ 797909 w 1578101"/>
                <a:gd name="connsiteY3" fmla="*/ 887063 h 888872"/>
                <a:gd name="connsiteX4" fmla="*/ 797909 w 1578101"/>
                <a:gd name="connsiteY4" fmla="*/ 792004 h 888872"/>
                <a:gd name="connsiteX5" fmla="*/ 727900 w 1578101"/>
                <a:gd name="connsiteY5" fmla="*/ 721995 h 888872"/>
                <a:gd name="connsiteX6" fmla="*/ 398716 w 1578101"/>
                <a:gd name="connsiteY6" fmla="*/ 721995 h 888872"/>
                <a:gd name="connsiteX7" fmla="*/ 317945 w 1578101"/>
                <a:gd name="connsiteY7" fmla="*/ 647509 h 888872"/>
                <a:gd name="connsiteX8" fmla="*/ 248126 w 1578101"/>
                <a:gd name="connsiteY8" fmla="*/ 583120 h 888872"/>
                <a:gd name="connsiteX9" fmla="*/ 132683 w 1578101"/>
                <a:gd name="connsiteY9" fmla="*/ 583120 h 888872"/>
                <a:gd name="connsiteX10" fmla="*/ 83153 w 1578101"/>
                <a:gd name="connsiteY10" fmla="*/ 583120 h 888872"/>
                <a:gd name="connsiteX11" fmla="*/ 0 w 1578101"/>
                <a:gd name="connsiteY11" fmla="*/ 583120 h 888872"/>
                <a:gd name="connsiteX12" fmla="*/ 0 w 1578101"/>
                <a:gd name="connsiteY12" fmla="*/ 60484 h 888872"/>
                <a:gd name="connsiteX13" fmla="*/ 60484 w 1578101"/>
                <a:gd name="connsiteY13" fmla="*/ 0 h 888872"/>
                <a:gd name="connsiteX14" fmla="*/ 1420939 w 1578101"/>
                <a:gd name="connsiteY14" fmla="*/ 0 h 888872"/>
                <a:gd name="connsiteX15" fmla="*/ 1420939 w 1578101"/>
                <a:gd name="connsiteY15" fmla="*/ 338328 h 888872"/>
                <a:gd name="connsiteX16" fmla="*/ 1420939 w 1578101"/>
                <a:gd name="connsiteY16" fmla="*/ 390716 h 888872"/>
                <a:gd name="connsiteX17" fmla="*/ 1481423 w 1578101"/>
                <a:gd name="connsiteY17" fmla="*/ 451199 h 888872"/>
                <a:gd name="connsiteX18" fmla="*/ 1575721 w 1578101"/>
                <a:gd name="connsiteY18" fmla="*/ 451199 h 888872"/>
                <a:gd name="connsiteX19" fmla="*/ 1578102 w 1578101"/>
                <a:gd name="connsiteY19" fmla="*/ 729996 h 888872"/>
                <a:gd name="connsiteX20" fmla="*/ 1496282 w 1578101"/>
                <a:gd name="connsiteY20" fmla="*/ 729996 h 888872"/>
                <a:gd name="connsiteX21" fmla="*/ 1423797 w 1578101"/>
                <a:gd name="connsiteY21" fmla="*/ 797624 h 888872"/>
                <a:gd name="connsiteX22" fmla="*/ 1423702 w 1578101"/>
                <a:gd name="connsiteY22" fmla="*/ 828389 h 88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8101" h="888872">
                  <a:moveTo>
                    <a:pt x="1423702" y="828389"/>
                  </a:moveTo>
                  <a:cubicBezTo>
                    <a:pt x="1423511" y="861632"/>
                    <a:pt x="1396460" y="888873"/>
                    <a:pt x="1363218" y="888873"/>
                  </a:cubicBezTo>
                  <a:lnTo>
                    <a:pt x="1012793" y="888873"/>
                  </a:lnTo>
                  <a:lnTo>
                    <a:pt x="797909" y="887063"/>
                  </a:lnTo>
                  <a:lnTo>
                    <a:pt x="797909" y="792004"/>
                  </a:lnTo>
                  <a:cubicBezTo>
                    <a:pt x="797909" y="753523"/>
                    <a:pt x="766381" y="721995"/>
                    <a:pt x="727900" y="721995"/>
                  </a:cubicBezTo>
                  <a:lnTo>
                    <a:pt x="398716" y="721995"/>
                  </a:lnTo>
                  <a:cubicBezTo>
                    <a:pt x="356425" y="721995"/>
                    <a:pt x="321373" y="689705"/>
                    <a:pt x="317945" y="647509"/>
                  </a:cubicBezTo>
                  <a:cubicBezTo>
                    <a:pt x="315087" y="611600"/>
                    <a:pt x="284797" y="583120"/>
                    <a:pt x="248126" y="583120"/>
                  </a:cubicBezTo>
                  <a:lnTo>
                    <a:pt x="132683" y="583120"/>
                  </a:lnTo>
                  <a:lnTo>
                    <a:pt x="83153" y="583120"/>
                  </a:lnTo>
                  <a:lnTo>
                    <a:pt x="0" y="583120"/>
                  </a:lnTo>
                  <a:lnTo>
                    <a:pt x="0" y="60484"/>
                  </a:lnTo>
                  <a:cubicBezTo>
                    <a:pt x="0" y="27242"/>
                    <a:pt x="27241" y="0"/>
                    <a:pt x="60484" y="0"/>
                  </a:cubicBezTo>
                  <a:lnTo>
                    <a:pt x="1420939" y="0"/>
                  </a:lnTo>
                  <a:lnTo>
                    <a:pt x="1420939" y="338328"/>
                  </a:lnTo>
                  <a:lnTo>
                    <a:pt x="1420939" y="390716"/>
                  </a:lnTo>
                  <a:cubicBezTo>
                    <a:pt x="1420939" y="423958"/>
                    <a:pt x="1448181" y="451199"/>
                    <a:pt x="1481423" y="451199"/>
                  </a:cubicBezTo>
                  <a:lnTo>
                    <a:pt x="1575721" y="451199"/>
                  </a:lnTo>
                  <a:lnTo>
                    <a:pt x="1578102" y="729996"/>
                  </a:lnTo>
                  <a:lnTo>
                    <a:pt x="1496282" y="729996"/>
                  </a:lnTo>
                  <a:cubicBezTo>
                    <a:pt x="1457801" y="729996"/>
                    <a:pt x="1423988" y="759047"/>
                    <a:pt x="1423797" y="797624"/>
                  </a:cubicBezTo>
                  <a:lnTo>
                    <a:pt x="1423702" y="828389"/>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77" name="Freeform: Shape 176">
              <a:extLst>
                <a:ext uri="{FF2B5EF4-FFF2-40B4-BE49-F238E27FC236}">
                  <a16:creationId xmlns:a16="http://schemas.microsoft.com/office/drawing/2014/main" id="{BBE050C0-428D-4917-B6FA-0476A9EBEB9E}"/>
                </a:ext>
              </a:extLst>
            </p:cNvPr>
            <p:cNvSpPr/>
            <p:nvPr/>
          </p:nvSpPr>
          <p:spPr>
            <a:xfrm>
              <a:off x="2589388" y="2358278"/>
              <a:ext cx="1112234" cy="1175003"/>
            </a:xfrm>
            <a:custGeom>
              <a:avLst/>
              <a:gdLst>
                <a:gd name="connsiteX0" fmla="*/ 162115 w 1112234"/>
                <a:gd name="connsiteY0" fmla="*/ 371475 h 1175003"/>
                <a:gd name="connsiteX1" fmla="*/ 162115 w 1112234"/>
                <a:gd name="connsiteY1" fmla="*/ 164402 h 1175003"/>
                <a:gd name="connsiteX2" fmla="*/ 219837 w 1112234"/>
                <a:gd name="connsiteY2" fmla="*/ 164116 h 1175003"/>
                <a:gd name="connsiteX3" fmla="*/ 246412 w 1112234"/>
                <a:gd name="connsiteY3" fmla="*/ 164116 h 1175003"/>
                <a:gd name="connsiteX4" fmla="*/ 322802 w 1112234"/>
                <a:gd name="connsiteY4" fmla="*/ 87725 h 1175003"/>
                <a:gd name="connsiteX5" fmla="*/ 322802 w 1112234"/>
                <a:gd name="connsiteY5" fmla="*/ 69723 h 1175003"/>
                <a:gd name="connsiteX6" fmla="*/ 279844 w 1112234"/>
                <a:gd name="connsiteY6" fmla="*/ 1143 h 1175003"/>
                <a:gd name="connsiteX7" fmla="*/ 876872 w 1112234"/>
                <a:gd name="connsiteY7" fmla="*/ 0 h 1175003"/>
                <a:gd name="connsiteX8" fmla="*/ 948309 w 1112234"/>
                <a:gd name="connsiteY8" fmla="*/ 69723 h 1175003"/>
                <a:gd name="connsiteX9" fmla="*/ 948309 w 1112234"/>
                <a:gd name="connsiteY9" fmla="*/ 87725 h 1175003"/>
                <a:gd name="connsiteX10" fmla="*/ 1024699 w 1112234"/>
                <a:gd name="connsiteY10" fmla="*/ 164116 h 1175003"/>
                <a:gd name="connsiteX11" fmla="*/ 1051274 w 1112234"/>
                <a:gd name="connsiteY11" fmla="*/ 164116 h 1175003"/>
                <a:gd name="connsiteX12" fmla="*/ 1112234 w 1112234"/>
                <a:gd name="connsiteY12" fmla="*/ 133636 h 1175003"/>
                <a:gd name="connsiteX13" fmla="*/ 1112234 w 1112234"/>
                <a:gd name="connsiteY13" fmla="*/ 584263 h 1175003"/>
                <a:gd name="connsiteX14" fmla="*/ 861346 w 1112234"/>
                <a:gd name="connsiteY14" fmla="*/ 584263 h 1175003"/>
                <a:gd name="connsiteX15" fmla="*/ 791337 w 1112234"/>
                <a:gd name="connsiteY15" fmla="*/ 654272 h 1175003"/>
                <a:gd name="connsiteX16" fmla="*/ 791337 w 1112234"/>
                <a:gd name="connsiteY16" fmla="*/ 678656 h 1175003"/>
                <a:gd name="connsiteX17" fmla="*/ 861346 w 1112234"/>
                <a:gd name="connsiteY17" fmla="*/ 748665 h 1175003"/>
                <a:gd name="connsiteX18" fmla="*/ 865441 w 1112234"/>
                <a:gd name="connsiteY18" fmla="*/ 748665 h 1175003"/>
                <a:gd name="connsiteX19" fmla="*/ 946213 w 1112234"/>
                <a:gd name="connsiteY19" fmla="*/ 823150 h 1175003"/>
                <a:gd name="connsiteX20" fmla="*/ 1016032 w 1112234"/>
                <a:gd name="connsiteY20" fmla="*/ 887539 h 1175003"/>
                <a:gd name="connsiteX21" fmla="*/ 1032796 w 1112234"/>
                <a:gd name="connsiteY21" fmla="*/ 887539 h 1175003"/>
                <a:gd name="connsiteX22" fmla="*/ 1112234 w 1112234"/>
                <a:gd name="connsiteY22" fmla="*/ 952786 h 1175003"/>
                <a:gd name="connsiteX23" fmla="*/ 1112234 w 1112234"/>
                <a:gd name="connsiteY23" fmla="*/ 1103948 h 1175003"/>
                <a:gd name="connsiteX24" fmla="*/ 1042225 w 1112234"/>
                <a:gd name="connsiteY24" fmla="*/ 1173956 h 1175003"/>
                <a:gd name="connsiteX25" fmla="*/ 743236 w 1112234"/>
                <a:gd name="connsiteY25" fmla="*/ 1173956 h 1175003"/>
                <a:gd name="connsiteX26" fmla="*/ 735330 w 1112234"/>
                <a:gd name="connsiteY26" fmla="*/ 1174337 h 1175003"/>
                <a:gd name="connsiteX27" fmla="*/ 720757 w 1112234"/>
                <a:gd name="connsiteY27" fmla="*/ 1175004 h 1175003"/>
                <a:gd name="connsiteX28" fmla="*/ 162782 w 1112234"/>
                <a:gd name="connsiteY28" fmla="*/ 1175004 h 1175003"/>
                <a:gd name="connsiteX29" fmla="*/ 162782 w 1112234"/>
                <a:gd name="connsiteY29" fmla="*/ 1111853 h 1175003"/>
                <a:gd name="connsiteX30" fmla="*/ 81820 w 1112234"/>
                <a:gd name="connsiteY30" fmla="*/ 1030891 h 1175003"/>
                <a:gd name="connsiteX31" fmla="*/ 70009 w 1112234"/>
                <a:gd name="connsiteY31" fmla="*/ 1030891 h 1175003"/>
                <a:gd name="connsiteX32" fmla="*/ 0 w 1112234"/>
                <a:gd name="connsiteY32" fmla="*/ 960882 h 1175003"/>
                <a:gd name="connsiteX33" fmla="*/ 0 w 1112234"/>
                <a:gd name="connsiteY33" fmla="*/ 522446 h 1175003"/>
                <a:gd name="connsiteX34" fmla="*/ 70009 w 1112234"/>
                <a:gd name="connsiteY34" fmla="*/ 452438 h 1175003"/>
                <a:gd name="connsiteX35" fmla="*/ 81153 w 1112234"/>
                <a:gd name="connsiteY35" fmla="*/ 452438 h 1175003"/>
                <a:gd name="connsiteX36" fmla="*/ 162115 w 1112234"/>
                <a:gd name="connsiteY36" fmla="*/ 371475 h 1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12234" h="1175003">
                  <a:moveTo>
                    <a:pt x="162115" y="371475"/>
                  </a:moveTo>
                  <a:lnTo>
                    <a:pt x="162115" y="164402"/>
                  </a:lnTo>
                  <a:lnTo>
                    <a:pt x="219837" y="164116"/>
                  </a:lnTo>
                  <a:lnTo>
                    <a:pt x="246412" y="164116"/>
                  </a:lnTo>
                  <a:cubicBezTo>
                    <a:pt x="288417" y="164116"/>
                    <a:pt x="322802" y="129730"/>
                    <a:pt x="322802" y="87725"/>
                  </a:cubicBezTo>
                  <a:lnTo>
                    <a:pt x="322802" y="69723"/>
                  </a:lnTo>
                  <a:cubicBezTo>
                    <a:pt x="322802" y="39719"/>
                    <a:pt x="305181" y="13621"/>
                    <a:pt x="279844" y="1143"/>
                  </a:cubicBezTo>
                  <a:cubicBezTo>
                    <a:pt x="462439" y="1143"/>
                    <a:pt x="695897" y="0"/>
                    <a:pt x="876872" y="0"/>
                  </a:cubicBezTo>
                  <a:cubicBezTo>
                    <a:pt x="939736" y="1524"/>
                    <a:pt x="948309" y="38767"/>
                    <a:pt x="948309" y="69723"/>
                  </a:cubicBezTo>
                  <a:lnTo>
                    <a:pt x="948309" y="87725"/>
                  </a:lnTo>
                  <a:cubicBezTo>
                    <a:pt x="948309" y="129730"/>
                    <a:pt x="982694" y="164116"/>
                    <a:pt x="1024699" y="164116"/>
                  </a:cubicBezTo>
                  <a:lnTo>
                    <a:pt x="1051274" y="164116"/>
                  </a:lnTo>
                  <a:cubicBezTo>
                    <a:pt x="1076134" y="164116"/>
                    <a:pt x="1098232" y="152114"/>
                    <a:pt x="1112234" y="133636"/>
                  </a:cubicBezTo>
                  <a:lnTo>
                    <a:pt x="1112234" y="584263"/>
                  </a:lnTo>
                  <a:lnTo>
                    <a:pt x="861346" y="584263"/>
                  </a:lnTo>
                  <a:cubicBezTo>
                    <a:pt x="822865" y="584263"/>
                    <a:pt x="791337" y="615791"/>
                    <a:pt x="791337" y="654272"/>
                  </a:cubicBezTo>
                  <a:lnTo>
                    <a:pt x="791337" y="678656"/>
                  </a:lnTo>
                  <a:cubicBezTo>
                    <a:pt x="791337" y="717137"/>
                    <a:pt x="822865" y="748665"/>
                    <a:pt x="861346" y="748665"/>
                  </a:cubicBezTo>
                  <a:lnTo>
                    <a:pt x="865441" y="748665"/>
                  </a:lnTo>
                  <a:cubicBezTo>
                    <a:pt x="907828" y="748665"/>
                    <a:pt x="942784" y="780955"/>
                    <a:pt x="946213" y="823150"/>
                  </a:cubicBezTo>
                  <a:cubicBezTo>
                    <a:pt x="949071" y="859060"/>
                    <a:pt x="979360" y="887539"/>
                    <a:pt x="1016032" y="887539"/>
                  </a:cubicBezTo>
                  <a:lnTo>
                    <a:pt x="1032796" y="887539"/>
                  </a:lnTo>
                  <a:cubicBezTo>
                    <a:pt x="1072039" y="887539"/>
                    <a:pt x="1104900" y="915638"/>
                    <a:pt x="1112234" y="952786"/>
                  </a:cubicBezTo>
                  <a:lnTo>
                    <a:pt x="1112234" y="1103948"/>
                  </a:lnTo>
                  <a:cubicBezTo>
                    <a:pt x="1112234" y="1142429"/>
                    <a:pt x="1080706" y="1173956"/>
                    <a:pt x="1042225" y="1173956"/>
                  </a:cubicBezTo>
                  <a:lnTo>
                    <a:pt x="743236" y="1173956"/>
                  </a:lnTo>
                  <a:cubicBezTo>
                    <a:pt x="740473" y="1173956"/>
                    <a:pt x="738092" y="1174052"/>
                    <a:pt x="735330" y="1174337"/>
                  </a:cubicBezTo>
                  <a:cubicBezTo>
                    <a:pt x="730567" y="1174814"/>
                    <a:pt x="725710" y="1175004"/>
                    <a:pt x="720757" y="1175004"/>
                  </a:cubicBezTo>
                  <a:lnTo>
                    <a:pt x="162782" y="1175004"/>
                  </a:lnTo>
                  <a:lnTo>
                    <a:pt x="162782" y="1111853"/>
                  </a:lnTo>
                  <a:cubicBezTo>
                    <a:pt x="162782" y="1067276"/>
                    <a:pt x="126397" y="1030891"/>
                    <a:pt x="81820" y="1030891"/>
                  </a:cubicBezTo>
                  <a:lnTo>
                    <a:pt x="70009" y="1030891"/>
                  </a:lnTo>
                  <a:cubicBezTo>
                    <a:pt x="31528" y="1030891"/>
                    <a:pt x="0" y="999363"/>
                    <a:pt x="0" y="960882"/>
                  </a:cubicBezTo>
                  <a:lnTo>
                    <a:pt x="0" y="522446"/>
                  </a:lnTo>
                  <a:cubicBezTo>
                    <a:pt x="0" y="483965"/>
                    <a:pt x="31528" y="452438"/>
                    <a:pt x="70009" y="452438"/>
                  </a:cubicBezTo>
                  <a:lnTo>
                    <a:pt x="81153" y="452438"/>
                  </a:lnTo>
                  <a:cubicBezTo>
                    <a:pt x="125730" y="452438"/>
                    <a:pt x="162115" y="416052"/>
                    <a:pt x="162115" y="371475"/>
                  </a:cubicBez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78" name="Freeform: Shape 177">
              <a:extLst>
                <a:ext uri="{FF2B5EF4-FFF2-40B4-BE49-F238E27FC236}">
                  <a16:creationId xmlns:a16="http://schemas.microsoft.com/office/drawing/2014/main" id="{8B9E31CB-38FF-4E31-A160-19C27FDDEC9A}"/>
                </a:ext>
              </a:extLst>
            </p:cNvPr>
            <p:cNvSpPr/>
            <p:nvPr/>
          </p:nvSpPr>
          <p:spPr>
            <a:xfrm>
              <a:off x="2763124" y="1790874"/>
              <a:ext cx="304800" cy="536924"/>
            </a:xfrm>
            <a:custGeom>
              <a:avLst/>
              <a:gdLst>
                <a:gd name="connsiteX0" fmla="*/ 303657 w 304800"/>
                <a:gd name="connsiteY0" fmla="*/ 536639 h 536924"/>
                <a:gd name="connsiteX1" fmla="*/ 304800 w 304800"/>
                <a:gd name="connsiteY1" fmla="*/ 57626 h 536924"/>
                <a:gd name="connsiteX2" fmla="*/ 247174 w 304800"/>
                <a:gd name="connsiteY2" fmla="*/ 0 h 536924"/>
                <a:gd name="connsiteX3" fmla="*/ 227076 w 304800"/>
                <a:gd name="connsiteY3" fmla="*/ 0 h 536924"/>
                <a:gd name="connsiteX4" fmla="*/ 169450 w 304800"/>
                <a:gd name="connsiteY4" fmla="*/ 57626 h 536924"/>
                <a:gd name="connsiteX5" fmla="*/ 169450 w 304800"/>
                <a:gd name="connsiteY5" fmla="*/ 66866 h 536924"/>
                <a:gd name="connsiteX6" fmla="*/ 88487 w 304800"/>
                <a:gd name="connsiteY6" fmla="*/ 147828 h 536924"/>
                <a:gd name="connsiteX7" fmla="*/ 76390 w 304800"/>
                <a:gd name="connsiteY7" fmla="*/ 147828 h 536924"/>
                <a:gd name="connsiteX8" fmla="*/ 0 w 304800"/>
                <a:gd name="connsiteY8" fmla="*/ 224219 h 536924"/>
                <a:gd name="connsiteX9" fmla="*/ 0 w 304800"/>
                <a:gd name="connsiteY9" fmla="*/ 432340 h 536924"/>
                <a:gd name="connsiteX10" fmla="*/ 0 w 304800"/>
                <a:gd name="connsiteY10" fmla="*/ 434531 h 536924"/>
                <a:gd name="connsiteX11" fmla="*/ 0 w 304800"/>
                <a:gd name="connsiteY11" fmla="*/ 439579 h 536924"/>
                <a:gd name="connsiteX12" fmla="*/ 0 w 304800"/>
                <a:gd name="connsiteY12" fmla="*/ 441770 h 536924"/>
                <a:gd name="connsiteX13" fmla="*/ 0 w 304800"/>
                <a:gd name="connsiteY13" fmla="*/ 459772 h 536924"/>
                <a:gd name="connsiteX14" fmla="*/ 76390 w 304800"/>
                <a:gd name="connsiteY14" fmla="*/ 536162 h 536924"/>
                <a:gd name="connsiteX15" fmla="*/ 94107 w 304800"/>
                <a:gd name="connsiteY15" fmla="*/ 536162 h 536924"/>
                <a:gd name="connsiteX16" fmla="*/ 117824 w 304800"/>
                <a:gd name="connsiteY16" fmla="*/ 536924 h 536924"/>
                <a:gd name="connsiteX17" fmla="*/ 303657 w 304800"/>
                <a:gd name="connsiteY17" fmla="*/ 536639 h 53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536924">
                  <a:moveTo>
                    <a:pt x="303657" y="536639"/>
                  </a:moveTo>
                  <a:lnTo>
                    <a:pt x="304800" y="57626"/>
                  </a:lnTo>
                  <a:cubicBezTo>
                    <a:pt x="304800" y="25908"/>
                    <a:pt x="278892" y="0"/>
                    <a:pt x="247174" y="0"/>
                  </a:cubicBezTo>
                  <a:lnTo>
                    <a:pt x="227076" y="0"/>
                  </a:lnTo>
                  <a:cubicBezTo>
                    <a:pt x="195358" y="0"/>
                    <a:pt x="169450" y="25908"/>
                    <a:pt x="169450" y="57626"/>
                  </a:cubicBezTo>
                  <a:lnTo>
                    <a:pt x="169450" y="66866"/>
                  </a:lnTo>
                  <a:cubicBezTo>
                    <a:pt x="169450" y="111443"/>
                    <a:pt x="133064" y="147828"/>
                    <a:pt x="88487" y="147828"/>
                  </a:cubicBezTo>
                  <a:lnTo>
                    <a:pt x="76390" y="147828"/>
                  </a:lnTo>
                  <a:cubicBezTo>
                    <a:pt x="34385" y="147828"/>
                    <a:pt x="0" y="182213"/>
                    <a:pt x="0" y="224219"/>
                  </a:cubicBezTo>
                  <a:lnTo>
                    <a:pt x="0" y="432340"/>
                  </a:lnTo>
                  <a:cubicBezTo>
                    <a:pt x="0" y="433102"/>
                    <a:pt x="0" y="433864"/>
                    <a:pt x="0" y="434531"/>
                  </a:cubicBezTo>
                  <a:cubicBezTo>
                    <a:pt x="95" y="436340"/>
                    <a:pt x="95" y="437864"/>
                    <a:pt x="0" y="439579"/>
                  </a:cubicBezTo>
                  <a:cubicBezTo>
                    <a:pt x="0" y="440341"/>
                    <a:pt x="0" y="441008"/>
                    <a:pt x="0" y="441770"/>
                  </a:cubicBezTo>
                  <a:lnTo>
                    <a:pt x="0" y="459772"/>
                  </a:lnTo>
                  <a:cubicBezTo>
                    <a:pt x="0" y="501777"/>
                    <a:pt x="34385" y="536162"/>
                    <a:pt x="76390" y="536162"/>
                  </a:cubicBezTo>
                  <a:lnTo>
                    <a:pt x="94107" y="536162"/>
                  </a:lnTo>
                  <a:cubicBezTo>
                    <a:pt x="102775" y="536162"/>
                    <a:pt x="108871" y="536924"/>
                    <a:pt x="117824" y="536924"/>
                  </a:cubicBezTo>
                  <a:cubicBezTo>
                    <a:pt x="176022" y="536924"/>
                    <a:pt x="238982" y="536829"/>
                    <a:pt x="303657" y="536639"/>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79" name="Freeform: Shape 178">
              <a:extLst>
                <a:ext uri="{FF2B5EF4-FFF2-40B4-BE49-F238E27FC236}">
                  <a16:creationId xmlns:a16="http://schemas.microsoft.com/office/drawing/2014/main" id="{2104DE44-BFDE-4BFD-A680-43AF552CD7E0}"/>
                </a:ext>
              </a:extLst>
            </p:cNvPr>
            <p:cNvSpPr/>
            <p:nvPr/>
          </p:nvSpPr>
          <p:spPr>
            <a:xfrm>
              <a:off x="3109262" y="2015378"/>
              <a:ext cx="266318" cy="238580"/>
            </a:xfrm>
            <a:custGeom>
              <a:avLst/>
              <a:gdLst>
                <a:gd name="connsiteX0" fmla="*/ 208693 w 266318"/>
                <a:gd name="connsiteY0" fmla="*/ 71533 h 238580"/>
                <a:gd name="connsiteX1" fmla="*/ 188690 w 266318"/>
                <a:gd name="connsiteY1" fmla="*/ 71533 h 238580"/>
                <a:gd name="connsiteX2" fmla="*/ 183547 w 266318"/>
                <a:gd name="connsiteY2" fmla="*/ 71818 h 238580"/>
                <a:gd name="connsiteX3" fmla="*/ 183547 w 266318"/>
                <a:gd name="connsiteY3" fmla="*/ 15907 h 238580"/>
                <a:gd name="connsiteX4" fmla="*/ 148876 w 266318"/>
                <a:gd name="connsiteY4" fmla="*/ 286 h 238580"/>
                <a:gd name="connsiteX5" fmla="*/ 136779 w 266318"/>
                <a:gd name="connsiteY5" fmla="*/ 286 h 238580"/>
                <a:gd name="connsiteX6" fmla="*/ 46006 w 266318"/>
                <a:gd name="connsiteY6" fmla="*/ 0 h 238580"/>
                <a:gd name="connsiteX7" fmla="*/ 0 w 266318"/>
                <a:gd name="connsiteY7" fmla="*/ 46006 h 238580"/>
                <a:gd name="connsiteX8" fmla="*/ 0 w 266318"/>
                <a:gd name="connsiteY8" fmla="*/ 134969 h 238580"/>
                <a:gd name="connsiteX9" fmla="*/ 0 w 266318"/>
                <a:gd name="connsiteY9" fmla="*/ 174403 h 238580"/>
                <a:gd name="connsiteX10" fmla="*/ 0 w 266318"/>
                <a:gd name="connsiteY10" fmla="*/ 177451 h 238580"/>
                <a:gd name="connsiteX11" fmla="*/ 0 w 266318"/>
                <a:gd name="connsiteY11" fmla="*/ 178784 h 238580"/>
                <a:gd name="connsiteX12" fmla="*/ 0 w 266318"/>
                <a:gd name="connsiteY12" fmla="*/ 189643 h 238580"/>
                <a:gd name="connsiteX13" fmla="*/ 48768 w 266318"/>
                <a:gd name="connsiteY13" fmla="*/ 238411 h 238580"/>
                <a:gd name="connsiteX14" fmla="*/ 56674 w 266318"/>
                <a:gd name="connsiteY14" fmla="*/ 238411 h 238580"/>
                <a:gd name="connsiteX15" fmla="*/ 180213 w 266318"/>
                <a:gd name="connsiteY15" fmla="*/ 238411 h 238580"/>
                <a:gd name="connsiteX16" fmla="*/ 188690 w 266318"/>
                <a:gd name="connsiteY16" fmla="*/ 238411 h 238580"/>
                <a:gd name="connsiteX17" fmla="*/ 208693 w 266318"/>
                <a:gd name="connsiteY17" fmla="*/ 238411 h 238580"/>
                <a:gd name="connsiteX18" fmla="*/ 266319 w 266318"/>
                <a:gd name="connsiteY18" fmla="*/ 180784 h 238580"/>
                <a:gd name="connsiteX19" fmla="*/ 266319 w 266318"/>
                <a:gd name="connsiteY19" fmla="*/ 129159 h 238580"/>
                <a:gd name="connsiteX20" fmla="*/ 208693 w 266318"/>
                <a:gd name="connsiteY20" fmla="*/ 71533 h 2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318" h="238580">
                  <a:moveTo>
                    <a:pt x="208693" y="71533"/>
                  </a:moveTo>
                  <a:lnTo>
                    <a:pt x="188690" y="71533"/>
                  </a:lnTo>
                  <a:cubicBezTo>
                    <a:pt x="186976" y="71533"/>
                    <a:pt x="185261" y="71628"/>
                    <a:pt x="183547" y="71818"/>
                  </a:cubicBezTo>
                  <a:lnTo>
                    <a:pt x="183547" y="15907"/>
                  </a:lnTo>
                  <a:cubicBezTo>
                    <a:pt x="183547" y="-3143"/>
                    <a:pt x="167926" y="286"/>
                    <a:pt x="148876" y="286"/>
                  </a:cubicBezTo>
                  <a:lnTo>
                    <a:pt x="136779" y="286"/>
                  </a:lnTo>
                  <a:cubicBezTo>
                    <a:pt x="117729" y="286"/>
                    <a:pt x="46006" y="0"/>
                    <a:pt x="46006" y="0"/>
                  </a:cubicBezTo>
                  <a:cubicBezTo>
                    <a:pt x="20669" y="0"/>
                    <a:pt x="0" y="20669"/>
                    <a:pt x="0" y="46006"/>
                  </a:cubicBezTo>
                  <a:lnTo>
                    <a:pt x="0" y="134969"/>
                  </a:lnTo>
                  <a:cubicBezTo>
                    <a:pt x="0" y="135446"/>
                    <a:pt x="0" y="173926"/>
                    <a:pt x="0" y="174403"/>
                  </a:cubicBezTo>
                  <a:cubicBezTo>
                    <a:pt x="0" y="175450"/>
                    <a:pt x="0" y="176403"/>
                    <a:pt x="0" y="177451"/>
                  </a:cubicBezTo>
                  <a:cubicBezTo>
                    <a:pt x="0" y="177927"/>
                    <a:pt x="0" y="178308"/>
                    <a:pt x="0" y="178784"/>
                  </a:cubicBezTo>
                  <a:lnTo>
                    <a:pt x="0" y="189643"/>
                  </a:lnTo>
                  <a:cubicBezTo>
                    <a:pt x="0" y="216503"/>
                    <a:pt x="22003" y="238411"/>
                    <a:pt x="48768" y="238411"/>
                  </a:cubicBezTo>
                  <a:lnTo>
                    <a:pt x="56674" y="238411"/>
                  </a:lnTo>
                  <a:cubicBezTo>
                    <a:pt x="61913" y="238411"/>
                    <a:pt x="142494" y="238506"/>
                    <a:pt x="180213" y="238411"/>
                  </a:cubicBezTo>
                  <a:cubicBezTo>
                    <a:pt x="182975" y="238792"/>
                    <a:pt x="185833" y="238411"/>
                    <a:pt x="188690" y="238411"/>
                  </a:cubicBezTo>
                  <a:lnTo>
                    <a:pt x="208693" y="238411"/>
                  </a:lnTo>
                  <a:cubicBezTo>
                    <a:pt x="240411" y="238411"/>
                    <a:pt x="266319" y="212503"/>
                    <a:pt x="266319" y="180784"/>
                  </a:cubicBezTo>
                  <a:lnTo>
                    <a:pt x="266319" y="129159"/>
                  </a:lnTo>
                  <a:cubicBezTo>
                    <a:pt x="266319" y="97441"/>
                    <a:pt x="240411" y="71533"/>
                    <a:pt x="208693" y="71533"/>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80" name="Freeform: Shape 179">
              <a:extLst>
                <a:ext uri="{FF2B5EF4-FFF2-40B4-BE49-F238E27FC236}">
                  <a16:creationId xmlns:a16="http://schemas.microsoft.com/office/drawing/2014/main" id="{E9425343-BE95-4DEA-85AD-C655A6887FDE}"/>
                </a:ext>
              </a:extLst>
            </p:cNvPr>
            <p:cNvSpPr/>
            <p:nvPr/>
          </p:nvSpPr>
          <p:spPr>
            <a:xfrm>
              <a:off x="2926191" y="4271089"/>
              <a:ext cx="135255" cy="274415"/>
            </a:xfrm>
            <a:custGeom>
              <a:avLst/>
              <a:gdLst>
                <a:gd name="connsiteX0" fmla="*/ 57626 w 135255"/>
                <a:gd name="connsiteY0" fmla="*/ 274415 h 274415"/>
                <a:gd name="connsiteX1" fmla="*/ 77629 w 135255"/>
                <a:gd name="connsiteY1" fmla="*/ 274415 h 274415"/>
                <a:gd name="connsiteX2" fmla="*/ 135255 w 135255"/>
                <a:gd name="connsiteY2" fmla="*/ 216789 h 274415"/>
                <a:gd name="connsiteX3" fmla="*/ 135255 w 135255"/>
                <a:gd name="connsiteY3" fmla="*/ 57626 h 274415"/>
                <a:gd name="connsiteX4" fmla="*/ 77629 w 135255"/>
                <a:gd name="connsiteY4" fmla="*/ 0 h 274415"/>
                <a:gd name="connsiteX5" fmla="*/ 57626 w 135255"/>
                <a:gd name="connsiteY5" fmla="*/ 0 h 274415"/>
                <a:gd name="connsiteX6" fmla="*/ 0 w 135255"/>
                <a:gd name="connsiteY6" fmla="*/ 57626 h 274415"/>
                <a:gd name="connsiteX7" fmla="*/ 0 w 135255"/>
                <a:gd name="connsiteY7" fmla="*/ 216789 h 274415"/>
                <a:gd name="connsiteX8" fmla="*/ 57626 w 135255"/>
                <a:gd name="connsiteY8" fmla="*/ 274415 h 27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5" h="274415">
                  <a:moveTo>
                    <a:pt x="57626" y="274415"/>
                  </a:moveTo>
                  <a:lnTo>
                    <a:pt x="77629" y="274415"/>
                  </a:lnTo>
                  <a:cubicBezTo>
                    <a:pt x="109347" y="274415"/>
                    <a:pt x="135255" y="248507"/>
                    <a:pt x="135255" y="216789"/>
                  </a:cubicBezTo>
                  <a:lnTo>
                    <a:pt x="135255" y="57626"/>
                  </a:lnTo>
                  <a:cubicBezTo>
                    <a:pt x="135255" y="25908"/>
                    <a:pt x="109347" y="0"/>
                    <a:pt x="77629" y="0"/>
                  </a:cubicBezTo>
                  <a:lnTo>
                    <a:pt x="57626" y="0"/>
                  </a:lnTo>
                  <a:cubicBezTo>
                    <a:pt x="25908" y="0"/>
                    <a:pt x="0" y="25908"/>
                    <a:pt x="0" y="57626"/>
                  </a:cubicBezTo>
                  <a:lnTo>
                    <a:pt x="0" y="216789"/>
                  </a:lnTo>
                  <a:cubicBezTo>
                    <a:pt x="0" y="248412"/>
                    <a:pt x="25908" y="274415"/>
                    <a:pt x="57626" y="274415"/>
                  </a:cubicBez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81" name="Freeform: Shape 180">
              <a:extLst>
                <a:ext uri="{FF2B5EF4-FFF2-40B4-BE49-F238E27FC236}">
                  <a16:creationId xmlns:a16="http://schemas.microsoft.com/office/drawing/2014/main" id="{EC26F890-1BF5-4511-A1AD-26714D9D4878}"/>
                </a:ext>
              </a:extLst>
            </p:cNvPr>
            <p:cNvSpPr/>
            <p:nvPr/>
          </p:nvSpPr>
          <p:spPr>
            <a:xfrm>
              <a:off x="2129520" y="2520773"/>
              <a:ext cx="621982" cy="435008"/>
            </a:xfrm>
            <a:custGeom>
              <a:avLst/>
              <a:gdLst>
                <a:gd name="connsiteX0" fmla="*/ 331280 w 621982"/>
                <a:gd name="connsiteY0" fmla="*/ 2 h 435008"/>
                <a:gd name="connsiteX1" fmla="*/ 247841 w 621982"/>
                <a:gd name="connsiteY1" fmla="*/ 83441 h 435008"/>
                <a:gd name="connsiteX2" fmla="*/ 247841 w 621982"/>
                <a:gd name="connsiteY2" fmla="*/ 146592 h 435008"/>
                <a:gd name="connsiteX3" fmla="*/ 83439 w 621982"/>
                <a:gd name="connsiteY3" fmla="*/ 146592 h 435008"/>
                <a:gd name="connsiteX4" fmla="*/ 0 w 621982"/>
                <a:gd name="connsiteY4" fmla="*/ 230030 h 435008"/>
                <a:gd name="connsiteX5" fmla="*/ 0 w 621982"/>
                <a:gd name="connsiteY5" fmla="*/ 283751 h 435008"/>
                <a:gd name="connsiteX6" fmla="*/ 232410 w 621982"/>
                <a:gd name="connsiteY6" fmla="*/ 283751 h 435008"/>
                <a:gd name="connsiteX7" fmla="*/ 315849 w 621982"/>
                <a:gd name="connsiteY7" fmla="*/ 367190 h 435008"/>
                <a:gd name="connsiteX8" fmla="*/ 393001 w 621982"/>
                <a:gd name="connsiteY8" fmla="*/ 435009 h 435008"/>
                <a:gd name="connsiteX9" fmla="*/ 459867 w 621982"/>
                <a:gd name="connsiteY9" fmla="*/ 434437 h 435008"/>
                <a:gd name="connsiteX10" fmla="*/ 459867 w 621982"/>
                <a:gd name="connsiteY10" fmla="*/ 360142 h 435008"/>
                <a:gd name="connsiteX11" fmla="*/ 529876 w 621982"/>
                <a:gd name="connsiteY11" fmla="*/ 290133 h 435008"/>
                <a:gd name="connsiteX12" fmla="*/ 541020 w 621982"/>
                <a:gd name="connsiteY12" fmla="*/ 290133 h 435008"/>
                <a:gd name="connsiteX13" fmla="*/ 621983 w 621982"/>
                <a:gd name="connsiteY13" fmla="*/ 209171 h 435008"/>
                <a:gd name="connsiteX14" fmla="*/ 621983 w 621982"/>
                <a:gd name="connsiteY14" fmla="*/ 2097 h 435008"/>
                <a:gd name="connsiteX15" fmla="*/ 331280 w 621982"/>
                <a:gd name="connsiteY15" fmla="*/ 2 h 43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1982" h="435008">
                  <a:moveTo>
                    <a:pt x="331280" y="2"/>
                  </a:moveTo>
                  <a:cubicBezTo>
                    <a:pt x="285369" y="-284"/>
                    <a:pt x="247841" y="37530"/>
                    <a:pt x="247841" y="83441"/>
                  </a:cubicBezTo>
                  <a:lnTo>
                    <a:pt x="247841" y="146592"/>
                  </a:lnTo>
                  <a:lnTo>
                    <a:pt x="83439" y="146592"/>
                  </a:lnTo>
                  <a:cubicBezTo>
                    <a:pt x="37529" y="146592"/>
                    <a:pt x="0" y="184120"/>
                    <a:pt x="0" y="230030"/>
                  </a:cubicBezTo>
                  <a:lnTo>
                    <a:pt x="0" y="283751"/>
                  </a:lnTo>
                  <a:lnTo>
                    <a:pt x="232410" y="283751"/>
                  </a:lnTo>
                  <a:cubicBezTo>
                    <a:pt x="278321" y="283751"/>
                    <a:pt x="315849" y="321280"/>
                    <a:pt x="315849" y="367190"/>
                  </a:cubicBezTo>
                  <a:cubicBezTo>
                    <a:pt x="312706" y="406052"/>
                    <a:pt x="339947" y="427103"/>
                    <a:pt x="393001" y="435009"/>
                  </a:cubicBezTo>
                  <a:lnTo>
                    <a:pt x="459867" y="434437"/>
                  </a:lnTo>
                  <a:lnTo>
                    <a:pt x="459867" y="360142"/>
                  </a:lnTo>
                  <a:cubicBezTo>
                    <a:pt x="459867" y="321661"/>
                    <a:pt x="491395" y="290133"/>
                    <a:pt x="529876" y="290133"/>
                  </a:cubicBezTo>
                  <a:lnTo>
                    <a:pt x="541020" y="290133"/>
                  </a:lnTo>
                  <a:cubicBezTo>
                    <a:pt x="585597" y="290133"/>
                    <a:pt x="621983" y="253748"/>
                    <a:pt x="621983" y="209171"/>
                  </a:cubicBezTo>
                  <a:lnTo>
                    <a:pt x="621983" y="2097"/>
                  </a:lnTo>
                  <a:lnTo>
                    <a:pt x="331280" y="2"/>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82" name="Freeform: Shape 181">
              <a:extLst>
                <a:ext uri="{FF2B5EF4-FFF2-40B4-BE49-F238E27FC236}">
                  <a16:creationId xmlns:a16="http://schemas.microsoft.com/office/drawing/2014/main" id="{621359D7-1EE5-4D39-BB9C-08FF8CB994F2}"/>
                </a:ext>
              </a:extLst>
            </p:cNvPr>
            <p:cNvSpPr/>
            <p:nvPr/>
          </p:nvSpPr>
          <p:spPr>
            <a:xfrm>
              <a:off x="1962262" y="2804429"/>
              <a:ext cx="627126" cy="447484"/>
            </a:xfrm>
            <a:custGeom>
              <a:avLst/>
              <a:gdLst>
                <a:gd name="connsiteX0" fmla="*/ 627126 w 627126"/>
                <a:gd name="connsiteY0" fmla="*/ 447485 h 447484"/>
                <a:gd name="connsiteX1" fmla="*/ 627126 w 627126"/>
                <a:gd name="connsiteY1" fmla="*/ 150686 h 447484"/>
                <a:gd name="connsiteX2" fmla="*/ 560260 w 627126"/>
                <a:gd name="connsiteY2" fmla="*/ 151257 h 447484"/>
                <a:gd name="connsiteX3" fmla="*/ 483108 w 627126"/>
                <a:gd name="connsiteY3" fmla="*/ 83439 h 447484"/>
                <a:gd name="connsiteX4" fmla="*/ 399669 w 627126"/>
                <a:gd name="connsiteY4" fmla="*/ 0 h 447484"/>
                <a:gd name="connsiteX5" fmla="*/ 168212 w 627126"/>
                <a:gd name="connsiteY5" fmla="*/ 0 h 447484"/>
                <a:gd name="connsiteX6" fmla="*/ 168212 w 627126"/>
                <a:gd name="connsiteY6" fmla="*/ 69437 h 447484"/>
                <a:gd name="connsiteX7" fmla="*/ 84106 w 627126"/>
                <a:gd name="connsiteY7" fmla="*/ 158401 h 447484"/>
                <a:gd name="connsiteX8" fmla="*/ 0 w 627126"/>
                <a:gd name="connsiteY8" fmla="*/ 158401 h 447484"/>
                <a:gd name="connsiteX9" fmla="*/ 381 w 627126"/>
                <a:gd name="connsiteY9" fmla="*/ 212788 h 447484"/>
                <a:gd name="connsiteX10" fmla="*/ 83820 w 627126"/>
                <a:gd name="connsiteY10" fmla="*/ 296228 h 447484"/>
                <a:gd name="connsiteX11" fmla="*/ 225457 w 627126"/>
                <a:gd name="connsiteY11" fmla="*/ 296228 h 447484"/>
                <a:gd name="connsiteX12" fmla="*/ 318421 w 627126"/>
                <a:gd name="connsiteY12" fmla="*/ 364046 h 447484"/>
                <a:gd name="connsiteX13" fmla="*/ 401860 w 627126"/>
                <a:gd name="connsiteY13" fmla="*/ 447485 h 447484"/>
                <a:gd name="connsiteX14" fmla="*/ 627126 w 627126"/>
                <a:gd name="connsiteY14" fmla="*/ 447485 h 44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7126" h="447484">
                  <a:moveTo>
                    <a:pt x="627126" y="447485"/>
                  </a:moveTo>
                  <a:lnTo>
                    <a:pt x="627126" y="150686"/>
                  </a:lnTo>
                  <a:lnTo>
                    <a:pt x="560260" y="151257"/>
                  </a:lnTo>
                  <a:cubicBezTo>
                    <a:pt x="507301" y="143351"/>
                    <a:pt x="479965" y="122301"/>
                    <a:pt x="483108" y="83439"/>
                  </a:cubicBezTo>
                  <a:cubicBezTo>
                    <a:pt x="483108" y="37529"/>
                    <a:pt x="445580" y="0"/>
                    <a:pt x="399669" y="0"/>
                  </a:cubicBezTo>
                  <a:lnTo>
                    <a:pt x="168212" y="0"/>
                  </a:lnTo>
                  <a:lnTo>
                    <a:pt x="168212" y="69437"/>
                  </a:lnTo>
                  <a:cubicBezTo>
                    <a:pt x="168212" y="115348"/>
                    <a:pt x="130016" y="158401"/>
                    <a:pt x="84106" y="158401"/>
                  </a:cubicBezTo>
                  <a:lnTo>
                    <a:pt x="0" y="158401"/>
                  </a:lnTo>
                  <a:lnTo>
                    <a:pt x="381" y="212788"/>
                  </a:lnTo>
                  <a:cubicBezTo>
                    <a:pt x="667" y="258699"/>
                    <a:pt x="37909" y="296228"/>
                    <a:pt x="83820" y="296228"/>
                  </a:cubicBezTo>
                  <a:lnTo>
                    <a:pt x="225457" y="296228"/>
                  </a:lnTo>
                  <a:cubicBezTo>
                    <a:pt x="307753" y="293180"/>
                    <a:pt x="320326" y="324993"/>
                    <a:pt x="318421" y="364046"/>
                  </a:cubicBezTo>
                  <a:cubicBezTo>
                    <a:pt x="318421" y="409956"/>
                    <a:pt x="355949" y="447485"/>
                    <a:pt x="401860" y="447485"/>
                  </a:cubicBezTo>
                  <a:lnTo>
                    <a:pt x="627126" y="447485"/>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83" name="Freeform: Shape 182">
              <a:extLst>
                <a:ext uri="{FF2B5EF4-FFF2-40B4-BE49-F238E27FC236}">
                  <a16:creationId xmlns:a16="http://schemas.microsoft.com/office/drawing/2014/main" id="{4CF09B19-85C5-42E8-A912-AF948F6D3DB9}"/>
                </a:ext>
              </a:extLst>
            </p:cNvPr>
            <p:cNvSpPr/>
            <p:nvPr/>
          </p:nvSpPr>
          <p:spPr>
            <a:xfrm>
              <a:off x="2437369" y="3095990"/>
              <a:ext cx="152019" cy="156019"/>
            </a:xfrm>
            <a:custGeom>
              <a:avLst/>
              <a:gdLst>
                <a:gd name="connsiteX0" fmla="*/ 152019 w 152019"/>
                <a:gd name="connsiteY0" fmla="*/ 0 h 156019"/>
                <a:gd name="connsiteX1" fmla="*/ 57626 w 152019"/>
                <a:gd name="connsiteY1" fmla="*/ 0 h 156019"/>
                <a:gd name="connsiteX2" fmla="*/ 0 w 152019"/>
                <a:gd name="connsiteY2" fmla="*/ 57626 h 156019"/>
                <a:gd name="connsiteX3" fmla="*/ 0 w 152019"/>
                <a:gd name="connsiteY3" fmla="*/ 156019 h 156019"/>
                <a:gd name="connsiteX4" fmla="*/ 152019 w 152019"/>
                <a:gd name="connsiteY4" fmla="*/ 156019 h 156019"/>
                <a:gd name="connsiteX5" fmla="*/ 152019 w 152019"/>
                <a:gd name="connsiteY5" fmla="*/ 0 h 15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019" h="156019">
                  <a:moveTo>
                    <a:pt x="152019" y="0"/>
                  </a:moveTo>
                  <a:lnTo>
                    <a:pt x="57626" y="0"/>
                  </a:lnTo>
                  <a:cubicBezTo>
                    <a:pt x="25908" y="0"/>
                    <a:pt x="0" y="25908"/>
                    <a:pt x="0" y="57626"/>
                  </a:cubicBezTo>
                  <a:lnTo>
                    <a:pt x="0" y="156019"/>
                  </a:lnTo>
                  <a:lnTo>
                    <a:pt x="152019" y="156019"/>
                  </a:lnTo>
                  <a:lnTo>
                    <a:pt x="152019" y="0"/>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84" name="Freeform: Shape 183">
              <a:extLst>
                <a:ext uri="{FF2B5EF4-FFF2-40B4-BE49-F238E27FC236}">
                  <a16:creationId xmlns:a16="http://schemas.microsoft.com/office/drawing/2014/main" id="{76151290-266A-4468-B6E6-919E9BE7918C}"/>
                </a:ext>
              </a:extLst>
            </p:cNvPr>
            <p:cNvSpPr/>
            <p:nvPr/>
          </p:nvSpPr>
          <p:spPr>
            <a:xfrm>
              <a:off x="866029" y="2961973"/>
              <a:ext cx="1885569" cy="1438655"/>
            </a:xfrm>
            <a:custGeom>
              <a:avLst/>
              <a:gdLst>
                <a:gd name="connsiteX0" fmla="*/ 945452 w 1885569"/>
                <a:gd name="connsiteY0" fmla="*/ 114776 h 1438655"/>
                <a:gd name="connsiteX1" fmla="*/ 945452 w 1885569"/>
                <a:gd name="connsiteY1" fmla="*/ 205835 h 1438655"/>
                <a:gd name="connsiteX2" fmla="*/ 864489 w 1885569"/>
                <a:gd name="connsiteY2" fmla="*/ 286798 h 1438655"/>
                <a:gd name="connsiteX3" fmla="*/ 558165 w 1885569"/>
                <a:gd name="connsiteY3" fmla="*/ 286798 h 1438655"/>
                <a:gd name="connsiteX4" fmla="*/ 475393 w 1885569"/>
                <a:gd name="connsiteY4" fmla="*/ 359759 h 1438655"/>
                <a:gd name="connsiteX5" fmla="*/ 395002 w 1885569"/>
                <a:gd name="connsiteY5" fmla="*/ 430530 h 1438655"/>
                <a:gd name="connsiteX6" fmla="*/ 57626 w 1885569"/>
                <a:gd name="connsiteY6" fmla="*/ 430530 h 1438655"/>
                <a:gd name="connsiteX7" fmla="*/ 0 w 1885569"/>
                <a:gd name="connsiteY7" fmla="*/ 488156 h 1438655"/>
                <a:gd name="connsiteX8" fmla="*/ 0 w 1885569"/>
                <a:gd name="connsiteY8" fmla="*/ 508159 h 1438655"/>
                <a:gd name="connsiteX9" fmla="*/ 57626 w 1885569"/>
                <a:gd name="connsiteY9" fmla="*/ 565785 h 1438655"/>
                <a:gd name="connsiteX10" fmla="*/ 222885 w 1885569"/>
                <a:gd name="connsiteY10" fmla="*/ 565785 h 1438655"/>
                <a:gd name="connsiteX11" fmla="*/ 303848 w 1885569"/>
                <a:gd name="connsiteY11" fmla="*/ 645890 h 1438655"/>
                <a:gd name="connsiteX12" fmla="*/ 361474 w 1885569"/>
                <a:gd name="connsiteY12" fmla="*/ 702850 h 1438655"/>
                <a:gd name="connsiteX13" fmla="*/ 550736 w 1885569"/>
                <a:gd name="connsiteY13" fmla="*/ 702850 h 1438655"/>
                <a:gd name="connsiteX14" fmla="*/ 631698 w 1885569"/>
                <a:gd name="connsiteY14" fmla="*/ 783812 h 1438655"/>
                <a:gd name="connsiteX15" fmla="*/ 631698 w 1885569"/>
                <a:gd name="connsiteY15" fmla="*/ 924687 h 1438655"/>
                <a:gd name="connsiteX16" fmla="*/ 550736 w 1885569"/>
                <a:gd name="connsiteY16" fmla="*/ 1005649 h 1438655"/>
                <a:gd name="connsiteX17" fmla="*/ 536257 w 1885569"/>
                <a:gd name="connsiteY17" fmla="*/ 1005649 h 1438655"/>
                <a:gd name="connsiteX18" fmla="*/ 478631 w 1885569"/>
                <a:gd name="connsiteY18" fmla="*/ 1063276 h 1438655"/>
                <a:gd name="connsiteX19" fmla="*/ 478631 w 1885569"/>
                <a:gd name="connsiteY19" fmla="*/ 1220914 h 1438655"/>
                <a:gd name="connsiteX20" fmla="*/ 397669 w 1885569"/>
                <a:gd name="connsiteY20" fmla="*/ 1301877 h 1438655"/>
                <a:gd name="connsiteX21" fmla="*/ 883634 w 1885569"/>
                <a:gd name="connsiteY21" fmla="*/ 1301877 h 1438655"/>
                <a:gd name="connsiteX22" fmla="*/ 941261 w 1885569"/>
                <a:gd name="connsiteY22" fmla="*/ 1359503 h 1438655"/>
                <a:gd name="connsiteX23" fmla="*/ 941261 w 1885569"/>
                <a:gd name="connsiteY23" fmla="*/ 1380363 h 1438655"/>
                <a:gd name="connsiteX24" fmla="*/ 941546 w 1885569"/>
                <a:gd name="connsiteY24" fmla="*/ 1380363 h 1438655"/>
                <a:gd name="connsiteX25" fmla="*/ 941546 w 1885569"/>
                <a:gd name="connsiteY25" fmla="*/ 1381030 h 1438655"/>
                <a:gd name="connsiteX26" fmla="*/ 999173 w 1885569"/>
                <a:gd name="connsiteY26" fmla="*/ 1438656 h 1438655"/>
                <a:gd name="connsiteX27" fmla="*/ 1261110 w 1885569"/>
                <a:gd name="connsiteY27" fmla="*/ 1438656 h 1438655"/>
                <a:gd name="connsiteX28" fmla="*/ 1261110 w 1885569"/>
                <a:gd name="connsiteY28" fmla="*/ 1362647 h 1438655"/>
                <a:gd name="connsiteX29" fmla="*/ 1318736 w 1885569"/>
                <a:gd name="connsiteY29" fmla="*/ 1305020 h 1438655"/>
                <a:gd name="connsiteX30" fmla="*/ 1765459 w 1885569"/>
                <a:gd name="connsiteY30" fmla="*/ 1305020 h 1438655"/>
                <a:gd name="connsiteX31" fmla="*/ 1785557 w 1885569"/>
                <a:gd name="connsiteY31" fmla="*/ 1304544 h 1438655"/>
                <a:gd name="connsiteX32" fmla="*/ 1827181 w 1885569"/>
                <a:gd name="connsiteY32" fmla="*/ 1303115 h 1438655"/>
                <a:gd name="connsiteX33" fmla="*/ 1884807 w 1885569"/>
                <a:gd name="connsiteY33" fmla="*/ 1245489 h 1438655"/>
                <a:gd name="connsiteX34" fmla="*/ 1885093 w 1885569"/>
                <a:gd name="connsiteY34" fmla="*/ 865251 h 1438655"/>
                <a:gd name="connsiteX35" fmla="*/ 1789367 w 1885569"/>
                <a:gd name="connsiteY35" fmla="*/ 865251 h 1438655"/>
                <a:gd name="connsiteX36" fmla="*/ 1731740 w 1885569"/>
                <a:gd name="connsiteY36" fmla="*/ 807625 h 1438655"/>
                <a:gd name="connsiteX37" fmla="*/ 1731740 w 1885569"/>
                <a:gd name="connsiteY37" fmla="*/ 629983 h 1438655"/>
                <a:gd name="connsiteX38" fmla="*/ 1789367 w 1885569"/>
                <a:gd name="connsiteY38" fmla="*/ 572357 h 1438655"/>
                <a:gd name="connsiteX39" fmla="*/ 1885474 w 1885569"/>
                <a:gd name="connsiteY39" fmla="*/ 572357 h 1438655"/>
                <a:gd name="connsiteX40" fmla="*/ 1885569 w 1885569"/>
                <a:gd name="connsiteY40" fmla="*/ 495967 h 1438655"/>
                <a:gd name="connsiteX41" fmla="*/ 1805464 w 1885569"/>
                <a:gd name="connsiteY41" fmla="*/ 427101 h 1438655"/>
                <a:gd name="connsiteX42" fmla="*/ 1793653 w 1885569"/>
                <a:gd name="connsiteY42" fmla="*/ 427101 h 1438655"/>
                <a:gd name="connsiteX43" fmla="*/ 1723644 w 1885569"/>
                <a:gd name="connsiteY43" fmla="*/ 357092 h 1438655"/>
                <a:gd name="connsiteX44" fmla="*/ 1723644 w 1885569"/>
                <a:gd name="connsiteY44" fmla="*/ 289750 h 1438655"/>
                <a:gd name="connsiteX45" fmla="*/ 1498378 w 1885569"/>
                <a:gd name="connsiteY45" fmla="*/ 289750 h 1438655"/>
                <a:gd name="connsiteX46" fmla="*/ 1417225 w 1885569"/>
                <a:gd name="connsiteY46" fmla="*/ 225742 h 1438655"/>
                <a:gd name="connsiteX47" fmla="*/ 1415034 w 1885569"/>
                <a:gd name="connsiteY47" fmla="*/ 204025 h 1438655"/>
                <a:gd name="connsiteX48" fmla="*/ 1323308 w 1885569"/>
                <a:gd name="connsiteY48" fmla="*/ 138398 h 1438655"/>
                <a:gd name="connsiteX49" fmla="*/ 1320641 w 1885569"/>
                <a:gd name="connsiteY49" fmla="*/ 138398 h 1438655"/>
                <a:gd name="connsiteX50" fmla="*/ 1180338 w 1885569"/>
                <a:gd name="connsiteY50" fmla="*/ 138398 h 1438655"/>
                <a:gd name="connsiteX51" fmla="*/ 1121950 w 1885569"/>
                <a:gd name="connsiteY51" fmla="*/ 114490 h 1438655"/>
                <a:gd name="connsiteX52" fmla="*/ 1121950 w 1885569"/>
                <a:gd name="connsiteY52" fmla="*/ 114490 h 1438655"/>
                <a:gd name="connsiteX53" fmla="*/ 1115092 w 1885569"/>
                <a:gd name="connsiteY53" fmla="*/ 106966 h 1438655"/>
                <a:gd name="connsiteX54" fmla="*/ 1114616 w 1885569"/>
                <a:gd name="connsiteY54" fmla="*/ 106299 h 1438655"/>
                <a:gd name="connsiteX55" fmla="*/ 1114520 w 1885569"/>
                <a:gd name="connsiteY55" fmla="*/ 106204 h 1438655"/>
                <a:gd name="connsiteX56" fmla="*/ 1114425 w 1885569"/>
                <a:gd name="connsiteY56" fmla="*/ 106108 h 1438655"/>
                <a:gd name="connsiteX57" fmla="*/ 1109853 w 1885569"/>
                <a:gd name="connsiteY57" fmla="*/ 99631 h 1438655"/>
                <a:gd name="connsiteX58" fmla="*/ 1109853 w 1885569"/>
                <a:gd name="connsiteY58" fmla="*/ 99631 h 1438655"/>
                <a:gd name="connsiteX59" fmla="*/ 1108805 w 1885569"/>
                <a:gd name="connsiteY59" fmla="*/ 97917 h 1438655"/>
                <a:gd name="connsiteX60" fmla="*/ 1108805 w 1885569"/>
                <a:gd name="connsiteY60" fmla="*/ 97822 h 1438655"/>
                <a:gd name="connsiteX61" fmla="*/ 1108424 w 1885569"/>
                <a:gd name="connsiteY61" fmla="*/ 97155 h 1438655"/>
                <a:gd name="connsiteX62" fmla="*/ 1108329 w 1885569"/>
                <a:gd name="connsiteY62" fmla="*/ 96964 h 1438655"/>
                <a:gd name="connsiteX63" fmla="*/ 1107853 w 1885569"/>
                <a:gd name="connsiteY63" fmla="*/ 96107 h 1438655"/>
                <a:gd name="connsiteX64" fmla="*/ 1107853 w 1885569"/>
                <a:gd name="connsiteY64" fmla="*/ 96107 h 1438655"/>
                <a:gd name="connsiteX65" fmla="*/ 1107377 w 1885569"/>
                <a:gd name="connsiteY65" fmla="*/ 95250 h 1438655"/>
                <a:gd name="connsiteX66" fmla="*/ 1107377 w 1885569"/>
                <a:gd name="connsiteY66" fmla="*/ 95250 h 1438655"/>
                <a:gd name="connsiteX67" fmla="*/ 1106996 w 1885569"/>
                <a:gd name="connsiteY67" fmla="*/ 94488 h 1438655"/>
                <a:gd name="connsiteX68" fmla="*/ 1106900 w 1885569"/>
                <a:gd name="connsiteY68" fmla="*/ 94393 h 1438655"/>
                <a:gd name="connsiteX69" fmla="*/ 1106424 w 1885569"/>
                <a:gd name="connsiteY69" fmla="*/ 93536 h 1438655"/>
                <a:gd name="connsiteX70" fmla="*/ 1106424 w 1885569"/>
                <a:gd name="connsiteY70" fmla="*/ 93440 h 1438655"/>
                <a:gd name="connsiteX71" fmla="*/ 1106329 w 1885569"/>
                <a:gd name="connsiteY71" fmla="*/ 93154 h 1438655"/>
                <a:gd name="connsiteX72" fmla="*/ 1105948 w 1885569"/>
                <a:gd name="connsiteY72" fmla="*/ 92392 h 1438655"/>
                <a:gd name="connsiteX73" fmla="*/ 1105567 w 1885569"/>
                <a:gd name="connsiteY73" fmla="*/ 91630 h 1438655"/>
                <a:gd name="connsiteX74" fmla="*/ 1105091 w 1885569"/>
                <a:gd name="connsiteY74" fmla="*/ 90678 h 1438655"/>
                <a:gd name="connsiteX75" fmla="*/ 1104995 w 1885569"/>
                <a:gd name="connsiteY75" fmla="*/ 90583 h 1438655"/>
                <a:gd name="connsiteX76" fmla="*/ 1104614 w 1885569"/>
                <a:gd name="connsiteY76" fmla="*/ 89821 h 1438655"/>
                <a:gd name="connsiteX77" fmla="*/ 1104614 w 1885569"/>
                <a:gd name="connsiteY77" fmla="*/ 89821 h 1438655"/>
                <a:gd name="connsiteX78" fmla="*/ 1104233 w 1885569"/>
                <a:gd name="connsiteY78" fmla="*/ 88963 h 1438655"/>
                <a:gd name="connsiteX79" fmla="*/ 1104233 w 1885569"/>
                <a:gd name="connsiteY79" fmla="*/ 88963 h 1438655"/>
                <a:gd name="connsiteX80" fmla="*/ 1103852 w 1885569"/>
                <a:gd name="connsiteY80" fmla="*/ 88011 h 1438655"/>
                <a:gd name="connsiteX81" fmla="*/ 1103662 w 1885569"/>
                <a:gd name="connsiteY81" fmla="*/ 87535 h 1438655"/>
                <a:gd name="connsiteX82" fmla="*/ 1103281 w 1885569"/>
                <a:gd name="connsiteY82" fmla="*/ 86582 h 1438655"/>
                <a:gd name="connsiteX83" fmla="*/ 1103186 w 1885569"/>
                <a:gd name="connsiteY83" fmla="*/ 86392 h 1438655"/>
                <a:gd name="connsiteX84" fmla="*/ 1102614 w 1885569"/>
                <a:gd name="connsiteY84" fmla="*/ 84963 h 1438655"/>
                <a:gd name="connsiteX85" fmla="*/ 1102424 w 1885569"/>
                <a:gd name="connsiteY85" fmla="*/ 84582 h 1438655"/>
                <a:gd name="connsiteX86" fmla="*/ 1097090 w 1885569"/>
                <a:gd name="connsiteY86" fmla="*/ 55245 h 1438655"/>
                <a:gd name="connsiteX87" fmla="*/ 1097090 w 1885569"/>
                <a:gd name="connsiteY87" fmla="*/ 0 h 1438655"/>
                <a:gd name="connsiteX88" fmla="*/ 1029367 w 1885569"/>
                <a:gd name="connsiteY88" fmla="*/ 0 h 1438655"/>
                <a:gd name="connsiteX89" fmla="*/ 945928 w 1885569"/>
                <a:gd name="connsiteY89" fmla="*/ 83439 h 1438655"/>
                <a:gd name="connsiteX90" fmla="*/ 945452 w 1885569"/>
                <a:gd name="connsiteY90" fmla="*/ 114776 h 1438655"/>
                <a:gd name="connsiteX91" fmla="*/ 945452 w 1885569"/>
                <a:gd name="connsiteY91" fmla="*/ 114776 h 143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885569" h="1438655">
                  <a:moveTo>
                    <a:pt x="945452" y="114776"/>
                  </a:moveTo>
                  <a:lnTo>
                    <a:pt x="945452" y="205835"/>
                  </a:lnTo>
                  <a:cubicBezTo>
                    <a:pt x="945452" y="250412"/>
                    <a:pt x="909066" y="286798"/>
                    <a:pt x="864489" y="286798"/>
                  </a:cubicBezTo>
                  <a:lnTo>
                    <a:pt x="558165" y="286798"/>
                  </a:lnTo>
                  <a:cubicBezTo>
                    <a:pt x="515874" y="286798"/>
                    <a:pt x="480632" y="318706"/>
                    <a:pt x="475393" y="359759"/>
                  </a:cubicBezTo>
                  <a:cubicBezTo>
                    <a:pt x="470249" y="400431"/>
                    <a:pt x="436055" y="430530"/>
                    <a:pt x="395002" y="430530"/>
                  </a:cubicBezTo>
                  <a:lnTo>
                    <a:pt x="57626" y="430530"/>
                  </a:lnTo>
                  <a:cubicBezTo>
                    <a:pt x="25908" y="430530"/>
                    <a:pt x="0" y="456438"/>
                    <a:pt x="0" y="488156"/>
                  </a:cubicBezTo>
                  <a:lnTo>
                    <a:pt x="0" y="508159"/>
                  </a:lnTo>
                  <a:cubicBezTo>
                    <a:pt x="0" y="539877"/>
                    <a:pt x="25908" y="565785"/>
                    <a:pt x="57626" y="565785"/>
                  </a:cubicBezTo>
                  <a:lnTo>
                    <a:pt x="222885" y="565785"/>
                  </a:lnTo>
                  <a:cubicBezTo>
                    <a:pt x="267176" y="565785"/>
                    <a:pt x="303371" y="601599"/>
                    <a:pt x="303848" y="645890"/>
                  </a:cubicBezTo>
                  <a:cubicBezTo>
                    <a:pt x="304229" y="677323"/>
                    <a:pt x="329946" y="702850"/>
                    <a:pt x="361474" y="702850"/>
                  </a:cubicBezTo>
                  <a:lnTo>
                    <a:pt x="550736" y="702850"/>
                  </a:lnTo>
                  <a:cubicBezTo>
                    <a:pt x="595313" y="702850"/>
                    <a:pt x="631698" y="739235"/>
                    <a:pt x="631698" y="783812"/>
                  </a:cubicBezTo>
                  <a:lnTo>
                    <a:pt x="631698" y="924687"/>
                  </a:lnTo>
                  <a:cubicBezTo>
                    <a:pt x="631698" y="969264"/>
                    <a:pt x="595313" y="1005649"/>
                    <a:pt x="550736" y="1005649"/>
                  </a:cubicBezTo>
                  <a:lnTo>
                    <a:pt x="536257" y="1005649"/>
                  </a:lnTo>
                  <a:cubicBezTo>
                    <a:pt x="504539" y="1005649"/>
                    <a:pt x="478631" y="1031557"/>
                    <a:pt x="478631" y="1063276"/>
                  </a:cubicBezTo>
                  <a:lnTo>
                    <a:pt x="478631" y="1220914"/>
                  </a:lnTo>
                  <a:cubicBezTo>
                    <a:pt x="478631" y="1265491"/>
                    <a:pt x="442246" y="1301877"/>
                    <a:pt x="397669" y="1301877"/>
                  </a:cubicBezTo>
                  <a:lnTo>
                    <a:pt x="883634" y="1301877"/>
                  </a:lnTo>
                  <a:cubicBezTo>
                    <a:pt x="915353" y="1301877"/>
                    <a:pt x="941261" y="1327785"/>
                    <a:pt x="941261" y="1359503"/>
                  </a:cubicBezTo>
                  <a:lnTo>
                    <a:pt x="941261" y="1380363"/>
                  </a:lnTo>
                  <a:lnTo>
                    <a:pt x="941546" y="1380363"/>
                  </a:lnTo>
                  <a:lnTo>
                    <a:pt x="941546" y="1381030"/>
                  </a:lnTo>
                  <a:cubicBezTo>
                    <a:pt x="941546" y="1412748"/>
                    <a:pt x="967454" y="1438656"/>
                    <a:pt x="999173" y="1438656"/>
                  </a:cubicBezTo>
                  <a:lnTo>
                    <a:pt x="1261110" y="1438656"/>
                  </a:lnTo>
                  <a:lnTo>
                    <a:pt x="1261110" y="1362647"/>
                  </a:lnTo>
                  <a:cubicBezTo>
                    <a:pt x="1261110" y="1330928"/>
                    <a:pt x="1287018" y="1305020"/>
                    <a:pt x="1318736" y="1305020"/>
                  </a:cubicBezTo>
                  <a:lnTo>
                    <a:pt x="1765459" y="1305020"/>
                  </a:lnTo>
                  <a:lnTo>
                    <a:pt x="1785557" y="1304544"/>
                  </a:lnTo>
                  <a:lnTo>
                    <a:pt x="1827181" y="1303115"/>
                  </a:lnTo>
                  <a:cubicBezTo>
                    <a:pt x="1858804" y="1302067"/>
                    <a:pt x="1884807" y="1277207"/>
                    <a:pt x="1884807" y="1245489"/>
                  </a:cubicBezTo>
                  <a:cubicBezTo>
                    <a:pt x="1884807" y="1118806"/>
                    <a:pt x="1884902" y="991933"/>
                    <a:pt x="1885093" y="865251"/>
                  </a:cubicBezTo>
                  <a:lnTo>
                    <a:pt x="1789367" y="865251"/>
                  </a:lnTo>
                  <a:cubicBezTo>
                    <a:pt x="1757648" y="865251"/>
                    <a:pt x="1731740" y="839343"/>
                    <a:pt x="1731740" y="807625"/>
                  </a:cubicBezTo>
                  <a:lnTo>
                    <a:pt x="1731740" y="629983"/>
                  </a:lnTo>
                  <a:cubicBezTo>
                    <a:pt x="1731740" y="598265"/>
                    <a:pt x="1757648" y="572357"/>
                    <a:pt x="1789367" y="572357"/>
                  </a:cubicBezTo>
                  <a:lnTo>
                    <a:pt x="1885474" y="572357"/>
                  </a:lnTo>
                  <a:lnTo>
                    <a:pt x="1885569" y="495967"/>
                  </a:lnTo>
                  <a:cubicBezTo>
                    <a:pt x="1879663" y="457009"/>
                    <a:pt x="1845945" y="427101"/>
                    <a:pt x="1805464" y="427101"/>
                  </a:cubicBezTo>
                  <a:lnTo>
                    <a:pt x="1793653" y="427101"/>
                  </a:lnTo>
                  <a:cubicBezTo>
                    <a:pt x="1755172" y="427101"/>
                    <a:pt x="1723644" y="395573"/>
                    <a:pt x="1723644" y="357092"/>
                  </a:cubicBezTo>
                  <a:lnTo>
                    <a:pt x="1723644" y="289750"/>
                  </a:lnTo>
                  <a:lnTo>
                    <a:pt x="1498378" y="289750"/>
                  </a:lnTo>
                  <a:cubicBezTo>
                    <a:pt x="1459135" y="289750"/>
                    <a:pt x="1426083" y="262318"/>
                    <a:pt x="1417225" y="225742"/>
                  </a:cubicBezTo>
                  <a:cubicBezTo>
                    <a:pt x="1415415" y="218313"/>
                    <a:pt x="1414748" y="211741"/>
                    <a:pt x="1415034" y="204025"/>
                  </a:cubicBezTo>
                  <a:cubicBezTo>
                    <a:pt x="1416272" y="166211"/>
                    <a:pt x="1402842" y="135826"/>
                    <a:pt x="1323308" y="138398"/>
                  </a:cubicBezTo>
                  <a:cubicBezTo>
                    <a:pt x="1322356" y="138398"/>
                    <a:pt x="1321594" y="138398"/>
                    <a:pt x="1320641" y="138398"/>
                  </a:cubicBezTo>
                  <a:lnTo>
                    <a:pt x="1180338" y="138398"/>
                  </a:lnTo>
                  <a:cubicBezTo>
                    <a:pt x="1157669" y="138398"/>
                    <a:pt x="1137095" y="129254"/>
                    <a:pt x="1121950" y="114490"/>
                  </a:cubicBezTo>
                  <a:lnTo>
                    <a:pt x="1121950" y="114490"/>
                  </a:lnTo>
                  <a:cubicBezTo>
                    <a:pt x="1119569" y="112109"/>
                    <a:pt x="1117283" y="109633"/>
                    <a:pt x="1115092" y="106966"/>
                  </a:cubicBezTo>
                  <a:lnTo>
                    <a:pt x="1114616" y="106299"/>
                  </a:lnTo>
                  <a:lnTo>
                    <a:pt x="1114520" y="106204"/>
                  </a:lnTo>
                  <a:lnTo>
                    <a:pt x="1114425" y="106108"/>
                  </a:lnTo>
                  <a:cubicBezTo>
                    <a:pt x="1112806" y="104013"/>
                    <a:pt x="1111282" y="101822"/>
                    <a:pt x="1109853" y="99631"/>
                  </a:cubicBezTo>
                  <a:lnTo>
                    <a:pt x="1109853" y="99631"/>
                  </a:lnTo>
                  <a:cubicBezTo>
                    <a:pt x="1109472" y="99060"/>
                    <a:pt x="1109186" y="98488"/>
                    <a:pt x="1108805" y="97917"/>
                  </a:cubicBezTo>
                  <a:lnTo>
                    <a:pt x="1108805" y="97822"/>
                  </a:lnTo>
                  <a:lnTo>
                    <a:pt x="1108424" y="97155"/>
                  </a:lnTo>
                  <a:lnTo>
                    <a:pt x="1108329" y="96964"/>
                  </a:lnTo>
                  <a:lnTo>
                    <a:pt x="1107853" y="96107"/>
                  </a:lnTo>
                  <a:lnTo>
                    <a:pt x="1107853" y="96107"/>
                  </a:lnTo>
                  <a:lnTo>
                    <a:pt x="1107377" y="95250"/>
                  </a:lnTo>
                  <a:lnTo>
                    <a:pt x="1107377" y="95250"/>
                  </a:lnTo>
                  <a:lnTo>
                    <a:pt x="1106996" y="94488"/>
                  </a:lnTo>
                  <a:lnTo>
                    <a:pt x="1106900" y="94393"/>
                  </a:lnTo>
                  <a:lnTo>
                    <a:pt x="1106424" y="93536"/>
                  </a:lnTo>
                  <a:lnTo>
                    <a:pt x="1106424" y="93440"/>
                  </a:lnTo>
                  <a:lnTo>
                    <a:pt x="1106329" y="93154"/>
                  </a:lnTo>
                  <a:lnTo>
                    <a:pt x="1105948" y="92392"/>
                  </a:lnTo>
                  <a:lnTo>
                    <a:pt x="1105567" y="91630"/>
                  </a:lnTo>
                  <a:lnTo>
                    <a:pt x="1105091" y="90678"/>
                  </a:lnTo>
                  <a:lnTo>
                    <a:pt x="1104995" y="90583"/>
                  </a:lnTo>
                  <a:lnTo>
                    <a:pt x="1104614" y="89821"/>
                  </a:lnTo>
                  <a:lnTo>
                    <a:pt x="1104614" y="89821"/>
                  </a:lnTo>
                  <a:lnTo>
                    <a:pt x="1104233" y="88963"/>
                  </a:lnTo>
                  <a:lnTo>
                    <a:pt x="1104233" y="88963"/>
                  </a:lnTo>
                  <a:lnTo>
                    <a:pt x="1103852" y="88011"/>
                  </a:lnTo>
                  <a:lnTo>
                    <a:pt x="1103662" y="87535"/>
                  </a:lnTo>
                  <a:lnTo>
                    <a:pt x="1103281" y="86582"/>
                  </a:lnTo>
                  <a:lnTo>
                    <a:pt x="1103186" y="86392"/>
                  </a:lnTo>
                  <a:lnTo>
                    <a:pt x="1102614" y="84963"/>
                  </a:lnTo>
                  <a:lnTo>
                    <a:pt x="1102424" y="84582"/>
                  </a:lnTo>
                  <a:cubicBezTo>
                    <a:pt x="1098995" y="75438"/>
                    <a:pt x="1097090" y="65532"/>
                    <a:pt x="1097090" y="55245"/>
                  </a:cubicBezTo>
                  <a:lnTo>
                    <a:pt x="1097090" y="0"/>
                  </a:lnTo>
                  <a:lnTo>
                    <a:pt x="1029367" y="0"/>
                  </a:lnTo>
                  <a:cubicBezTo>
                    <a:pt x="983456" y="0"/>
                    <a:pt x="945928" y="37529"/>
                    <a:pt x="945928" y="83439"/>
                  </a:cubicBezTo>
                  <a:lnTo>
                    <a:pt x="945452" y="114776"/>
                  </a:lnTo>
                  <a:lnTo>
                    <a:pt x="945452" y="114776"/>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85" name="Freeform: Shape 184">
              <a:extLst>
                <a:ext uri="{FF2B5EF4-FFF2-40B4-BE49-F238E27FC236}">
                  <a16:creationId xmlns:a16="http://schemas.microsoft.com/office/drawing/2014/main" id="{7489208B-85B7-4E6D-85E1-FD125010F0CB}"/>
                </a:ext>
              </a:extLst>
            </p:cNvPr>
            <p:cNvSpPr/>
            <p:nvPr/>
          </p:nvSpPr>
          <p:spPr>
            <a:xfrm>
              <a:off x="1972549" y="4846494"/>
              <a:ext cx="135254" cy="128873"/>
            </a:xfrm>
            <a:custGeom>
              <a:avLst/>
              <a:gdLst>
                <a:gd name="connsiteX0" fmla="*/ 57626 w 135254"/>
                <a:gd name="connsiteY0" fmla="*/ 128874 h 128873"/>
                <a:gd name="connsiteX1" fmla="*/ 77629 w 135254"/>
                <a:gd name="connsiteY1" fmla="*/ 128874 h 128873"/>
                <a:gd name="connsiteX2" fmla="*/ 135255 w 135254"/>
                <a:gd name="connsiteY2" fmla="*/ 71247 h 128873"/>
                <a:gd name="connsiteX3" fmla="*/ 135255 w 135254"/>
                <a:gd name="connsiteY3" fmla="*/ 57626 h 128873"/>
                <a:gd name="connsiteX4" fmla="*/ 77629 w 135254"/>
                <a:gd name="connsiteY4" fmla="*/ 0 h 128873"/>
                <a:gd name="connsiteX5" fmla="*/ 57626 w 135254"/>
                <a:gd name="connsiteY5" fmla="*/ 0 h 128873"/>
                <a:gd name="connsiteX6" fmla="*/ 0 w 135254"/>
                <a:gd name="connsiteY6" fmla="*/ 57626 h 128873"/>
                <a:gd name="connsiteX7" fmla="*/ 0 w 135254"/>
                <a:gd name="connsiteY7" fmla="*/ 71247 h 128873"/>
                <a:gd name="connsiteX8" fmla="*/ 57626 w 135254"/>
                <a:gd name="connsiteY8" fmla="*/ 128874 h 12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4" h="128873">
                  <a:moveTo>
                    <a:pt x="57626" y="128874"/>
                  </a:moveTo>
                  <a:lnTo>
                    <a:pt x="77629" y="128874"/>
                  </a:lnTo>
                  <a:cubicBezTo>
                    <a:pt x="109347" y="128874"/>
                    <a:pt x="135255" y="102965"/>
                    <a:pt x="135255" y="71247"/>
                  </a:cubicBezTo>
                  <a:lnTo>
                    <a:pt x="135255" y="57626"/>
                  </a:lnTo>
                  <a:cubicBezTo>
                    <a:pt x="135255" y="25908"/>
                    <a:pt x="109347" y="0"/>
                    <a:pt x="77629" y="0"/>
                  </a:cubicBezTo>
                  <a:lnTo>
                    <a:pt x="57626" y="0"/>
                  </a:lnTo>
                  <a:cubicBezTo>
                    <a:pt x="25908" y="0"/>
                    <a:pt x="0" y="25908"/>
                    <a:pt x="0" y="57626"/>
                  </a:cubicBezTo>
                  <a:lnTo>
                    <a:pt x="0" y="71247"/>
                  </a:lnTo>
                  <a:cubicBezTo>
                    <a:pt x="0" y="102965"/>
                    <a:pt x="25908" y="128874"/>
                    <a:pt x="57626" y="128874"/>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86" name="Freeform: Shape 185">
              <a:extLst>
                <a:ext uri="{FF2B5EF4-FFF2-40B4-BE49-F238E27FC236}">
                  <a16:creationId xmlns:a16="http://schemas.microsoft.com/office/drawing/2014/main" id="{3F8290F0-D778-4AE7-8E10-FFFF4BC974E4}"/>
                </a:ext>
              </a:extLst>
            </p:cNvPr>
            <p:cNvSpPr/>
            <p:nvPr/>
          </p:nvSpPr>
          <p:spPr>
            <a:xfrm>
              <a:off x="2926191" y="4710763"/>
              <a:ext cx="299656" cy="417766"/>
            </a:xfrm>
            <a:custGeom>
              <a:avLst/>
              <a:gdLst>
                <a:gd name="connsiteX0" fmla="*/ 57626 w 299656"/>
                <a:gd name="connsiteY0" fmla="*/ 417767 h 417766"/>
                <a:gd name="connsiteX1" fmla="*/ 77629 w 299656"/>
                <a:gd name="connsiteY1" fmla="*/ 417767 h 417766"/>
                <a:gd name="connsiteX2" fmla="*/ 135255 w 299656"/>
                <a:gd name="connsiteY2" fmla="*/ 360140 h 417766"/>
                <a:gd name="connsiteX3" fmla="*/ 135255 w 299656"/>
                <a:gd name="connsiteY3" fmla="*/ 216217 h 417766"/>
                <a:gd name="connsiteX4" fmla="*/ 216218 w 299656"/>
                <a:gd name="connsiteY4" fmla="*/ 135255 h 417766"/>
                <a:gd name="connsiteX5" fmla="*/ 242030 w 299656"/>
                <a:gd name="connsiteY5" fmla="*/ 135255 h 417766"/>
                <a:gd name="connsiteX6" fmla="*/ 299656 w 299656"/>
                <a:gd name="connsiteY6" fmla="*/ 77629 h 417766"/>
                <a:gd name="connsiteX7" fmla="*/ 299656 w 299656"/>
                <a:gd name="connsiteY7" fmla="*/ 57626 h 417766"/>
                <a:gd name="connsiteX8" fmla="*/ 242030 w 299656"/>
                <a:gd name="connsiteY8" fmla="*/ 0 h 417766"/>
                <a:gd name="connsiteX9" fmla="*/ 77629 w 299656"/>
                <a:gd name="connsiteY9" fmla="*/ 0 h 417766"/>
                <a:gd name="connsiteX10" fmla="*/ 57626 w 299656"/>
                <a:gd name="connsiteY10" fmla="*/ 0 h 417766"/>
                <a:gd name="connsiteX11" fmla="*/ 56197 w 299656"/>
                <a:gd name="connsiteY11" fmla="*/ 0 h 417766"/>
                <a:gd name="connsiteX12" fmla="*/ 56197 w 299656"/>
                <a:gd name="connsiteY12" fmla="*/ 0 h 417766"/>
                <a:gd name="connsiteX13" fmla="*/ 54769 w 299656"/>
                <a:gd name="connsiteY13" fmla="*/ 95 h 417766"/>
                <a:gd name="connsiteX14" fmla="*/ 54769 w 299656"/>
                <a:gd name="connsiteY14" fmla="*/ 95 h 417766"/>
                <a:gd name="connsiteX15" fmla="*/ 53340 w 299656"/>
                <a:gd name="connsiteY15" fmla="*/ 190 h 417766"/>
                <a:gd name="connsiteX16" fmla="*/ 53340 w 299656"/>
                <a:gd name="connsiteY16" fmla="*/ 190 h 417766"/>
                <a:gd name="connsiteX17" fmla="*/ 51911 w 299656"/>
                <a:gd name="connsiteY17" fmla="*/ 286 h 417766"/>
                <a:gd name="connsiteX18" fmla="*/ 51911 w 299656"/>
                <a:gd name="connsiteY18" fmla="*/ 286 h 417766"/>
                <a:gd name="connsiteX19" fmla="*/ 50482 w 299656"/>
                <a:gd name="connsiteY19" fmla="*/ 476 h 417766"/>
                <a:gd name="connsiteX20" fmla="*/ 50482 w 299656"/>
                <a:gd name="connsiteY20" fmla="*/ 476 h 417766"/>
                <a:gd name="connsiteX21" fmla="*/ 49054 w 299656"/>
                <a:gd name="connsiteY21" fmla="*/ 667 h 417766"/>
                <a:gd name="connsiteX22" fmla="*/ 49054 w 299656"/>
                <a:gd name="connsiteY22" fmla="*/ 667 h 417766"/>
                <a:gd name="connsiteX23" fmla="*/ 47625 w 299656"/>
                <a:gd name="connsiteY23" fmla="*/ 857 h 417766"/>
                <a:gd name="connsiteX24" fmla="*/ 47625 w 299656"/>
                <a:gd name="connsiteY24" fmla="*/ 857 h 417766"/>
                <a:gd name="connsiteX25" fmla="*/ 46196 w 299656"/>
                <a:gd name="connsiteY25" fmla="*/ 1143 h 417766"/>
                <a:gd name="connsiteX26" fmla="*/ 46196 w 299656"/>
                <a:gd name="connsiteY26" fmla="*/ 1143 h 417766"/>
                <a:gd name="connsiteX27" fmla="*/ 44768 w 299656"/>
                <a:gd name="connsiteY27" fmla="*/ 1429 h 417766"/>
                <a:gd name="connsiteX28" fmla="*/ 44768 w 299656"/>
                <a:gd name="connsiteY28" fmla="*/ 1429 h 417766"/>
                <a:gd name="connsiteX29" fmla="*/ 43339 w 299656"/>
                <a:gd name="connsiteY29" fmla="*/ 1809 h 417766"/>
                <a:gd name="connsiteX30" fmla="*/ 43339 w 299656"/>
                <a:gd name="connsiteY30" fmla="*/ 1809 h 417766"/>
                <a:gd name="connsiteX31" fmla="*/ 42005 w 299656"/>
                <a:gd name="connsiteY31" fmla="*/ 2191 h 417766"/>
                <a:gd name="connsiteX32" fmla="*/ 42005 w 299656"/>
                <a:gd name="connsiteY32" fmla="*/ 2191 h 417766"/>
                <a:gd name="connsiteX33" fmla="*/ 40672 w 299656"/>
                <a:gd name="connsiteY33" fmla="*/ 2572 h 417766"/>
                <a:gd name="connsiteX34" fmla="*/ 40672 w 299656"/>
                <a:gd name="connsiteY34" fmla="*/ 2572 h 417766"/>
                <a:gd name="connsiteX35" fmla="*/ 39338 w 299656"/>
                <a:gd name="connsiteY35" fmla="*/ 3048 h 417766"/>
                <a:gd name="connsiteX36" fmla="*/ 39338 w 299656"/>
                <a:gd name="connsiteY36" fmla="*/ 3048 h 417766"/>
                <a:gd name="connsiteX37" fmla="*/ 38005 w 299656"/>
                <a:gd name="connsiteY37" fmla="*/ 3524 h 417766"/>
                <a:gd name="connsiteX38" fmla="*/ 38005 w 299656"/>
                <a:gd name="connsiteY38" fmla="*/ 3524 h 417766"/>
                <a:gd name="connsiteX39" fmla="*/ 36671 w 299656"/>
                <a:gd name="connsiteY39" fmla="*/ 4000 h 417766"/>
                <a:gd name="connsiteX40" fmla="*/ 36671 w 299656"/>
                <a:gd name="connsiteY40" fmla="*/ 4000 h 417766"/>
                <a:gd name="connsiteX41" fmla="*/ 35338 w 299656"/>
                <a:gd name="connsiteY41" fmla="*/ 4572 h 417766"/>
                <a:gd name="connsiteX42" fmla="*/ 35338 w 299656"/>
                <a:gd name="connsiteY42" fmla="*/ 4572 h 417766"/>
                <a:gd name="connsiteX43" fmla="*/ 34099 w 299656"/>
                <a:gd name="connsiteY43" fmla="*/ 5143 h 417766"/>
                <a:gd name="connsiteX44" fmla="*/ 34099 w 299656"/>
                <a:gd name="connsiteY44" fmla="*/ 5143 h 417766"/>
                <a:gd name="connsiteX45" fmla="*/ 32861 w 299656"/>
                <a:gd name="connsiteY45" fmla="*/ 5715 h 417766"/>
                <a:gd name="connsiteX46" fmla="*/ 32861 w 299656"/>
                <a:gd name="connsiteY46" fmla="*/ 5715 h 417766"/>
                <a:gd name="connsiteX47" fmla="*/ 31623 w 299656"/>
                <a:gd name="connsiteY47" fmla="*/ 6382 h 417766"/>
                <a:gd name="connsiteX48" fmla="*/ 31623 w 299656"/>
                <a:gd name="connsiteY48" fmla="*/ 6382 h 417766"/>
                <a:gd name="connsiteX49" fmla="*/ 30385 w 299656"/>
                <a:gd name="connsiteY49" fmla="*/ 7048 h 417766"/>
                <a:gd name="connsiteX50" fmla="*/ 30385 w 299656"/>
                <a:gd name="connsiteY50" fmla="*/ 7048 h 417766"/>
                <a:gd name="connsiteX51" fmla="*/ 29146 w 299656"/>
                <a:gd name="connsiteY51" fmla="*/ 7715 h 417766"/>
                <a:gd name="connsiteX52" fmla="*/ 29146 w 299656"/>
                <a:gd name="connsiteY52" fmla="*/ 7715 h 417766"/>
                <a:gd name="connsiteX53" fmla="*/ 27908 w 299656"/>
                <a:gd name="connsiteY53" fmla="*/ 8382 h 417766"/>
                <a:gd name="connsiteX54" fmla="*/ 27908 w 299656"/>
                <a:gd name="connsiteY54" fmla="*/ 8382 h 417766"/>
                <a:gd name="connsiteX55" fmla="*/ 26765 w 299656"/>
                <a:gd name="connsiteY55" fmla="*/ 9144 h 417766"/>
                <a:gd name="connsiteX56" fmla="*/ 26765 w 299656"/>
                <a:gd name="connsiteY56" fmla="*/ 9144 h 417766"/>
                <a:gd name="connsiteX57" fmla="*/ 25622 w 299656"/>
                <a:gd name="connsiteY57" fmla="*/ 9906 h 417766"/>
                <a:gd name="connsiteX58" fmla="*/ 25622 w 299656"/>
                <a:gd name="connsiteY58" fmla="*/ 9906 h 417766"/>
                <a:gd name="connsiteX59" fmla="*/ 24479 w 299656"/>
                <a:gd name="connsiteY59" fmla="*/ 10668 h 417766"/>
                <a:gd name="connsiteX60" fmla="*/ 24479 w 299656"/>
                <a:gd name="connsiteY60" fmla="*/ 10668 h 417766"/>
                <a:gd name="connsiteX61" fmla="*/ 23336 w 299656"/>
                <a:gd name="connsiteY61" fmla="*/ 11525 h 417766"/>
                <a:gd name="connsiteX62" fmla="*/ 23336 w 299656"/>
                <a:gd name="connsiteY62" fmla="*/ 11525 h 417766"/>
                <a:gd name="connsiteX63" fmla="*/ 22193 w 299656"/>
                <a:gd name="connsiteY63" fmla="*/ 12382 h 417766"/>
                <a:gd name="connsiteX64" fmla="*/ 22193 w 299656"/>
                <a:gd name="connsiteY64" fmla="*/ 12382 h 417766"/>
                <a:gd name="connsiteX65" fmla="*/ 21146 w 299656"/>
                <a:gd name="connsiteY65" fmla="*/ 13240 h 417766"/>
                <a:gd name="connsiteX66" fmla="*/ 21146 w 299656"/>
                <a:gd name="connsiteY66" fmla="*/ 13240 h 417766"/>
                <a:gd name="connsiteX67" fmla="*/ 20098 w 299656"/>
                <a:gd name="connsiteY67" fmla="*/ 14097 h 417766"/>
                <a:gd name="connsiteX68" fmla="*/ 20098 w 299656"/>
                <a:gd name="connsiteY68" fmla="*/ 14097 h 417766"/>
                <a:gd name="connsiteX69" fmla="*/ 19050 w 299656"/>
                <a:gd name="connsiteY69" fmla="*/ 15049 h 417766"/>
                <a:gd name="connsiteX70" fmla="*/ 19050 w 299656"/>
                <a:gd name="connsiteY70" fmla="*/ 15049 h 417766"/>
                <a:gd name="connsiteX71" fmla="*/ 18002 w 299656"/>
                <a:gd name="connsiteY71" fmla="*/ 16002 h 417766"/>
                <a:gd name="connsiteX72" fmla="*/ 18002 w 299656"/>
                <a:gd name="connsiteY72" fmla="*/ 16002 h 417766"/>
                <a:gd name="connsiteX73" fmla="*/ 17050 w 299656"/>
                <a:gd name="connsiteY73" fmla="*/ 16954 h 417766"/>
                <a:gd name="connsiteX74" fmla="*/ 17050 w 299656"/>
                <a:gd name="connsiteY74" fmla="*/ 16954 h 417766"/>
                <a:gd name="connsiteX75" fmla="*/ 16097 w 299656"/>
                <a:gd name="connsiteY75" fmla="*/ 17907 h 417766"/>
                <a:gd name="connsiteX76" fmla="*/ 16097 w 299656"/>
                <a:gd name="connsiteY76" fmla="*/ 17907 h 417766"/>
                <a:gd name="connsiteX77" fmla="*/ 15145 w 299656"/>
                <a:gd name="connsiteY77" fmla="*/ 18955 h 417766"/>
                <a:gd name="connsiteX78" fmla="*/ 15145 w 299656"/>
                <a:gd name="connsiteY78" fmla="*/ 18955 h 417766"/>
                <a:gd name="connsiteX79" fmla="*/ 14192 w 299656"/>
                <a:gd name="connsiteY79" fmla="*/ 20002 h 417766"/>
                <a:gd name="connsiteX80" fmla="*/ 14192 w 299656"/>
                <a:gd name="connsiteY80" fmla="*/ 20002 h 417766"/>
                <a:gd name="connsiteX81" fmla="*/ 13335 w 299656"/>
                <a:gd name="connsiteY81" fmla="*/ 21050 h 417766"/>
                <a:gd name="connsiteX82" fmla="*/ 13335 w 299656"/>
                <a:gd name="connsiteY82" fmla="*/ 21050 h 417766"/>
                <a:gd name="connsiteX83" fmla="*/ 12478 w 299656"/>
                <a:gd name="connsiteY83" fmla="*/ 22098 h 417766"/>
                <a:gd name="connsiteX84" fmla="*/ 12478 w 299656"/>
                <a:gd name="connsiteY84" fmla="*/ 22098 h 417766"/>
                <a:gd name="connsiteX85" fmla="*/ 11621 w 299656"/>
                <a:gd name="connsiteY85" fmla="*/ 23146 h 417766"/>
                <a:gd name="connsiteX86" fmla="*/ 11621 w 299656"/>
                <a:gd name="connsiteY86" fmla="*/ 23146 h 417766"/>
                <a:gd name="connsiteX87" fmla="*/ 10763 w 299656"/>
                <a:gd name="connsiteY87" fmla="*/ 24289 h 417766"/>
                <a:gd name="connsiteX88" fmla="*/ 10763 w 299656"/>
                <a:gd name="connsiteY88" fmla="*/ 24289 h 417766"/>
                <a:gd name="connsiteX89" fmla="*/ 10001 w 299656"/>
                <a:gd name="connsiteY89" fmla="*/ 25432 h 417766"/>
                <a:gd name="connsiteX90" fmla="*/ 10001 w 299656"/>
                <a:gd name="connsiteY90" fmla="*/ 25432 h 417766"/>
                <a:gd name="connsiteX91" fmla="*/ 9239 w 299656"/>
                <a:gd name="connsiteY91" fmla="*/ 26575 h 417766"/>
                <a:gd name="connsiteX92" fmla="*/ 9239 w 299656"/>
                <a:gd name="connsiteY92" fmla="*/ 26575 h 417766"/>
                <a:gd name="connsiteX93" fmla="*/ 8477 w 299656"/>
                <a:gd name="connsiteY93" fmla="*/ 27717 h 417766"/>
                <a:gd name="connsiteX94" fmla="*/ 8477 w 299656"/>
                <a:gd name="connsiteY94" fmla="*/ 27717 h 417766"/>
                <a:gd name="connsiteX95" fmla="*/ 7811 w 299656"/>
                <a:gd name="connsiteY95" fmla="*/ 28956 h 417766"/>
                <a:gd name="connsiteX96" fmla="*/ 7811 w 299656"/>
                <a:gd name="connsiteY96" fmla="*/ 28956 h 417766"/>
                <a:gd name="connsiteX97" fmla="*/ 7144 w 299656"/>
                <a:gd name="connsiteY97" fmla="*/ 30194 h 417766"/>
                <a:gd name="connsiteX98" fmla="*/ 7144 w 299656"/>
                <a:gd name="connsiteY98" fmla="*/ 30194 h 417766"/>
                <a:gd name="connsiteX99" fmla="*/ 6477 w 299656"/>
                <a:gd name="connsiteY99" fmla="*/ 31432 h 417766"/>
                <a:gd name="connsiteX100" fmla="*/ 6477 w 299656"/>
                <a:gd name="connsiteY100" fmla="*/ 31432 h 417766"/>
                <a:gd name="connsiteX101" fmla="*/ 5810 w 299656"/>
                <a:gd name="connsiteY101" fmla="*/ 32671 h 417766"/>
                <a:gd name="connsiteX102" fmla="*/ 5810 w 299656"/>
                <a:gd name="connsiteY102" fmla="*/ 32671 h 417766"/>
                <a:gd name="connsiteX103" fmla="*/ 5239 w 299656"/>
                <a:gd name="connsiteY103" fmla="*/ 33909 h 417766"/>
                <a:gd name="connsiteX104" fmla="*/ 5239 w 299656"/>
                <a:gd name="connsiteY104" fmla="*/ 33909 h 417766"/>
                <a:gd name="connsiteX105" fmla="*/ 4667 w 299656"/>
                <a:gd name="connsiteY105" fmla="*/ 35147 h 417766"/>
                <a:gd name="connsiteX106" fmla="*/ 4667 w 299656"/>
                <a:gd name="connsiteY106" fmla="*/ 35147 h 417766"/>
                <a:gd name="connsiteX107" fmla="*/ 4096 w 299656"/>
                <a:gd name="connsiteY107" fmla="*/ 36481 h 417766"/>
                <a:gd name="connsiteX108" fmla="*/ 4096 w 299656"/>
                <a:gd name="connsiteY108" fmla="*/ 36481 h 417766"/>
                <a:gd name="connsiteX109" fmla="*/ 3620 w 299656"/>
                <a:gd name="connsiteY109" fmla="*/ 37814 h 417766"/>
                <a:gd name="connsiteX110" fmla="*/ 3620 w 299656"/>
                <a:gd name="connsiteY110" fmla="*/ 37814 h 417766"/>
                <a:gd name="connsiteX111" fmla="*/ 3143 w 299656"/>
                <a:gd name="connsiteY111" fmla="*/ 39148 h 417766"/>
                <a:gd name="connsiteX112" fmla="*/ 3143 w 299656"/>
                <a:gd name="connsiteY112" fmla="*/ 39148 h 417766"/>
                <a:gd name="connsiteX113" fmla="*/ 2667 w 299656"/>
                <a:gd name="connsiteY113" fmla="*/ 40481 h 417766"/>
                <a:gd name="connsiteX114" fmla="*/ 2667 w 299656"/>
                <a:gd name="connsiteY114" fmla="*/ 40481 h 417766"/>
                <a:gd name="connsiteX115" fmla="*/ 2286 w 299656"/>
                <a:gd name="connsiteY115" fmla="*/ 41815 h 417766"/>
                <a:gd name="connsiteX116" fmla="*/ 2286 w 299656"/>
                <a:gd name="connsiteY116" fmla="*/ 41815 h 417766"/>
                <a:gd name="connsiteX117" fmla="*/ 1905 w 299656"/>
                <a:gd name="connsiteY117" fmla="*/ 43148 h 417766"/>
                <a:gd name="connsiteX118" fmla="*/ 1905 w 299656"/>
                <a:gd name="connsiteY118" fmla="*/ 43148 h 417766"/>
                <a:gd name="connsiteX119" fmla="*/ 1524 w 299656"/>
                <a:gd name="connsiteY119" fmla="*/ 44482 h 417766"/>
                <a:gd name="connsiteX120" fmla="*/ 1524 w 299656"/>
                <a:gd name="connsiteY120" fmla="*/ 44482 h 417766"/>
                <a:gd name="connsiteX121" fmla="*/ 1238 w 299656"/>
                <a:gd name="connsiteY121" fmla="*/ 45910 h 417766"/>
                <a:gd name="connsiteX122" fmla="*/ 1238 w 299656"/>
                <a:gd name="connsiteY122" fmla="*/ 45910 h 417766"/>
                <a:gd name="connsiteX123" fmla="*/ 953 w 299656"/>
                <a:gd name="connsiteY123" fmla="*/ 47339 h 417766"/>
                <a:gd name="connsiteX124" fmla="*/ 953 w 299656"/>
                <a:gd name="connsiteY124" fmla="*/ 47339 h 417766"/>
                <a:gd name="connsiteX125" fmla="*/ 667 w 299656"/>
                <a:gd name="connsiteY125" fmla="*/ 48768 h 417766"/>
                <a:gd name="connsiteX126" fmla="*/ 667 w 299656"/>
                <a:gd name="connsiteY126" fmla="*/ 48768 h 417766"/>
                <a:gd name="connsiteX127" fmla="*/ 476 w 299656"/>
                <a:gd name="connsiteY127" fmla="*/ 50197 h 417766"/>
                <a:gd name="connsiteX128" fmla="*/ 476 w 299656"/>
                <a:gd name="connsiteY128" fmla="*/ 50197 h 417766"/>
                <a:gd name="connsiteX129" fmla="*/ 286 w 299656"/>
                <a:gd name="connsiteY129" fmla="*/ 51625 h 417766"/>
                <a:gd name="connsiteX130" fmla="*/ 286 w 299656"/>
                <a:gd name="connsiteY130" fmla="*/ 51625 h 417766"/>
                <a:gd name="connsiteX131" fmla="*/ 190 w 299656"/>
                <a:gd name="connsiteY131" fmla="*/ 53054 h 417766"/>
                <a:gd name="connsiteX132" fmla="*/ 190 w 299656"/>
                <a:gd name="connsiteY132" fmla="*/ 53054 h 417766"/>
                <a:gd name="connsiteX133" fmla="*/ 95 w 299656"/>
                <a:gd name="connsiteY133" fmla="*/ 54483 h 417766"/>
                <a:gd name="connsiteX134" fmla="*/ 95 w 299656"/>
                <a:gd name="connsiteY134" fmla="*/ 54483 h 417766"/>
                <a:gd name="connsiteX135" fmla="*/ 95 w 299656"/>
                <a:gd name="connsiteY135" fmla="*/ 54959 h 417766"/>
                <a:gd name="connsiteX136" fmla="*/ 0 w 299656"/>
                <a:gd name="connsiteY136" fmla="*/ 56864 h 417766"/>
                <a:gd name="connsiteX137" fmla="*/ 0 w 299656"/>
                <a:gd name="connsiteY137" fmla="*/ 57340 h 417766"/>
                <a:gd name="connsiteX138" fmla="*/ 0 w 299656"/>
                <a:gd name="connsiteY138" fmla="*/ 57340 h 417766"/>
                <a:gd name="connsiteX139" fmla="*/ 0 w 299656"/>
                <a:gd name="connsiteY139" fmla="*/ 77343 h 417766"/>
                <a:gd name="connsiteX140" fmla="*/ 0 w 299656"/>
                <a:gd name="connsiteY140" fmla="*/ 359855 h 417766"/>
                <a:gd name="connsiteX141" fmla="*/ 57626 w 299656"/>
                <a:gd name="connsiteY141" fmla="*/ 417767 h 417766"/>
                <a:gd name="connsiteX142" fmla="*/ 57626 w 299656"/>
                <a:gd name="connsiteY142" fmla="*/ 417767 h 417766"/>
                <a:gd name="connsiteX143" fmla="*/ 57626 w 299656"/>
                <a:gd name="connsiteY143" fmla="*/ 0 h 417766"/>
                <a:gd name="connsiteX144" fmla="*/ 57626 w 299656"/>
                <a:gd name="connsiteY144" fmla="*/ 0 h 417766"/>
                <a:gd name="connsiteX145" fmla="*/ 57626 w 299656"/>
                <a:gd name="connsiteY145" fmla="*/ 0 h 41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299656" h="417766">
                  <a:moveTo>
                    <a:pt x="57626" y="417767"/>
                  </a:moveTo>
                  <a:lnTo>
                    <a:pt x="77629" y="417767"/>
                  </a:lnTo>
                  <a:cubicBezTo>
                    <a:pt x="109347" y="417767"/>
                    <a:pt x="135255" y="391858"/>
                    <a:pt x="135255" y="360140"/>
                  </a:cubicBezTo>
                  <a:lnTo>
                    <a:pt x="135255" y="216217"/>
                  </a:lnTo>
                  <a:cubicBezTo>
                    <a:pt x="135255" y="171640"/>
                    <a:pt x="171640" y="135255"/>
                    <a:pt x="216218" y="135255"/>
                  </a:cubicBezTo>
                  <a:lnTo>
                    <a:pt x="242030" y="135255"/>
                  </a:lnTo>
                  <a:cubicBezTo>
                    <a:pt x="273748" y="135255"/>
                    <a:pt x="299656" y="109347"/>
                    <a:pt x="299656" y="77629"/>
                  </a:cubicBezTo>
                  <a:lnTo>
                    <a:pt x="299656" y="57626"/>
                  </a:lnTo>
                  <a:cubicBezTo>
                    <a:pt x="299656" y="25908"/>
                    <a:pt x="273748" y="0"/>
                    <a:pt x="242030" y="0"/>
                  </a:cubicBezTo>
                  <a:lnTo>
                    <a:pt x="77629" y="0"/>
                  </a:lnTo>
                  <a:lnTo>
                    <a:pt x="57626" y="0"/>
                  </a:lnTo>
                  <a:lnTo>
                    <a:pt x="56197" y="0"/>
                  </a:lnTo>
                  <a:lnTo>
                    <a:pt x="56197" y="0"/>
                  </a:lnTo>
                  <a:lnTo>
                    <a:pt x="54769" y="95"/>
                  </a:lnTo>
                  <a:lnTo>
                    <a:pt x="54769" y="95"/>
                  </a:lnTo>
                  <a:lnTo>
                    <a:pt x="53340" y="190"/>
                  </a:lnTo>
                  <a:lnTo>
                    <a:pt x="53340" y="190"/>
                  </a:lnTo>
                  <a:lnTo>
                    <a:pt x="51911" y="286"/>
                  </a:lnTo>
                  <a:lnTo>
                    <a:pt x="51911" y="286"/>
                  </a:lnTo>
                  <a:lnTo>
                    <a:pt x="50482" y="476"/>
                  </a:lnTo>
                  <a:lnTo>
                    <a:pt x="50482" y="476"/>
                  </a:lnTo>
                  <a:lnTo>
                    <a:pt x="49054" y="667"/>
                  </a:lnTo>
                  <a:lnTo>
                    <a:pt x="49054" y="667"/>
                  </a:lnTo>
                  <a:lnTo>
                    <a:pt x="47625" y="857"/>
                  </a:lnTo>
                  <a:lnTo>
                    <a:pt x="47625" y="857"/>
                  </a:lnTo>
                  <a:cubicBezTo>
                    <a:pt x="47149" y="952"/>
                    <a:pt x="46672" y="1048"/>
                    <a:pt x="46196" y="1143"/>
                  </a:cubicBezTo>
                  <a:lnTo>
                    <a:pt x="46196" y="1143"/>
                  </a:lnTo>
                  <a:lnTo>
                    <a:pt x="44768" y="1429"/>
                  </a:lnTo>
                  <a:lnTo>
                    <a:pt x="44768" y="1429"/>
                  </a:lnTo>
                  <a:lnTo>
                    <a:pt x="43339" y="1809"/>
                  </a:lnTo>
                  <a:lnTo>
                    <a:pt x="43339" y="1809"/>
                  </a:lnTo>
                  <a:lnTo>
                    <a:pt x="42005" y="2191"/>
                  </a:lnTo>
                  <a:lnTo>
                    <a:pt x="42005" y="2191"/>
                  </a:lnTo>
                  <a:lnTo>
                    <a:pt x="40672" y="2572"/>
                  </a:lnTo>
                  <a:lnTo>
                    <a:pt x="40672" y="2572"/>
                  </a:lnTo>
                  <a:lnTo>
                    <a:pt x="39338" y="3048"/>
                  </a:lnTo>
                  <a:lnTo>
                    <a:pt x="39338" y="3048"/>
                  </a:lnTo>
                  <a:lnTo>
                    <a:pt x="38005" y="3524"/>
                  </a:lnTo>
                  <a:lnTo>
                    <a:pt x="38005" y="3524"/>
                  </a:lnTo>
                  <a:lnTo>
                    <a:pt x="36671" y="4000"/>
                  </a:lnTo>
                  <a:lnTo>
                    <a:pt x="36671" y="4000"/>
                  </a:lnTo>
                  <a:lnTo>
                    <a:pt x="35338" y="4572"/>
                  </a:lnTo>
                  <a:lnTo>
                    <a:pt x="35338" y="4572"/>
                  </a:lnTo>
                  <a:lnTo>
                    <a:pt x="34099" y="5143"/>
                  </a:lnTo>
                  <a:lnTo>
                    <a:pt x="34099" y="5143"/>
                  </a:lnTo>
                  <a:lnTo>
                    <a:pt x="32861" y="5715"/>
                  </a:lnTo>
                  <a:lnTo>
                    <a:pt x="32861" y="5715"/>
                  </a:lnTo>
                  <a:lnTo>
                    <a:pt x="31623" y="6382"/>
                  </a:lnTo>
                  <a:lnTo>
                    <a:pt x="31623" y="6382"/>
                  </a:lnTo>
                  <a:cubicBezTo>
                    <a:pt x="31242" y="6572"/>
                    <a:pt x="30766" y="6763"/>
                    <a:pt x="30385" y="7048"/>
                  </a:cubicBezTo>
                  <a:lnTo>
                    <a:pt x="30385" y="7048"/>
                  </a:lnTo>
                  <a:lnTo>
                    <a:pt x="29146" y="7715"/>
                  </a:lnTo>
                  <a:lnTo>
                    <a:pt x="29146" y="7715"/>
                  </a:lnTo>
                  <a:cubicBezTo>
                    <a:pt x="28765" y="7906"/>
                    <a:pt x="28385" y="8191"/>
                    <a:pt x="27908" y="8382"/>
                  </a:cubicBezTo>
                  <a:lnTo>
                    <a:pt x="27908" y="8382"/>
                  </a:lnTo>
                  <a:lnTo>
                    <a:pt x="26765" y="9144"/>
                  </a:lnTo>
                  <a:lnTo>
                    <a:pt x="26765" y="9144"/>
                  </a:lnTo>
                  <a:lnTo>
                    <a:pt x="25622" y="9906"/>
                  </a:lnTo>
                  <a:lnTo>
                    <a:pt x="25622" y="9906"/>
                  </a:lnTo>
                  <a:lnTo>
                    <a:pt x="24479" y="10668"/>
                  </a:lnTo>
                  <a:lnTo>
                    <a:pt x="24479" y="10668"/>
                  </a:lnTo>
                  <a:lnTo>
                    <a:pt x="23336" y="11525"/>
                  </a:lnTo>
                  <a:lnTo>
                    <a:pt x="23336" y="11525"/>
                  </a:lnTo>
                  <a:lnTo>
                    <a:pt x="22193" y="12382"/>
                  </a:lnTo>
                  <a:lnTo>
                    <a:pt x="22193" y="12382"/>
                  </a:lnTo>
                  <a:cubicBezTo>
                    <a:pt x="21812" y="12668"/>
                    <a:pt x="21431" y="12954"/>
                    <a:pt x="21146" y="13240"/>
                  </a:cubicBezTo>
                  <a:lnTo>
                    <a:pt x="21146" y="13240"/>
                  </a:lnTo>
                  <a:lnTo>
                    <a:pt x="20098" y="14097"/>
                  </a:lnTo>
                  <a:lnTo>
                    <a:pt x="20098" y="14097"/>
                  </a:lnTo>
                  <a:lnTo>
                    <a:pt x="19050" y="15049"/>
                  </a:lnTo>
                  <a:lnTo>
                    <a:pt x="19050" y="15049"/>
                  </a:lnTo>
                  <a:lnTo>
                    <a:pt x="18002" y="16002"/>
                  </a:lnTo>
                  <a:lnTo>
                    <a:pt x="18002" y="16002"/>
                  </a:lnTo>
                  <a:lnTo>
                    <a:pt x="17050" y="16954"/>
                  </a:lnTo>
                  <a:lnTo>
                    <a:pt x="17050" y="16954"/>
                  </a:lnTo>
                  <a:lnTo>
                    <a:pt x="16097" y="17907"/>
                  </a:lnTo>
                  <a:lnTo>
                    <a:pt x="16097" y="17907"/>
                  </a:lnTo>
                  <a:lnTo>
                    <a:pt x="15145" y="18955"/>
                  </a:lnTo>
                  <a:lnTo>
                    <a:pt x="15145" y="18955"/>
                  </a:lnTo>
                  <a:lnTo>
                    <a:pt x="14192" y="20002"/>
                  </a:lnTo>
                  <a:lnTo>
                    <a:pt x="14192" y="20002"/>
                  </a:lnTo>
                  <a:lnTo>
                    <a:pt x="13335" y="21050"/>
                  </a:lnTo>
                  <a:lnTo>
                    <a:pt x="13335" y="21050"/>
                  </a:lnTo>
                  <a:cubicBezTo>
                    <a:pt x="13049" y="21431"/>
                    <a:pt x="12763" y="21812"/>
                    <a:pt x="12478" y="22098"/>
                  </a:cubicBezTo>
                  <a:lnTo>
                    <a:pt x="12478" y="22098"/>
                  </a:lnTo>
                  <a:cubicBezTo>
                    <a:pt x="12192" y="22479"/>
                    <a:pt x="11906" y="22860"/>
                    <a:pt x="11621" y="23146"/>
                  </a:cubicBezTo>
                  <a:lnTo>
                    <a:pt x="11621" y="23146"/>
                  </a:lnTo>
                  <a:lnTo>
                    <a:pt x="10763" y="24289"/>
                  </a:lnTo>
                  <a:lnTo>
                    <a:pt x="10763" y="24289"/>
                  </a:lnTo>
                  <a:lnTo>
                    <a:pt x="10001" y="25432"/>
                  </a:lnTo>
                  <a:lnTo>
                    <a:pt x="10001" y="25432"/>
                  </a:lnTo>
                  <a:lnTo>
                    <a:pt x="9239" y="26575"/>
                  </a:lnTo>
                  <a:lnTo>
                    <a:pt x="9239" y="26575"/>
                  </a:lnTo>
                  <a:lnTo>
                    <a:pt x="8477" y="27717"/>
                  </a:lnTo>
                  <a:lnTo>
                    <a:pt x="8477" y="27717"/>
                  </a:lnTo>
                  <a:lnTo>
                    <a:pt x="7811" y="28956"/>
                  </a:lnTo>
                  <a:lnTo>
                    <a:pt x="7811" y="28956"/>
                  </a:lnTo>
                  <a:lnTo>
                    <a:pt x="7144" y="30194"/>
                  </a:lnTo>
                  <a:lnTo>
                    <a:pt x="7144" y="30194"/>
                  </a:lnTo>
                  <a:lnTo>
                    <a:pt x="6477" y="31432"/>
                  </a:lnTo>
                  <a:lnTo>
                    <a:pt x="6477" y="31432"/>
                  </a:lnTo>
                  <a:lnTo>
                    <a:pt x="5810" y="32671"/>
                  </a:lnTo>
                  <a:lnTo>
                    <a:pt x="5810" y="32671"/>
                  </a:lnTo>
                  <a:lnTo>
                    <a:pt x="5239" y="33909"/>
                  </a:lnTo>
                  <a:lnTo>
                    <a:pt x="5239" y="33909"/>
                  </a:lnTo>
                  <a:cubicBezTo>
                    <a:pt x="5048" y="34290"/>
                    <a:pt x="4858" y="34766"/>
                    <a:pt x="4667" y="35147"/>
                  </a:cubicBezTo>
                  <a:lnTo>
                    <a:pt x="4667" y="35147"/>
                  </a:lnTo>
                  <a:lnTo>
                    <a:pt x="4096" y="36481"/>
                  </a:lnTo>
                  <a:lnTo>
                    <a:pt x="4096" y="36481"/>
                  </a:lnTo>
                  <a:lnTo>
                    <a:pt x="3620" y="37814"/>
                  </a:lnTo>
                  <a:lnTo>
                    <a:pt x="3620" y="37814"/>
                  </a:lnTo>
                  <a:lnTo>
                    <a:pt x="3143" y="39148"/>
                  </a:lnTo>
                  <a:lnTo>
                    <a:pt x="3143" y="39148"/>
                  </a:lnTo>
                  <a:lnTo>
                    <a:pt x="2667" y="40481"/>
                  </a:lnTo>
                  <a:lnTo>
                    <a:pt x="2667" y="40481"/>
                  </a:lnTo>
                  <a:lnTo>
                    <a:pt x="2286" y="41815"/>
                  </a:lnTo>
                  <a:lnTo>
                    <a:pt x="2286" y="41815"/>
                  </a:lnTo>
                  <a:lnTo>
                    <a:pt x="1905" y="43148"/>
                  </a:lnTo>
                  <a:lnTo>
                    <a:pt x="1905" y="43148"/>
                  </a:lnTo>
                  <a:lnTo>
                    <a:pt x="1524" y="44482"/>
                  </a:lnTo>
                  <a:lnTo>
                    <a:pt x="1524" y="44482"/>
                  </a:lnTo>
                  <a:lnTo>
                    <a:pt x="1238" y="45910"/>
                  </a:lnTo>
                  <a:lnTo>
                    <a:pt x="1238" y="45910"/>
                  </a:lnTo>
                  <a:cubicBezTo>
                    <a:pt x="1143" y="46387"/>
                    <a:pt x="1048" y="46863"/>
                    <a:pt x="953" y="47339"/>
                  </a:cubicBezTo>
                  <a:lnTo>
                    <a:pt x="953" y="47339"/>
                  </a:lnTo>
                  <a:lnTo>
                    <a:pt x="667" y="48768"/>
                  </a:lnTo>
                  <a:lnTo>
                    <a:pt x="667" y="48768"/>
                  </a:lnTo>
                  <a:lnTo>
                    <a:pt x="476" y="50197"/>
                  </a:lnTo>
                  <a:lnTo>
                    <a:pt x="476" y="50197"/>
                  </a:lnTo>
                  <a:lnTo>
                    <a:pt x="286" y="51625"/>
                  </a:lnTo>
                  <a:lnTo>
                    <a:pt x="286" y="51625"/>
                  </a:lnTo>
                  <a:lnTo>
                    <a:pt x="190" y="53054"/>
                  </a:lnTo>
                  <a:lnTo>
                    <a:pt x="190" y="53054"/>
                  </a:lnTo>
                  <a:lnTo>
                    <a:pt x="95" y="54483"/>
                  </a:lnTo>
                  <a:lnTo>
                    <a:pt x="95" y="54483"/>
                  </a:lnTo>
                  <a:lnTo>
                    <a:pt x="95" y="54959"/>
                  </a:lnTo>
                  <a:cubicBezTo>
                    <a:pt x="95" y="55626"/>
                    <a:pt x="95" y="56197"/>
                    <a:pt x="0" y="56864"/>
                  </a:cubicBezTo>
                  <a:lnTo>
                    <a:pt x="0" y="57340"/>
                  </a:lnTo>
                  <a:lnTo>
                    <a:pt x="0" y="57340"/>
                  </a:lnTo>
                  <a:lnTo>
                    <a:pt x="0" y="77343"/>
                  </a:lnTo>
                  <a:lnTo>
                    <a:pt x="0" y="359855"/>
                  </a:lnTo>
                  <a:cubicBezTo>
                    <a:pt x="0" y="391858"/>
                    <a:pt x="25908" y="417767"/>
                    <a:pt x="57626" y="417767"/>
                  </a:cubicBezTo>
                  <a:lnTo>
                    <a:pt x="57626" y="417767"/>
                  </a:lnTo>
                  <a:close/>
                  <a:moveTo>
                    <a:pt x="57626" y="0"/>
                  </a:moveTo>
                  <a:lnTo>
                    <a:pt x="57626" y="0"/>
                  </a:lnTo>
                  <a:lnTo>
                    <a:pt x="57626"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87" name="Freeform: Shape 186">
              <a:extLst>
                <a:ext uri="{FF2B5EF4-FFF2-40B4-BE49-F238E27FC236}">
                  <a16:creationId xmlns:a16="http://schemas.microsoft.com/office/drawing/2014/main" id="{37F892D6-1BA7-43F9-A999-76BCDBE7D53A}"/>
                </a:ext>
              </a:extLst>
            </p:cNvPr>
            <p:cNvSpPr/>
            <p:nvPr/>
          </p:nvSpPr>
          <p:spPr>
            <a:xfrm>
              <a:off x="75454" y="4553410"/>
              <a:ext cx="628078" cy="867822"/>
            </a:xfrm>
            <a:custGeom>
              <a:avLst/>
              <a:gdLst>
                <a:gd name="connsiteX0" fmla="*/ 550069 w 628078"/>
                <a:gd name="connsiteY0" fmla="*/ 300609 h 867822"/>
                <a:gd name="connsiteX1" fmla="*/ 570452 w 628078"/>
                <a:gd name="connsiteY1" fmla="*/ 300609 h 867822"/>
                <a:gd name="connsiteX2" fmla="*/ 628079 w 628078"/>
                <a:gd name="connsiteY2" fmla="*/ 242983 h 867822"/>
                <a:gd name="connsiteX3" fmla="*/ 628079 w 628078"/>
                <a:gd name="connsiteY3" fmla="*/ 57626 h 867822"/>
                <a:gd name="connsiteX4" fmla="*/ 570452 w 628078"/>
                <a:gd name="connsiteY4" fmla="*/ 0 h 867822"/>
                <a:gd name="connsiteX5" fmla="*/ 216599 w 628078"/>
                <a:gd name="connsiteY5" fmla="*/ 0 h 867822"/>
                <a:gd name="connsiteX6" fmla="*/ 158972 w 628078"/>
                <a:gd name="connsiteY6" fmla="*/ 857 h 867822"/>
                <a:gd name="connsiteX7" fmla="*/ 158972 w 628078"/>
                <a:gd name="connsiteY7" fmla="*/ 212884 h 867822"/>
                <a:gd name="connsiteX8" fmla="*/ 78010 w 628078"/>
                <a:gd name="connsiteY8" fmla="*/ 293846 h 867822"/>
                <a:gd name="connsiteX9" fmla="*/ 57626 w 628078"/>
                <a:gd name="connsiteY9" fmla="*/ 293846 h 867822"/>
                <a:gd name="connsiteX10" fmla="*/ 0 w 628078"/>
                <a:gd name="connsiteY10" fmla="*/ 352901 h 867822"/>
                <a:gd name="connsiteX11" fmla="*/ 0 w 628078"/>
                <a:gd name="connsiteY11" fmla="*/ 464153 h 867822"/>
                <a:gd name="connsiteX12" fmla="*/ 0 w 628078"/>
                <a:gd name="connsiteY12" fmla="*/ 520351 h 867822"/>
                <a:gd name="connsiteX13" fmla="*/ 0 w 628078"/>
                <a:gd name="connsiteY13" fmla="*/ 810197 h 867822"/>
                <a:gd name="connsiteX14" fmla="*/ 57626 w 628078"/>
                <a:gd name="connsiteY14" fmla="*/ 867823 h 867822"/>
                <a:gd name="connsiteX15" fmla="*/ 252413 w 628078"/>
                <a:gd name="connsiteY15" fmla="*/ 867823 h 867822"/>
                <a:gd name="connsiteX16" fmla="*/ 310039 w 628078"/>
                <a:gd name="connsiteY16" fmla="*/ 866965 h 867822"/>
                <a:gd name="connsiteX17" fmla="*/ 310039 w 628078"/>
                <a:gd name="connsiteY17" fmla="*/ 660559 h 867822"/>
                <a:gd name="connsiteX18" fmla="*/ 391001 w 628078"/>
                <a:gd name="connsiteY18" fmla="*/ 579596 h 867822"/>
                <a:gd name="connsiteX19" fmla="*/ 411385 w 628078"/>
                <a:gd name="connsiteY19" fmla="*/ 579596 h 867822"/>
                <a:gd name="connsiteX20" fmla="*/ 469011 w 628078"/>
                <a:gd name="connsiteY20" fmla="*/ 520541 h 867822"/>
                <a:gd name="connsiteX21" fmla="*/ 469011 w 628078"/>
                <a:gd name="connsiteY21" fmla="*/ 381667 h 867822"/>
                <a:gd name="connsiteX22" fmla="*/ 550069 w 628078"/>
                <a:gd name="connsiteY22" fmla="*/ 300609 h 867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8078" h="867822">
                  <a:moveTo>
                    <a:pt x="550069" y="300609"/>
                  </a:moveTo>
                  <a:lnTo>
                    <a:pt x="570452" y="300609"/>
                  </a:lnTo>
                  <a:cubicBezTo>
                    <a:pt x="602171" y="300609"/>
                    <a:pt x="628079" y="274701"/>
                    <a:pt x="628079" y="242983"/>
                  </a:cubicBezTo>
                  <a:lnTo>
                    <a:pt x="628079" y="57626"/>
                  </a:lnTo>
                  <a:cubicBezTo>
                    <a:pt x="628079" y="25908"/>
                    <a:pt x="602171" y="0"/>
                    <a:pt x="570452" y="0"/>
                  </a:cubicBezTo>
                  <a:lnTo>
                    <a:pt x="216599" y="0"/>
                  </a:lnTo>
                  <a:lnTo>
                    <a:pt x="158972" y="857"/>
                  </a:lnTo>
                  <a:lnTo>
                    <a:pt x="158972" y="212884"/>
                  </a:lnTo>
                  <a:cubicBezTo>
                    <a:pt x="158972" y="257461"/>
                    <a:pt x="122587" y="293846"/>
                    <a:pt x="78010" y="293846"/>
                  </a:cubicBezTo>
                  <a:lnTo>
                    <a:pt x="57626" y="293846"/>
                  </a:lnTo>
                  <a:cubicBezTo>
                    <a:pt x="25908" y="293846"/>
                    <a:pt x="0" y="320421"/>
                    <a:pt x="0" y="352901"/>
                  </a:cubicBezTo>
                  <a:lnTo>
                    <a:pt x="0" y="464153"/>
                  </a:lnTo>
                  <a:lnTo>
                    <a:pt x="0" y="520351"/>
                  </a:lnTo>
                  <a:lnTo>
                    <a:pt x="0" y="810197"/>
                  </a:lnTo>
                  <a:cubicBezTo>
                    <a:pt x="0" y="841915"/>
                    <a:pt x="25908" y="867823"/>
                    <a:pt x="57626" y="867823"/>
                  </a:cubicBezTo>
                  <a:lnTo>
                    <a:pt x="252413" y="867823"/>
                  </a:lnTo>
                  <a:lnTo>
                    <a:pt x="310039" y="866965"/>
                  </a:lnTo>
                  <a:lnTo>
                    <a:pt x="310039" y="660559"/>
                  </a:lnTo>
                  <a:cubicBezTo>
                    <a:pt x="310039" y="615982"/>
                    <a:pt x="346424" y="579596"/>
                    <a:pt x="391001" y="579596"/>
                  </a:cubicBezTo>
                  <a:lnTo>
                    <a:pt x="411385" y="579596"/>
                  </a:lnTo>
                  <a:cubicBezTo>
                    <a:pt x="443103" y="579596"/>
                    <a:pt x="469011" y="553022"/>
                    <a:pt x="469011" y="520541"/>
                  </a:cubicBezTo>
                  <a:lnTo>
                    <a:pt x="469011" y="381667"/>
                  </a:lnTo>
                  <a:cubicBezTo>
                    <a:pt x="469011" y="336995"/>
                    <a:pt x="505397" y="300609"/>
                    <a:pt x="550069" y="300609"/>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88" name="Freeform: Shape 187">
              <a:extLst>
                <a:ext uri="{FF2B5EF4-FFF2-40B4-BE49-F238E27FC236}">
                  <a16:creationId xmlns:a16="http://schemas.microsoft.com/office/drawing/2014/main" id="{84BCE80F-83C1-44F5-9FE1-16FA0C5C83C7}"/>
                </a:ext>
              </a:extLst>
            </p:cNvPr>
            <p:cNvSpPr/>
            <p:nvPr/>
          </p:nvSpPr>
          <p:spPr>
            <a:xfrm>
              <a:off x="234712" y="4126976"/>
              <a:ext cx="1892046" cy="1432274"/>
            </a:xfrm>
            <a:custGeom>
              <a:avLst/>
              <a:gdLst>
                <a:gd name="connsiteX0" fmla="*/ 388906 w 1892046"/>
                <a:gd name="connsiteY0" fmla="*/ 1432274 h 1432274"/>
                <a:gd name="connsiteX1" fmla="*/ 542068 w 1892046"/>
                <a:gd name="connsiteY1" fmla="*/ 1432274 h 1432274"/>
                <a:gd name="connsiteX2" fmla="*/ 624364 w 1892046"/>
                <a:gd name="connsiteY2" fmla="*/ 1362266 h 1432274"/>
                <a:gd name="connsiteX3" fmla="*/ 704279 w 1892046"/>
                <a:gd name="connsiteY3" fmla="*/ 1294352 h 1432274"/>
                <a:gd name="connsiteX4" fmla="*/ 1017461 w 1892046"/>
                <a:gd name="connsiteY4" fmla="*/ 1294352 h 1432274"/>
                <a:gd name="connsiteX5" fmla="*/ 1100042 w 1892046"/>
                <a:gd name="connsiteY5" fmla="*/ 1222724 h 1432274"/>
                <a:gd name="connsiteX6" fmla="*/ 1177576 w 1892046"/>
                <a:gd name="connsiteY6" fmla="*/ 1153287 h 1432274"/>
                <a:gd name="connsiteX7" fmla="*/ 1258253 w 1892046"/>
                <a:gd name="connsiteY7" fmla="*/ 1069943 h 1432274"/>
                <a:gd name="connsiteX8" fmla="*/ 1258253 w 1892046"/>
                <a:gd name="connsiteY8" fmla="*/ 796194 h 1432274"/>
                <a:gd name="connsiteX9" fmla="*/ 1337405 w 1892046"/>
                <a:gd name="connsiteY9" fmla="*/ 715232 h 1432274"/>
                <a:gd name="connsiteX10" fmla="*/ 1417701 w 1892046"/>
                <a:gd name="connsiteY10" fmla="*/ 645605 h 1432274"/>
                <a:gd name="connsiteX11" fmla="*/ 1495235 w 1892046"/>
                <a:gd name="connsiteY11" fmla="*/ 578072 h 1432274"/>
                <a:gd name="connsiteX12" fmla="*/ 1576292 w 1892046"/>
                <a:gd name="connsiteY12" fmla="*/ 495681 h 1432274"/>
                <a:gd name="connsiteX13" fmla="*/ 1657255 w 1892046"/>
                <a:gd name="connsiteY13" fmla="*/ 415671 h 1432274"/>
                <a:gd name="connsiteX14" fmla="*/ 1833658 w 1892046"/>
                <a:gd name="connsiteY14" fmla="*/ 415671 h 1432274"/>
                <a:gd name="connsiteX15" fmla="*/ 1892046 w 1892046"/>
                <a:gd name="connsiteY15" fmla="*/ 363188 h 1432274"/>
                <a:gd name="connsiteX16" fmla="*/ 1891951 w 1892046"/>
                <a:gd name="connsiteY16" fmla="*/ 273177 h 1432274"/>
                <a:gd name="connsiteX17" fmla="*/ 1630299 w 1892046"/>
                <a:gd name="connsiteY17" fmla="*/ 273844 h 1432274"/>
                <a:gd name="connsiteX18" fmla="*/ 1572673 w 1892046"/>
                <a:gd name="connsiteY18" fmla="*/ 216217 h 1432274"/>
                <a:gd name="connsiteX19" fmla="*/ 1572673 w 1892046"/>
                <a:gd name="connsiteY19" fmla="*/ 215551 h 1432274"/>
                <a:gd name="connsiteX20" fmla="*/ 1572387 w 1892046"/>
                <a:gd name="connsiteY20" fmla="*/ 215551 h 1432274"/>
                <a:gd name="connsiteX21" fmla="*/ 1572387 w 1892046"/>
                <a:gd name="connsiteY21" fmla="*/ 194691 h 1432274"/>
                <a:gd name="connsiteX22" fmla="*/ 1514761 w 1892046"/>
                <a:gd name="connsiteY22" fmla="*/ 137065 h 1432274"/>
                <a:gd name="connsiteX23" fmla="*/ 1028795 w 1892046"/>
                <a:gd name="connsiteY23" fmla="*/ 137065 h 1432274"/>
                <a:gd name="connsiteX24" fmla="*/ 1028986 w 1892046"/>
                <a:gd name="connsiteY24" fmla="*/ 137065 h 1432274"/>
                <a:gd name="connsiteX25" fmla="*/ 852869 w 1892046"/>
                <a:gd name="connsiteY25" fmla="*/ 137065 h 1432274"/>
                <a:gd name="connsiteX26" fmla="*/ 771906 w 1892046"/>
                <a:gd name="connsiteY26" fmla="*/ 56959 h 1432274"/>
                <a:gd name="connsiteX27" fmla="*/ 714280 w 1892046"/>
                <a:gd name="connsiteY27" fmla="*/ 0 h 1432274"/>
                <a:gd name="connsiteX28" fmla="*/ 57626 w 1892046"/>
                <a:gd name="connsiteY28" fmla="*/ 0 h 1432274"/>
                <a:gd name="connsiteX29" fmla="*/ 0 w 1892046"/>
                <a:gd name="connsiteY29" fmla="*/ 57626 h 1432274"/>
                <a:gd name="connsiteX30" fmla="*/ 0 w 1892046"/>
                <a:gd name="connsiteY30" fmla="*/ 288798 h 1432274"/>
                <a:gd name="connsiteX31" fmla="*/ 95 w 1892046"/>
                <a:gd name="connsiteY31" fmla="*/ 291655 h 1432274"/>
                <a:gd name="connsiteX32" fmla="*/ 95 w 1892046"/>
                <a:gd name="connsiteY32" fmla="*/ 299656 h 1432274"/>
                <a:gd name="connsiteX33" fmla="*/ 0 w 1892046"/>
                <a:gd name="connsiteY33" fmla="*/ 303466 h 1432274"/>
                <a:gd name="connsiteX34" fmla="*/ 0 w 1892046"/>
                <a:gd name="connsiteY34" fmla="*/ 427387 h 1432274"/>
                <a:gd name="connsiteX35" fmla="*/ 57341 w 1892046"/>
                <a:gd name="connsiteY35" fmla="*/ 426530 h 1432274"/>
                <a:gd name="connsiteX36" fmla="*/ 411099 w 1892046"/>
                <a:gd name="connsiteY36" fmla="*/ 426530 h 1432274"/>
                <a:gd name="connsiteX37" fmla="*/ 468725 w 1892046"/>
                <a:gd name="connsiteY37" fmla="*/ 484156 h 1432274"/>
                <a:gd name="connsiteX38" fmla="*/ 468725 w 1892046"/>
                <a:gd name="connsiteY38" fmla="*/ 669512 h 1432274"/>
                <a:gd name="connsiteX39" fmla="*/ 411099 w 1892046"/>
                <a:gd name="connsiteY39" fmla="*/ 727138 h 1432274"/>
                <a:gd name="connsiteX40" fmla="*/ 390716 w 1892046"/>
                <a:gd name="connsiteY40" fmla="*/ 727138 h 1432274"/>
                <a:gd name="connsiteX41" fmla="*/ 309753 w 1892046"/>
                <a:gd name="connsiteY41" fmla="*/ 808101 h 1432274"/>
                <a:gd name="connsiteX42" fmla="*/ 309753 w 1892046"/>
                <a:gd name="connsiteY42" fmla="*/ 946975 h 1432274"/>
                <a:gd name="connsiteX43" fmla="*/ 252127 w 1892046"/>
                <a:gd name="connsiteY43" fmla="*/ 1006030 h 1432274"/>
                <a:gd name="connsiteX44" fmla="*/ 231743 w 1892046"/>
                <a:gd name="connsiteY44" fmla="*/ 1006030 h 1432274"/>
                <a:gd name="connsiteX45" fmla="*/ 150781 w 1892046"/>
                <a:gd name="connsiteY45" fmla="*/ 1086993 h 1432274"/>
                <a:gd name="connsiteX46" fmla="*/ 150781 w 1892046"/>
                <a:gd name="connsiteY46" fmla="*/ 1293495 h 1432274"/>
                <a:gd name="connsiteX47" fmla="*/ 107347 w 1892046"/>
                <a:gd name="connsiteY47" fmla="*/ 1294162 h 1432274"/>
                <a:gd name="connsiteX48" fmla="*/ 113348 w 1892046"/>
                <a:gd name="connsiteY48" fmla="*/ 1294352 h 1432274"/>
                <a:gd name="connsiteX49" fmla="*/ 226600 w 1892046"/>
                <a:gd name="connsiteY49" fmla="*/ 1294352 h 1432274"/>
                <a:gd name="connsiteX50" fmla="*/ 306515 w 1892046"/>
                <a:gd name="connsiteY50" fmla="*/ 1362266 h 1432274"/>
                <a:gd name="connsiteX51" fmla="*/ 388906 w 1892046"/>
                <a:gd name="connsiteY51" fmla="*/ 1432274 h 143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92046" h="1432274">
                  <a:moveTo>
                    <a:pt x="388906" y="1432274"/>
                  </a:moveTo>
                  <a:lnTo>
                    <a:pt x="542068" y="1432274"/>
                  </a:lnTo>
                  <a:cubicBezTo>
                    <a:pt x="583406" y="1432274"/>
                    <a:pt x="617982" y="1401794"/>
                    <a:pt x="624364" y="1362266"/>
                  </a:cubicBezTo>
                  <a:cubicBezTo>
                    <a:pt x="630841" y="1322737"/>
                    <a:pt x="664274" y="1294352"/>
                    <a:pt x="704279" y="1294352"/>
                  </a:cubicBezTo>
                  <a:lnTo>
                    <a:pt x="1017461" y="1294352"/>
                  </a:lnTo>
                  <a:cubicBezTo>
                    <a:pt x="1059371" y="1294352"/>
                    <a:pt x="1094232" y="1263110"/>
                    <a:pt x="1100042" y="1222724"/>
                  </a:cubicBezTo>
                  <a:cubicBezTo>
                    <a:pt x="1105662" y="1183481"/>
                    <a:pt x="1137952" y="1154526"/>
                    <a:pt x="1177576" y="1153287"/>
                  </a:cubicBezTo>
                  <a:cubicBezTo>
                    <a:pt x="1222248" y="1151858"/>
                    <a:pt x="1258253" y="1114901"/>
                    <a:pt x="1258253" y="1069943"/>
                  </a:cubicBezTo>
                  <a:lnTo>
                    <a:pt x="1258253" y="796194"/>
                  </a:lnTo>
                  <a:cubicBezTo>
                    <a:pt x="1258253" y="752284"/>
                    <a:pt x="1293400" y="716280"/>
                    <a:pt x="1337405" y="715232"/>
                  </a:cubicBezTo>
                  <a:cubicBezTo>
                    <a:pt x="1377696" y="714280"/>
                    <a:pt x="1411224" y="684371"/>
                    <a:pt x="1417701" y="645605"/>
                  </a:cubicBezTo>
                  <a:cubicBezTo>
                    <a:pt x="1424178" y="607123"/>
                    <a:pt x="1456182" y="579215"/>
                    <a:pt x="1495235" y="578072"/>
                  </a:cubicBezTo>
                  <a:cubicBezTo>
                    <a:pt x="1539716" y="576834"/>
                    <a:pt x="1575721" y="540353"/>
                    <a:pt x="1576292" y="495681"/>
                  </a:cubicBezTo>
                  <a:cubicBezTo>
                    <a:pt x="1576864" y="451390"/>
                    <a:pt x="1613059" y="415671"/>
                    <a:pt x="1657255" y="415671"/>
                  </a:cubicBezTo>
                  <a:lnTo>
                    <a:pt x="1833658" y="415671"/>
                  </a:lnTo>
                  <a:cubicBezTo>
                    <a:pt x="1865376" y="415671"/>
                    <a:pt x="1892141" y="395002"/>
                    <a:pt x="1892046" y="363188"/>
                  </a:cubicBezTo>
                  <a:lnTo>
                    <a:pt x="1891951" y="273177"/>
                  </a:lnTo>
                  <a:cubicBezTo>
                    <a:pt x="1804130" y="273177"/>
                    <a:pt x="1718215" y="273844"/>
                    <a:pt x="1630299" y="273844"/>
                  </a:cubicBezTo>
                  <a:cubicBezTo>
                    <a:pt x="1598581" y="273844"/>
                    <a:pt x="1572673" y="247936"/>
                    <a:pt x="1572673" y="216217"/>
                  </a:cubicBezTo>
                  <a:lnTo>
                    <a:pt x="1572673" y="215551"/>
                  </a:lnTo>
                  <a:lnTo>
                    <a:pt x="1572387" y="215551"/>
                  </a:lnTo>
                  <a:lnTo>
                    <a:pt x="1572387" y="194691"/>
                  </a:lnTo>
                  <a:cubicBezTo>
                    <a:pt x="1572387" y="162973"/>
                    <a:pt x="1546479" y="137065"/>
                    <a:pt x="1514761" y="137065"/>
                  </a:cubicBezTo>
                  <a:lnTo>
                    <a:pt x="1028795" y="137065"/>
                  </a:lnTo>
                  <a:lnTo>
                    <a:pt x="1028986" y="137065"/>
                  </a:lnTo>
                  <a:lnTo>
                    <a:pt x="852869" y="137065"/>
                  </a:lnTo>
                  <a:cubicBezTo>
                    <a:pt x="808577" y="137065"/>
                    <a:pt x="772382" y="101251"/>
                    <a:pt x="771906" y="56959"/>
                  </a:cubicBezTo>
                  <a:cubicBezTo>
                    <a:pt x="771525" y="25622"/>
                    <a:pt x="745712" y="0"/>
                    <a:pt x="714280" y="0"/>
                  </a:cubicBezTo>
                  <a:lnTo>
                    <a:pt x="57626" y="0"/>
                  </a:lnTo>
                  <a:cubicBezTo>
                    <a:pt x="25908" y="0"/>
                    <a:pt x="0" y="25908"/>
                    <a:pt x="0" y="57626"/>
                  </a:cubicBezTo>
                  <a:lnTo>
                    <a:pt x="0" y="288798"/>
                  </a:lnTo>
                  <a:cubicBezTo>
                    <a:pt x="0" y="289750"/>
                    <a:pt x="0" y="290703"/>
                    <a:pt x="95" y="291655"/>
                  </a:cubicBezTo>
                  <a:cubicBezTo>
                    <a:pt x="286" y="294418"/>
                    <a:pt x="286" y="296799"/>
                    <a:pt x="95" y="299656"/>
                  </a:cubicBezTo>
                  <a:cubicBezTo>
                    <a:pt x="0" y="300895"/>
                    <a:pt x="0" y="302228"/>
                    <a:pt x="0" y="303466"/>
                  </a:cubicBezTo>
                  <a:lnTo>
                    <a:pt x="0" y="427387"/>
                  </a:lnTo>
                  <a:lnTo>
                    <a:pt x="57341" y="426530"/>
                  </a:lnTo>
                  <a:lnTo>
                    <a:pt x="411099" y="426530"/>
                  </a:lnTo>
                  <a:cubicBezTo>
                    <a:pt x="442817" y="426530"/>
                    <a:pt x="468725" y="452438"/>
                    <a:pt x="468725" y="484156"/>
                  </a:cubicBezTo>
                  <a:lnTo>
                    <a:pt x="468725" y="669512"/>
                  </a:lnTo>
                  <a:cubicBezTo>
                    <a:pt x="468725" y="701230"/>
                    <a:pt x="442817" y="727138"/>
                    <a:pt x="411099" y="727138"/>
                  </a:cubicBezTo>
                  <a:lnTo>
                    <a:pt x="390716" y="727138"/>
                  </a:lnTo>
                  <a:cubicBezTo>
                    <a:pt x="346139" y="727138"/>
                    <a:pt x="309753" y="763524"/>
                    <a:pt x="309753" y="808101"/>
                  </a:cubicBezTo>
                  <a:lnTo>
                    <a:pt x="309753" y="946975"/>
                  </a:lnTo>
                  <a:cubicBezTo>
                    <a:pt x="309753" y="979456"/>
                    <a:pt x="283845" y="1006030"/>
                    <a:pt x="252127" y="1006030"/>
                  </a:cubicBezTo>
                  <a:lnTo>
                    <a:pt x="231743" y="1006030"/>
                  </a:lnTo>
                  <a:cubicBezTo>
                    <a:pt x="187166" y="1006030"/>
                    <a:pt x="150781" y="1042416"/>
                    <a:pt x="150781" y="1086993"/>
                  </a:cubicBezTo>
                  <a:lnTo>
                    <a:pt x="150781" y="1293495"/>
                  </a:lnTo>
                  <a:lnTo>
                    <a:pt x="107347" y="1294162"/>
                  </a:lnTo>
                  <a:cubicBezTo>
                    <a:pt x="109347" y="1294352"/>
                    <a:pt x="111347" y="1294352"/>
                    <a:pt x="113348" y="1294352"/>
                  </a:cubicBezTo>
                  <a:lnTo>
                    <a:pt x="226600" y="1294352"/>
                  </a:lnTo>
                  <a:cubicBezTo>
                    <a:pt x="266605" y="1294352"/>
                    <a:pt x="300038" y="1322832"/>
                    <a:pt x="306515" y="1362266"/>
                  </a:cubicBezTo>
                  <a:cubicBezTo>
                    <a:pt x="312992" y="1401889"/>
                    <a:pt x="347567" y="1432274"/>
                    <a:pt x="388906" y="1432274"/>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89" name="Freeform: Shape 188">
              <a:extLst>
                <a:ext uri="{FF2B5EF4-FFF2-40B4-BE49-F238E27FC236}">
                  <a16:creationId xmlns:a16="http://schemas.microsoft.com/office/drawing/2014/main" id="{3B32754D-3E5F-4015-B2AA-C0AF959A2E66}"/>
                </a:ext>
              </a:extLst>
            </p:cNvPr>
            <p:cNvSpPr/>
            <p:nvPr/>
          </p:nvSpPr>
          <p:spPr>
            <a:xfrm>
              <a:off x="3572367" y="5286168"/>
              <a:ext cx="417766" cy="299656"/>
            </a:xfrm>
            <a:custGeom>
              <a:avLst/>
              <a:gdLst>
                <a:gd name="connsiteX0" fmla="*/ 0 w 417766"/>
                <a:gd name="connsiteY0" fmla="*/ 57626 h 299656"/>
                <a:gd name="connsiteX1" fmla="*/ 0 w 417766"/>
                <a:gd name="connsiteY1" fmla="*/ 77628 h 299656"/>
                <a:gd name="connsiteX2" fmla="*/ 57626 w 417766"/>
                <a:gd name="connsiteY2" fmla="*/ 135255 h 299656"/>
                <a:gd name="connsiteX3" fmla="*/ 201549 w 417766"/>
                <a:gd name="connsiteY3" fmla="*/ 135255 h 299656"/>
                <a:gd name="connsiteX4" fmla="*/ 282512 w 417766"/>
                <a:gd name="connsiteY4" fmla="*/ 216218 h 299656"/>
                <a:gd name="connsiteX5" fmla="*/ 282512 w 417766"/>
                <a:gd name="connsiteY5" fmla="*/ 242030 h 299656"/>
                <a:gd name="connsiteX6" fmla="*/ 340138 w 417766"/>
                <a:gd name="connsiteY6" fmla="*/ 299656 h 299656"/>
                <a:gd name="connsiteX7" fmla="*/ 360140 w 417766"/>
                <a:gd name="connsiteY7" fmla="*/ 299656 h 299656"/>
                <a:gd name="connsiteX8" fmla="*/ 417767 w 417766"/>
                <a:gd name="connsiteY8" fmla="*/ 242030 h 299656"/>
                <a:gd name="connsiteX9" fmla="*/ 417767 w 417766"/>
                <a:gd name="connsiteY9" fmla="*/ 77628 h 299656"/>
                <a:gd name="connsiteX10" fmla="*/ 417767 w 417766"/>
                <a:gd name="connsiteY10" fmla="*/ 57626 h 299656"/>
                <a:gd name="connsiteX11" fmla="*/ 417767 w 417766"/>
                <a:gd name="connsiteY11" fmla="*/ 56102 h 299656"/>
                <a:gd name="connsiteX12" fmla="*/ 417767 w 417766"/>
                <a:gd name="connsiteY12" fmla="*/ 56102 h 299656"/>
                <a:gd name="connsiteX13" fmla="*/ 417671 w 417766"/>
                <a:gd name="connsiteY13" fmla="*/ 54673 h 299656"/>
                <a:gd name="connsiteX14" fmla="*/ 417671 w 417766"/>
                <a:gd name="connsiteY14" fmla="*/ 54673 h 299656"/>
                <a:gd name="connsiteX15" fmla="*/ 417576 w 417766"/>
                <a:gd name="connsiteY15" fmla="*/ 53244 h 299656"/>
                <a:gd name="connsiteX16" fmla="*/ 417576 w 417766"/>
                <a:gd name="connsiteY16" fmla="*/ 53244 h 299656"/>
                <a:gd name="connsiteX17" fmla="*/ 417481 w 417766"/>
                <a:gd name="connsiteY17" fmla="*/ 51816 h 299656"/>
                <a:gd name="connsiteX18" fmla="*/ 417481 w 417766"/>
                <a:gd name="connsiteY18" fmla="*/ 51816 h 299656"/>
                <a:gd name="connsiteX19" fmla="*/ 417290 w 417766"/>
                <a:gd name="connsiteY19" fmla="*/ 50387 h 299656"/>
                <a:gd name="connsiteX20" fmla="*/ 417290 w 417766"/>
                <a:gd name="connsiteY20" fmla="*/ 50387 h 299656"/>
                <a:gd name="connsiteX21" fmla="*/ 417100 w 417766"/>
                <a:gd name="connsiteY21" fmla="*/ 48958 h 299656"/>
                <a:gd name="connsiteX22" fmla="*/ 417100 w 417766"/>
                <a:gd name="connsiteY22" fmla="*/ 48958 h 299656"/>
                <a:gd name="connsiteX23" fmla="*/ 416909 w 417766"/>
                <a:gd name="connsiteY23" fmla="*/ 47530 h 299656"/>
                <a:gd name="connsiteX24" fmla="*/ 416909 w 417766"/>
                <a:gd name="connsiteY24" fmla="*/ 47530 h 299656"/>
                <a:gd name="connsiteX25" fmla="*/ 416623 w 417766"/>
                <a:gd name="connsiteY25" fmla="*/ 46101 h 299656"/>
                <a:gd name="connsiteX26" fmla="*/ 416623 w 417766"/>
                <a:gd name="connsiteY26" fmla="*/ 46101 h 299656"/>
                <a:gd name="connsiteX27" fmla="*/ 416338 w 417766"/>
                <a:gd name="connsiteY27" fmla="*/ 44672 h 299656"/>
                <a:gd name="connsiteX28" fmla="*/ 416338 w 417766"/>
                <a:gd name="connsiteY28" fmla="*/ 44672 h 299656"/>
                <a:gd name="connsiteX29" fmla="*/ 415957 w 417766"/>
                <a:gd name="connsiteY29" fmla="*/ 43243 h 299656"/>
                <a:gd name="connsiteX30" fmla="*/ 415957 w 417766"/>
                <a:gd name="connsiteY30" fmla="*/ 43243 h 299656"/>
                <a:gd name="connsiteX31" fmla="*/ 415576 w 417766"/>
                <a:gd name="connsiteY31" fmla="*/ 41910 h 299656"/>
                <a:gd name="connsiteX32" fmla="*/ 415576 w 417766"/>
                <a:gd name="connsiteY32" fmla="*/ 41910 h 299656"/>
                <a:gd name="connsiteX33" fmla="*/ 415195 w 417766"/>
                <a:gd name="connsiteY33" fmla="*/ 40577 h 299656"/>
                <a:gd name="connsiteX34" fmla="*/ 415195 w 417766"/>
                <a:gd name="connsiteY34" fmla="*/ 40577 h 299656"/>
                <a:gd name="connsiteX35" fmla="*/ 414719 w 417766"/>
                <a:gd name="connsiteY35" fmla="*/ 39243 h 299656"/>
                <a:gd name="connsiteX36" fmla="*/ 414719 w 417766"/>
                <a:gd name="connsiteY36" fmla="*/ 39243 h 299656"/>
                <a:gd name="connsiteX37" fmla="*/ 414242 w 417766"/>
                <a:gd name="connsiteY37" fmla="*/ 37909 h 299656"/>
                <a:gd name="connsiteX38" fmla="*/ 414242 w 417766"/>
                <a:gd name="connsiteY38" fmla="*/ 37909 h 299656"/>
                <a:gd name="connsiteX39" fmla="*/ 413766 w 417766"/>
                <a:gd name="connsiteY39" fmla="*/ 36576 h 299656"/>
                <a:gd name="connsiteX40" fmla="*/ 413766 w 417766"/>
                <a:gd name="connsiteY40" fmla="*/ 36576 h 299656"/>
                <a:gd name="connsiteX41" fmla="*/ 413195 w 417766"/>
                <a:gd name="connsiteY41" fmla="*/ 35243 h 299656"/>
                <a:gd name="connsiteX42" fmla="*/ 413195 w 417766"/>
                <a:gd name="connsiteY42" fmla="*/ 35243 h 299656"/>
                <a:gd name="connsiteX43" fmla="*/ 412623 w 417766"/>
                <a:gd name="connsiteY43" fmla="*/ 34004 h 299656"/>
                <a:gd name="connsiteX44" fmla="*/ 412623 w 417766"/>
                <a:gd name="connsiteY44" fmla="*/ 34004 h 299656"/>
                <a:gd name="connsiteX45" fmla="*/ 412052 w 417766"/>
                <a:gd name="connsiteY45" fmla="*/ 32766 h 299656"/>
                <a:gd name="connsiteX46" fmla="*/ 412052 w 417766"/>
                <a:gd name="connsiteY46" fmla="*/ 32766 h 299656"/>
                <a:gd name="connsiteX47" fmla="*/ 411385 w 417766"/>
                <a:gd name="connsiteY47" fmla="*/ 31528 h 299656"/>
                <a:gd name="connsiteX48" fmla="*/ 411385 w 417766"/>
                <a:gd name="connsiteY48" fmla="*/ 31528 h 299656"/>
                <a:gd name="connsiteX49" fmla="*/ 410718 w 417766"/>
                <a:gd name="connsiteY49" fmla="*/ 30289 h 299656"/>
                <a:gd name="connsiteX50" fmla="*/ 410718 w 417766"/>
                <a:gd name="connsiteY50" fmla="*/ 30289 h 299656"/>
                <a:gd name="connsiteX51" fmla="*/ 410051 w 417766"/>
                <a:gd name="connsiteY51" fmla="*/ 29051 h 299656"/>
                <a:gd name="connsiteX52" fmla="*/ 410051 w 417766"/>
                <a:gd name="connsiteY52" fmla="*/ 29051 h 299656"/>
                <a:gd name="connsiteX53" fmla="*/ 409385 w 417766"/>
                <a:gd name="connsiteY53" fmla="*/ 27813 h 299656"/>
                <a:gd name="connsiteX54" fmla="*/ 409385 w 417766"/>
                <a:gd name="connsiteY54" fmla="*/ 27813 h 299656"/>
                <a:gd name="connsiteX55" fmla="*/ 408622 w 417766"/>
                <a:gd name="connsiteY55" fmla="*/ 26670 h 299656"/>
                <a:gd name="connsiteX56" fmla="*/ 408622 w 417766"/>
                <a:gd name="connsiteY56" fmla="*/ 26670 h 299656"/>
                <a:gd name="connsiteX57" fmla="*/ 407861 w 417766"/>
                <a:gd name="connsiteY57" fmla="*/ 25527 h 299656"/>
                <a:gd name="connsiteX58" fmla="*/ 407861 w 417766"/>
                <a:gd name="connsiteY58" fmla="*/ 25527 h 299656"/>
                <a:gd name="connsiteX59" fmla="*/ 407098 w 417766"/>
                <a:gd name="connsiteY59" fmla="*/ 24384 h 299656"/>
                <a:gd name="connsiteX60" fmla="*/ 407098 w 417766"/>
                <a:gd name="connsiteY60" fmla="*/ 24384 h 299656"/>
                <a:gd name="connsiteX61" fmla="*/ 406241 w 417766"/>
                <a:gd name="connsiteY61" fmla="*/ 23241 h 299656"/>
                <a:gd name="connsiteX62" fmla="*/ 406241 w 417766"/>
                <a:gd name="connsiteY62" fmla="*/ 23241 h 299656"/>
                <a:gd name="connsiteX63" fmla="*/ 405384 w 417766"/>
                <a:gd name="connsiteY63" fmla="*/ 22193 h 299656"/>
                <a:gd name="connsiteX64" fmla="*/ 405384 w 417766"/>
                <a:gd name="connsiteY64" fmla="*/ 22193 h 299656"/>
                <a:gd name="connsiteX65" fmla="*/ 404527 w 417766"/>
                <a:gd name="connsiteY65" fmla="*/ 21145 h 299656"/>
                <a:gd name="connsiteX66" fmla="*/ 404527 w 417766"/>
                <a:gd name="connsiteY66" fmla="*/ 21145 h 299656"/>
                <a:gd name="connsiteX67" fmla="*/ 403670 w 417766"/>
                <a:gd name="connsiteY67" fmla="*/ 20098 h 299656"/>
                <a:gd name="connsiteX68" fmla="*/ 403670 w 417766"/>
                <a:gd name="connsiteY68" fmla="*/ 20098 h 299656"/>
                <a:gd name="connsiteX69" fmla="*/ 402717 w 417766"/>
                <a:gd name="connsiteY69" fmla="*/ 19050 h 299656"/>
                <a:gd name="connsiteX70" fmla="*/ 402717 w 417766"/>
                <a:gd name="connsiteY70" fmla="*/ 19050 h 299656"/>
                <a:gd name="connsiteX71" fmla="*/ 401764 w 417766"/>
                <a:gd name="connsiteY71" fmla="*/ 18002 h 299656"/>
                <a:gd name="connsiteX72" fmla="*/ 401764 w 417766"/>
                <a:gd name="connsiteY72" fmla="*/ 18002 h 299656"/>
                <a:gd name="connsiteX73" fmla="*/ 400812 w 417766"/>
                <a:gd name="connsiteY73" fmla="*/ 17050 h 299656"/>
                <a:gd name="connsiteX74" fmla="*/ 400812 w 417766"/>
                <a:gd name="connsiteY74" fmla="*/ 17050 h 299656"/>
                <a:gd name="connsiteX75" fmla="*/ 399860 w 417766"/>
                <a:gd name="connsiteY75" fmla="*/ 16097 h 299656"/>
                <a:gd name="connsiteX76" fmla="*/ 399860 w 417766"/>
                <a:gd name="connsiteY76" fmla="*/ 16097 h 299656"/>
                <a:gd name="connsiteX77" fmla="*/ 398812 w 417766"/>
                <a:gd name="connsiteY77" fmla="*/ 15144 h 299656"/>
                <a:gd name="connsiteX78" fmla="*/ 398812 w 417766"/>
                <a:gd name="connsiteY78" fmla="*/ 15144 h 299656"/>
                <a:gd name="connsiteX79" fmla="*/ 397764 w 417766"/>
                <a:gd name="connsiteY79" fmla="*/ 14192 h 299656"/>
                <a:gd name="connsiteX80" fmla="*/ 397764 w 417766"/>
                <a:gd name="connsiteY80" fmla="*/ 14192 h 299656"/>
                <a:gd name="connsiteX81" fmla="*/ 396716 w 417766"/>
                <a:gd name="connsiteY81" fmla="*/ 13335 h 299656"/>
                <a:gd name="connsiteX82" fmla="*/ 396716 w 417766"/>
                <a:gd name="connsiteY82" fmla="*/ 13335 h 299656"/>
                <a:gd name="connsiteX83" fmla="*/ 395669 w 417766"/>
                <a:gd name="connsiteY83" fmla="*/ 12478 h 299656"/>
                <a:gd name="connsiteX84" fmla="*/ 395669 w 417766"/>
                <a:gd name="connsiteY84" fmla="*/ 12478 h 299656"/>
                <a:gd name="connsiteX85" fmla="*/ 394621 w 417766"/>
                <a:gd name="connsiteY85" fmla="*/ 11620 h 299656"/>
                <a:gd name="connsiteX86" fmla="*/ 394621 w 417766"/>
                <a:gd name="connsiteY86" fmla="*/ 11620 h 299656"/>
                <a:gd name="connsiteX87" fmla="*/ 393478 w 417766"/>
                <a:gd name="connsiteY87" fmla="*/ 10763 h 299656"/>
                <a:gd name="connsiteX88" fmla="*/ 393478 w 417766"/>
                <a:gd name="connsiteY88" fmla="*/ 10763 h 299656"/>
                <a:gd name="connsiteX89" fmla="*/ 392335 w 417766"/>
                <a:gd name="connsiteY89" fmla="*/ 10001 h 299656"/>
                <a:gd name="connsiteX90" fmla="*/ 392335 w 417766"/>
                <a:gd name="connsiteY90" fmla="*/ 10001 h 299656"/>
                <a:gd name="connsiteX91" fmla="*/ 391192 w 417766"/>
                <a:gd name="connsiteY91" fmla="*/ 9239 h 299656"/>
                <a:gd name="connsiteX92" fmla="*/ 391192 w 417766"/>
                <a:gd name="connsiteY92" fmla="*/ 9239 h 299656"/>
                <a:gd name="connsiteX93" fmla="*/ 390049 w 417766"/>
                <a:gd name="connsiteY93" fmla="*/ 8477 h 299656"/>
                <a:gd name="connsiteX94" fmla="*/ 390049 w 417766"/>
                <a:gd name="connsiteY94" fmla="*/ 8477 h 299656"/>
                <a:gd name="connsiteX95" fmla="*/ 388811 w 417766"/>
                <a:gd name="connsiteY95" fmla="*/ 7811 h 299656"/>
                <a:gd name="connsiteX96" fmla="*/ 388811 w 417766"/>
                <a:gd name="connsiteY96" fmla="*/ 7811 h 299656"/>
                <a:gd name="connsiteX97" fmla="*/ 387572 w 417766"/>
                <a:gd name="connsiteY97" fmla="*/ 7144 h 299656"/>
                <a:gd name="connsiteX98" fmla="*/ 387572 w 417766"/>
                <a:gd name="connsiteY98" fmla="*/ 7144 h 299656"/>
                <a:gd name="connsiteX99" fmla="*/ 386334 w 417766"/>
                <a:gd name="connsiteY99" fmla="*/ 6477 h 299656"/>
                <a:gd name="connsiteX100" fmla="*/ 386334 w 417766"/>
                <a:gd name="connsiteY100" fmla="*/ 6477 h 299656"/>
                <a:gd name="connsiteX101" fmla="*/ 385096 w 417766"/>
                <a:gd name="connsiteY101" fmla="*/ 5810 h 299656"/>
                <a:gd name="connsiteX102" fmla="*/ 385096 w 417766"/>
                <a:gd name="connsiteY102" fmla="*/ 5810 h 299656"/>
                <a:gd name="connsiteX103" fmla="*/ 383858 w 417766"/>
                <a:gd name="connsiteY103" fmla="*/ 5239 h 299656"/>
                <a:gd name="connsiteX104" fmla="*/ 383858 w 417766"/>
                <a:gd name="connsiteY104" fmla="*/ 5239 h 299656"/>
                <a:gd name="connsiteX105" fmla="*/ 382619 w 417766"/>
                <a:gd name="connsiteY105" fmla="*/ 4667 h 299656"/>
                <a:gd name="connsiteX106" fmla="*/ 382619 w 417766"/>
                <a:gd name="connsiteY106" fmla="*/ 4667 h 299656"/>
                <a:gd name="connsiteX107" fmla="*/ 381286 w 417766"/>
                <a:gd name="connsiteY107" fmla="*/ 4096 h 299656"/>
                <a:gd name="connsiteX108" fmla="*/ 381286 w 417766"/>
                <a:gd name="connsiteY108" fmla="*/ 4096 h 299656"/>
                <a:gd name="connsiteX109" fmla="*/ 379952 w 417766"/>
                <a:gd name="connsiteY109" fmla="*/ 3620 h 299656"/>
                <a:gd name="connsiteX110" fmla="*/ 379952 w 417766"/>
                <a:gd name="connsiteY110" fmla="*/ 3620 h 299656"/>
                <a:gd name="connsiteX111" fmla="*/ 378619 w 417766"/>
                <a:gd name="connsiteY111" fmla="*/ 3143 h 299656"/>
                <a:gd name="connsiteX112" fmla="*/ 378619 w 417766"/>
                <a:gd name="connsiteY112" fmla="*/ 3143 h 299656"/>
                <a:gd name="connsiteX113" fmla="*/ 377285 w 417766"/>
                <a:gd name="connsiteY113" fmla="*/ 2667 h 299656"/>
                <a:gd name="connsiteX114" fmla="*/ 377285 w 417766"/>
                <a:gd name="connsiteY114" fmla="*/ 2667 h 299656"/>
                <a:gd name="connsiteX115" fmla="*/ 375952 w 417766"/>
                <a:gd name="connsiteY115" fmla="*/ 2286 h 299656"/>
                <a:gd name="connsiteX116" fmla="*/ 375952 w 417766"/>
                <a:gd name="connsiteY116" fmla="*/ 2286 h 299656"/>
                <a:gd name="connsiteX117" fmla="*/ 374618 w 417766"/>
                <a:gd name="connsiteY117" fmla="*/ 1905 h 299656"/>
                <a:gd name="connsiteX118" fmla="*/ 374618 w 417766"/>
                <a:gd name="connsiteY118" fmla="*/ 1905 h 299656"/>
                <a:gd name="connsiteX119" fmla="*/ 373285 w 417766"/>
                <a:gd name="connsiteY119" fmla="*/ 1524 h 299656"/>
                <a:gd name="connsiteX120" fmla="*/ 373285 w 417766"/>
                <a:gd name="connsiteY120" fmla="*/ 1524 h 299656"/>
                <a:gd name="connsiteX121" fmla="*/ 371856 w 417766"/>
                <a:gd name="connsiteY121" fmla="*/ 1238 h 299656"/>
                <a:gd name="connsiteX122" fmla="*/ 371856 w 417766"/>
                <a:gd name="connsiteY122" fmla="*/ 1238 h 299656"/>
                <a:gd name="connsiteX123" fmla="*/ 370427 w 417766"/>
                <a:gd name="connsiteY123" fmla="*/ 952 h 299656"/>
                <a:gd name="connsiteX124" fmla="*/ 370427 w 417766"/>
                <a:gd name="connsiteY124" fmla="*/ 952 h 299656"/>
                <a:gd name="connsiteX125" fmla="*/ 368998 w 417766"/>
                <a:gd name="connsiteY125" fmla="*/ 667 h 299656"/>
                <a:gd name="connsiteX126" fmla="*/ 368998 w 417766"/>
                <a:gd name="connsiteY126" fmla="*/ 667 h 299656"/>
                <a:gd name="connsiteX127" fmla="*/ 367570 w 417766"/>
                <a:gd name="connsiteY127" fmla="*/ 476 h 299656"/>
                <a:gd name="connsiteX128" fmla="*/ 367570 w 417766"/>
                <a:gd name="connsiteY128" fmla="*/ 476 h 299656"/>
                <a:gd name="connsiteX129" fmla="*/ 366141 w 417766"/>
                <a:gd name="connsiteY129" fmla="*/ 285 h 299656"/>
                <a:gd name="connsiteX130" fmla="*/ 366141 w 417766"/>
                <a:gd name="connsiteY130" fmla="*/ 285 h 299656"/>
                <a:gd name="connsiteX131" fmla="*/ 364712 w 417766"/>
                <a:gd name="connsiteY131" fmla="*/ 190 h 299656"/>
                <a:gd name="connsiteX132" fmla="*/ 364712 w 417766"/>
                <a:gd name="connsiteY132" fmla="*/ 190 h 299656"/>
                <a:gd name="connsiteX133" fmla="*/ 363284 w 417766"/>
                <a:gd name="connsiteY133" fmla="*/ 95 h 299656"/>
                <a:gd name="connsiteX134" fmla="*/ 363284 w 417766"/>
                <a:gd name="connsiteY134" fmla="*/ 95 h 299656"/>
                <a:gd name="connsiteX135" fmla="*/ 362807 w 417766"/>
                <a:gd name="connsiteY135" fmla="*/ 95 h 299656"/>
                <a:gd name="connsiteX136" fmla="*/ 360902 w 417766"/>
                <a:gd name="connsiteY136" fmla="*/ 0 h 299656"/>
                <a:gd name="connsiteX137" fmla="*/ 360426 w 417766"/>
                <a:gd name="connsiteY137" fmla="*/ 0 h 299656"/>
                <a:gd name="connsiteX138" fmla="*/ 360426 w 417766"/>
                <a:gd name="connsiteY138" fmla="*/ 0 h 299656"/>
                <a:gd name="connsiteX139" fmla="*/ 340423 w 417766"/>
                <a:gd name="connsiteY139" fmla="*/ 0 h 299656"/>
                <a:gd name="connsiteX140" fmla="*/ 57912 w 417766"/>
                <a:gd name="connsiteY140" fmla="*/ 0 h 299656"/>
                <a:gd name="connsiteX141" fmla="*/ 0 w 417766"/>
                <a:gd name="connsiteY141" fmla="*/ 57626 h 299656"/>
                <a:gd name="connsiteX142" fmla="*/ 0 w 417766"/>
                <a:gd name="connsiteY142" fmla="*/ 57626 h 299656"/>
                <a:gd name="connsiteX143" fmla="*/ 417767 w 417766"/>
                <a:gd name="connsiteY143" fmla="*/ 57626 h 299656"/>
                <a:gd name="connsiteX144" fmla="*/ 417767 w 417766"/>
                <a:gd name="connsiteY144" fmla="*/ 57626 h 299656"/>
                <a:gd name="connsiteX145" fmla="*/ 417767 w 417766"/>
                <a:gd name="connsiteY145" fmla="*/ 57626 h 29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17766" h="299656">
                  <a:moveTo>
                    <a:pt x="0" y="57626"/>
                  </a:moveTo>
                  <a:lnTo>
                    <a:pt x="0" y="77628"/>
                  </a:lnTo>
                  <a:cubicBezTo>
                    <a:pt x="0" y="109347"/>
                    <a:pt x="25908" y="135255"/>
                    <a:pt x="57626" y="135255"/>
                  </a:cubicBezTo>
                  <a:lnTo>
                    <a:pt x="201549" y="135255"/>
                  </a:lnTo>
                  <a:cubicBezTo>
                    <a:pt x="246126" y="135255"/>
                    <a:pt x="282512" y="171640"/>
                    <a:pt x="282512" y="216218"/>
                  </a:cubicBezTo>
                  <a:lnTo>
                    <a:pt x="282512" y="242030"/>
                  </a:lnTo>
                  <a:cubicBezTo>
                    <a:pt x="282512" y="273748"/>
                    <a:pt x="308420" y="299656"/>
                    <a:pt x="340138" y="299656"/>
                  </a:cubicBezTo>
                  <a:lnTo>
                    <a:pt x="360140" y="299656"/>
                  </a:lnTo>
                  <a:cubicBezTo>
                    <a:pt x="391859" y="299656"/>
                    <a:pt x="417767" y="273748"/>
                    <a:pt x="417767" y="242030"/>
                  </a:cubicBezTo>
                  <a:lnTo>
                    <a:pt x="417767" y="77628"/>
                  </a:lnTo>
                  <a:lnTo>
                    <a:pt x="417767" y="57626"/>
                  </a:lnTo>
                  <a:lnTo>
                    <a:pt x="417767" y="56102"/>
                  </a:lnTo>
                  <a:lnTo>
                    <a:pt x="417767" y="56102"/>
                  </a:lnTo>
                  <a:lnTo>
                    <a:pt x="417671" y="54673"/>
                  </a:lnTo>
                  <a:lnTo>
                    <a:pt x="417671" y="54673"/>
                  </a:lnTo>
                  <a:lnTo>
                    <a:pt x="417576" y="53244"/>
                  </a:lnTo>
                  <a:lnTo>
                    <a:pt x="417576" y="53244"/>
                  </a:lnTo>
                  <a:lnTo>
                    <a:pt x="417481" y="51816"/>
                  </a:lnTo>
                  <a:lnTo>
                    <a:pt x="417481" y="51816"/>
                  </a:lnTo>
                  <a:lnTo>
                    <a:pt x="417290" y="50387"/>
                  </a:lnTo>
                  <a:lnTo>
                    <a:pt x="417290" y="50387"/>
                  </a:lnTo>
                  <a:lnTo>
                    <a:pt x="417100" y="48958"/>
                  </a:lnTo>
                  <a:lnTo>
                    <a:pt x="417100" y="48958"/>
                  </a:lnTo>
                  <a:lnTo>
                    <a:pt x="416909" y="47530"/>
                  </a:lnTo>
                  <a:lnTo>
                    <a:pt x="416909" y="47530"/>
                  </a:lnTo>
                  <a:cubicBezTo>
                    <a:pt x="416814" y="47054"/>
                    <a:pt x="416719" y="46577"/>
                    <a:pt x="416623" y="46101"/>
                  </a:cubicBezTo>
                  <a:lnTo>
                    <a:pt x="416623" y="46101"/>
                  </a:lnTo>
                  <a:lnTo>
                    <a:pt x="416338" y="44672"/>
                  </a:lnTo>
                  <a:lnTo>
                    <a:pt x="416338" y="44672"/>
                  </a:lnTo>
                  <a:lnTo>
                    <a:pt x="415957" y="43243"/>
                  </a:lnTo>
                  <a:lnTo>
                    <a:pt x="415957" y="43243"/>
                  </a:lnTo>
                  <a:lnTo>
                    <a:pt x="415576" y="41910"/>
                  </a:lnTo>
                  <a:lnTo>
                    <a:pt x="415576" y="41910"/>
                  </a:lnTo>
                  <a:lnTo>
                    <a:pt x="415195" y="40577"/>
                  </a:lnTo>
                  <a:lnTo>
                    <a:pt x="415195" y="40577"/>
                  </a:lnTo>
                  <a:lnTo>
                    <a:pt x="414719" y="39243"/>
                  </a:lnTo>
                  <a:lnTo>
                    <a:pt x="414719" y="39243"/>
                  </a:lnTo>
                  <a:lnTo>
                    <a:pt x="414242" y="37909"/>
                  </a:lnTo>
                  <a:lnTo>
                    <a:pt x="414242" y="37909"/>
                  </a:lnTo>
                  <a:lnTo>
                    <a:pt x="413766" y="36576"/>
                  </a:lnTo>
                  <a:lnTo>
                    <a:pt x="413766" y="36576"/>
                  </a:lnTo>
                  <a:lnTo>
                    <a:pt x="413195" y="35243"/>
                  </a:lnTo>
                  <a:lnTo>
                    <a:pt x="413195" y="35243"/>
                  </a:lnTo>
                  <a:lnTo>
                    <a:pt x="412623" y="34004"/>
                  </a:lnTo>
                  <a:lnTo>
                    <a:pt x="412623" y="34004"/>
                  </a:lnTo>
                  <a:lnTo>
                    <a:pt x="412052" y="32766"/>
                  </a:lnTo>
                  <a:lnTo>
                    <a:pt x="412052" y="32766"/>
                  </a:lnTo>
                  <a:lnTo>
                    <a:pt x="411385" y="31528"/>
                  </a:lnTo>
                  <a:lnTo>
                    <a:pt x="411385" y="31528"/>
                  </a:lnTo>
                  <a:cubicBezTo>
                    <a:pt x="411194" y="31146"/>
                    <a:pt x="411004" y="30670"/>
                    <a:pt x="410718" y="30289"/>
                  </a:cubicBezTo>
                  <a:lnTo>
                    <a:pt x="410718" y="30289"/>
                  </a:lnTo>
                  <a:lnTo>
                    <a:pt x="410051" y="29051"/>
                  </a:lnTo>
                  <a:lnTo>
                    <a:pt x="410051" y="29051"/>
                  </a:lnTo>
                  <a:cubicBezTo>
                    <a:pt x="409861" y="28670"/>
                    <a:pt x="409575" y="28289"/>
                    <a:pt x="409385" y="27813"/>
                  </a:cubicBezTo>
                  <a:lnTo>
                    <a:pt x="409385" y="27813"/>
                  </a:lnTo>
                  <a:lnTo>
                    <a:pt x="408622" y="26670"/>
                  </a:lnTo>
                  <a:lnTo>
                    <a:pt x="408622" y="26670"/>
                  </a:lnTo>
                  <a:lnTo>
                    <a:pt x="407861" y="25527"/>
                  </a:lnTo>
                  <a:lnTo>
                    <a:pt x="407861" y="25527"/>
                  </a:lnTo>
                  <a:lnTo>
                    <a:pt x="407098" y="24384"/>
                  </a:lnTo>
                  <a:lnTo>
                    <a:pt x="407098" y="24384"/>
                  </a:lnTo>
                  <a:lnTo>
                    <a:pt x="406241" y="23241"/>
                  </a:lnTo>
                  <a:lnTo>
                    <a:pt x="406241" y="23241"/>
                  </a:lnTo>
                  <a:lnTo>
                    <a:pt x="405384" y="22193"/>
                  </a:lnTo>
                  <a:lnTo>
                    <a:pt x="405384" y="22193"/>
                  </a:lnTo>
                  <a:cubicBezTo>
                    <a:pt x="405098" y="21812"/>
                    <a:pt x="404813" y="21431"/>
                    <a:pt x="404527" y="21145"/>
                  </a:cubicBezTo>
                  <a:lnTo>
                    <a:pt x="404527" y="21145"/>
                  </a:lnTo>
                  <a:lnTo>
                    <a:pt x="403670" y="20098"/>
                  </a:lnTo>
                  <a:lnTo>
                    <a:pt x="403670" y="20098"/>
                  </a:lnTo>
                  <a:lnTo>
                    <a:pt x="402717" y="19050"/>
                  </a:lnTo>
                  <a:lnTo>
                    <a:pt x="402717" y="19050"/>
                  </a:lnTo>
                  <a:lnTo>
                    <a:pt x="401764" y="18002"/>
                  </a:lnTo>
                  <a:lnTo>
                    <a:pt x="401764" y="18002"/>
                  </a:lnTo>
                  <a:lnTo>
                    <a:pt x="400812" y="17050"/>
                  </a:lnTo>
                  <a:lnTo>
                    <a:pt x="400812" y="17050"/>
                  </a:lnTo>
                  <a:lnTo>
                    <a:pt x="399860" y="16097"/>
                  </a:lnTo>
                  <a:lnTo>
                    <a:pt x="399860" y="16097"/>
                  </a:lnTo>
                  <a:lnTo>
                    <a:pt x="398812" y="15144"/>
                  </a:lnTo>
                  <a:lnTo>
                    <a:pt x="398812" y="15144"/>
                  </a:lnTo>
                  <a:lnTo>
                    <a:pt x="397764" y="14192"/>
                  </a:lnTo>
                  <a:lnTo>
                    <a:pt x="397764" y="14192"/>
                  </a:lnTo>
                  <a:lnTo>
                    <a:pt x="396716" y="13335"/>
                  </a:lnTo>
                  <a:lnTo>
                    <a:pt x="396716" y="13335"/>
                  </a:lnTo>
                  <a:cubicBezTo>
                    <a:pt x="396335" y="13049"/>
                    <a:pt x="395954" y="12763"/>
                    <a:pt x="395669" y="12478"/>
                  </a:cubicBezTo>
                  <a:lnTo>
                    <a:pt x="395669" y="12478"/>
                  </a:lnTo>
                  <a:cubicBezTo>
                    <a:pt x="395288" y="12192"/>
                    <a:pt x="394906" y="11906"/>
                    <a:pt x="394621" y="11620"/>
                  </a:cubicBezTo>
                  <a:lnTo>
                    <a:pt x="394621" y="11620"/>
                  </a:lnTo>
                  <a:lnTo>
                    <a:pt x="393478" y="10763"/>
                  </a:lnTo>
                  <a:lnTo>
                    <a:pt x="393478" y="10763"/>
                  </a:lnTo>
                  <a:lnTo>
                    <a:pt x="392335" y="10001"/>
                  </a:lnTo>
                  <a:lnTo>
                    <a:pt x="392335" y="10001"/>
                  </a:lnTo>
                  <a:lnTo>
                    <a:pt x="391192" y="9239"/>
                  </a:lnTo>
                  <a:lnTo>
                    <a:pt x="391192" y="9239"/>
                  </a:lnTo>
                  <a:lnTo>
                    <a:pt x="390049" y="8477"/>
                  </a:lnTo>
                  <a:lnTo>
                    <a:pt x="390049" y="8477"/>
                  </a:lnTo>
                  <a:lnTo>
                    <a:pt x="388811" y="7811"/>
                  </a:lnTo>
                  <a:lnTo>
                    <a:pt x="388811" y="7811"/>
                  </a:lnTo>
                  <a:lnTo>
                    <a:pt x="387572" y="7144"/>
                  </a:lnTo>
                  <a:lnTo>
                    <a:pt x="387572" y="7144"/>
                  </a:lnTo>
                  <a:lnTo>
                    <a:pt x="386334" y="6477"/>
                  </a:lnTo>
                  <a:lnTo>
                    <a:pt x="386334" y="6477"/>
                  </a:lnTo>
                  <a:lnTo>
                    <a:pt x="385096" y="5810"/>
                  </a:lnTo>
                  <a:lnTo>
                    <a:pt x="385096" y="5810"/>
                  </a:lnTo>
                  <a:lnTo>
                    <a:pt x="383858" y="5239"/>
                  </a:lnTo>
                  <a:lnTo>
                    <a:pt x="383858" y="5239"/>
                  </a:lnTo>
                  <a:cubicBezTo>
                    <a:pt x="383477" y="5048"/>
                    <a:pt x="383000" y="4858"/>
                    <a:pt x="382619" y="4667"/>
                  </a:cubicBezTo>
                  <a:lnTo>
                    <a:pt x="382619" y="4667"/>
                  </a:lnTo>
                  <a:lnTo>
                    <a:pt x="381286" y="4096"/>
                  </a:lnTo>
                  <a:lnTo>
                    <a:pt x="381286" y="4096"/>
                  </a:lnTo>
                  <a:lnTo>
                    <a:pt x="379952" y="3620"/>
                  </a:lnTo>
                  <a:lnTo>
                    <a:pt x="379952" y="3620"/>
                  </a:lnTo>
                  <a:lnTo>
                    <a:pt x="378619" y="3143"/>
                  </a:lnTo>
                  <a:lnTo>
                    <a:pt x="378619" y="3143"/>
                  </a:lnTo>
                  <a:lnTo>
                    <a:pt x="377285" y="2667"/>
                  </a:lnTo>
                  <a:lnTo>
                    <a:pt x="377285" y="2667"/>
                  </a:lnTo>
                  <a:lnTo>
                    <a:pt x="375952" y="2286"/>
                  </a:lnTo>
                  <a:lnTo>
                    <a:pt x="375952" y="2286"/>
                  </a:lnTo>
                  <a:lnTo>
                    <a:pt x="374618" y="1905"/>
                  </a:lnTo>
                  <a:lnTo>
                    <a:pt x="374618" y="1905"/>
                  </a:lnTo>
                  <a:lnTo>
                    <a:pt x="373285" y="1524"/>
                  </a:lnTo>
                  <a:lnTo>
                    <a:pt x="373285" y="1524"/>
                  </a:lnTo>
                  <a:lnTo>
                    <a:pt x="371856" y="1238"/>
                  </a:lnTo>
                  <a:lnTo>
                    <a:pt x="371856" y="1238"/>
                  </a:lnTo>
                  <a:cubicBezTo>
                    <a:pt x="371380" y="1143"/>
                    <a:pt x="370904" y="1048"/>
                    <a:pt x="370427" y="952"/>
                  </a:cubicBezTo>
                  <a:lnTo>
                    <a:pt x="370427" y="952"/>
                  </a:lnTo>
                  <a:lnTo>
                    <a:pt x="368998" y="667"/>
                  </a:lnTo>
                  <a:lnTo>
                    <a:pt x="368998" y="667"/>
                  </a:lnTo>
                  <a:lnTo>
                    <a:pt x="367570" y="476"/>
                  </a:lnTo>
                  <a:lnTo>
                    <a:pt x="367570" y="476"/>
                  </a:lnTo>
                  <a:lnTo>
                    <a:pt x="366141" y="285"/>
                  </a:lnTo>
                  <a:lnTo>
                    <a:pt x="366141" y="285"/>
                  </a:lnTo>
                  <a:lnTo>
                    <a:pt x="364712" y="190"/>
                  </a:lnTo>
                  <a:lnTo>
                    <a:pt x="364712" y="190"/>
                  </a:lnTo>
                  <a:lnTo>
                    <a:pt x="363284" y="95"/>
                  </a:lnTo>
                  <a:lnTo>
                    <a:pt x="363284" y="95"/>
                  </a:lnTo>
                  <a:lnTo>
                    <a:pt x="362807" y="95"/>
                  </a:lnTo>
                  <a:cubicBezTo>
                    <a:pt x="362141" y="95"/>
                    <a:pt x="361569" y="95"/>
                    <a:pt x="360902" y="0"/>
                  </a:cubicBezTo>
                  <a:lnTo>
                    <a:pt x="360426" y="0"/>
                  </a:lnTo>
                  <a:lnTo>
                    <a:pt x="360426" y="0"/>
                  </a:lnTo>
                  <a:lnTo>
                    <a:pt x="340423" y="0"/>
                  </a:lnTo>
                  <a:lnTo>
                    <a:pt x="57912" y="0"/>
                  </a:lnTo>
                  <a:cubicBezTo>
                    <a:pt x="25908" y="0"/>
                    <a:pt x="0" y="25908"/>
                    <a:pt x="0" y="57626"/>
                  </a:cubicBezTo>
                  <a:lnTo>
                    <a:pt x="0" y="57626"/>
                  </a:lnTo>
                  <a:close/>
                  <a:moveTo>
                    <a:pt x="417767" y="57626"/>
                  </a:moveTo>
                  <a:lnTo>
                    <a:pt x="417767" y="57626"/>
                  </a:lnTo>
                  <a:lnTo>
                    <a:pt x="417767" y="57626"/>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90" name="Freeform: Shape 189">
              <a:extLst>
                <a:ext uri="{FF2B5EF4-FFF2-40B4-BE49-F238E27FC236}">
                  <a16:creationId xmlns:a16="http://schemas.microsoft.com/office/drawing/2014/main" id="{957085BC-09FE-4530-8928-A158CE34019F}"/>
                </a:ext>
              </a:extLst>
            </p:cNvPr>
            <p:cNvSpPr/>
            <p:nvPr/>
          </p:nvSpPr>
          <p:spPr>
            <a:xfrm>
              <a:off x="2750550" y="3676824"/>
              <a:ext cx="1739455" cy="1600200"/>
            </a:xfrm>
            <a:custGeom>
              <a:avLst/>
              <a:gdLst>
                <a:gd name="connsiteX0" fmla="*/ 476 w 1739455"/>
                <a:gd name="connsiteY0" fmla="*/ 514921 h 1600200"/>
                <a:gd name="connsiteX1" fmla="*/ 48006 w 1739455"/>
                <a:gd name="connsiteY1" fmla="*/ 442722 h 1600200"/>
                <a:gd name="connsiteX2" fmla="*/ 234791 w 1739455"/>
                <a:gd name="connsiteY2" fmla="*/ 442722 h 1600200"/>
                <a:gd name="connsiteX3" fmla="*/ 319373 w 1739455"/>
                <a:gd name="connsiteY3" fmla="*/ 508063 h 1600200"/>
                <a:gd name="connsiteX4" fmla="*/ 319373 w 1739455"/>
                <a:gd name="connsiteY4" fmla="*/ 527018 h 1600200"/>
                <a:gd name="connsiteX5" fmla="*/ 377000 w 1739455"/>
                <a:gd name="connsiteY5" fmla="*/ 584645 h 1600200"/>
                <a:gd name="connsiteX6" fmla="*/ 405098 w 1739455"/>
                <a:gd name="connsiteY6" fmla="*/ 584645 h 1600200"/>
                <a:gd name="connsiteX7" fmla="*/ 486061 w 1739455"/>
                <a:gd name="connsiteY7" fmla="*/ 665607 h 1600200"/>
                <a:gd name="connsiteX8" fmla="*/ 486061 w 1739455"/>
                <a:gd name="connsiteY8" fmla="*/ 672751 h 1600200"/>
                <a:gd name="connsiteX9" fmla="*/ 486061 w 1739455"/>
                <a:gd name="connsiteY9" fmla="*/ 674275 h 1600200"/>
                <a:gd name="connsiteX10" fmla="*/ 486061 w 1739455"/>
                <a:gd name="connsiteY10" fmla="*/ 674275 h 1600200"/>
                <a:gd name="connsiteX11" fmla="*/ 486156 w 1739455"/>
                <a:gd name="connsiteY11" fmla="*/ 675704 h 1600200"/>
                <a:gd name="connsiteX12" fmla="*/ 486156 w 1739455"/>
                <a:gd name="connsiteY12" fmla="*/ 675704 h 1600200"/>
                <a:gd name="connsiteX13" fmla="*/ 486251 w 1739455"/>
                <a:gd name="connsiteY13" fmla="*/ 677132 h 1600200"/>
                <a:gd name="connsiteX14" fmla="*/ 486251 w 1739455"/>
                <a:gd name="connsiteY14" fmla="*/ 677132 h 1600200"/>
                <a:gd name="connsiteX15" fmla="*/ 486346 w 1739455"/>
                <a:gd name="connsiteY15" fmla="*/ 678561 h 1600200"/>
                <a:gd name="connsiteX16" fmla="*/ 486346 w 1739455"/>
                <a:gd name="connsiteY16" fmla="*/ 678561 h 1600200"/>
                <a:gd name="connsiteX17" fmla="*/ 486537 w 1739455"/>
                <a:gd name="connsiteY17" fmla="*/ 679990 h 1600200"/>
                <a:gd name="connsiteX18" fmla="*/ 486537 w 1739455"/>
                <a:gd name="connsiteY18" fmla="*/ 679990 h 1600200"/>
                <a:gd name="connsiteX19" fmla="*/ 486728 w 1739455"/>
                <a:gd name="connsiteY19" fmla="*/ 681419 h 1600200"/>
                <a:gd name="connsiteX20" fmla="*/ 486728 w 1739455"/>
                <a:gd name="connsiteY20" fmla="*/ 681419 h 1600200"/>
                <a:gd name="connsiteX21" fmla="*/ 486918 w 1739455"/>
                <a:gd name="connsiteY21" fmla="*/ 682847 h 1600200"/>
                <a:gd name="connsiteX22" fmla="*/ 486918 w 1739455"/>
                <a:gd name="connsiteY22" fmla="*/ 682847 h 1600200"/>
                <a:gd name="connsiteX23" fmla="*/ 509206 w 1739455"/>
                <a:gd name="connsiteY23" fmla="*/ 718852 h 1600200"/>
                <a:gd name="connsiteX24" fmla="*/ 509206 w 1739455"/>
                <a:gd name="connsiteY24" fmla="*/ 718852 h 1600200"/>
                <a:gd name="connsiteX25" fmla="*/ 510350 w 1739455"/>
                <a:gd name="connsiteY25" fmla="*/ 719709 h 1600200"/>
                <a:gd name="connsiteX26" fmla="*/ 510350 w 1739455"/>
                <a:gd name="connsiteY26" fmla="*/ 719709 h 1600200"/>
                <a:gd name="connsiteX27" fmla="*/ 511493 w 1739455"/>
                <a:gd name="connsiteY27" fmla="*/ 720471 h 1600200"/>
                <a:gd name="connsiteX28" fmla="*/ 511493 w 1739455"/>
                <a:gd name="connsiteY28" fmla="*/ 720471 h 1600200"/>
                <a:gd name="connsiteX29" fmla="*/ 512636 w 1739455"/>
                <a:gd name="connsiteY29" fmla="*/ 721233 h 1600200"/>
                <a:gd name="connsiteX30" fmla="*/ 512636 w 1739455"/>
                <a:gd name="connsiteY30" fmla="*/ 721233 h 1600200"/>
                <a:gd name="connsiteX31" fmla="*/ 513779 w 1739455"/>
                <a:gd name="connsiteY31" fmla="*/ 721995 h 1600200"/>
                <a:gd name="connsiteX32" fmla="*/ 513779 w 1739455"/>
                <a:gd name="connsiteY32" fmla="*/ 721995 h 1600200"/>
                <a:gd name="connsiteX33" fmla="*/ 514350 w 1739455"/>
                <a:gd name="connsiteY33" fmla="*/ 722281 h 1600200"/>
                <a:gd name="connsiteX34" fmla="*/ 515684 w 1739455"/>
                <a:gd name="connsiteY34" fmla="*/ 723043 h 1600200"/>
                <a:gd name="connsiteX35" fmla="*/ 516255 w 1739455"/>
                <a:gd name="connsiteY35" fmla="*/ 723329 h 1600200"/>
                <a:gd name="connsiteX36" fmla="*/ 516255 w 1739455"/>
                <a:gd name="connsiteY36" fmla="*/ 723329 h 1600200"/>
                <a:gd name="connsiteX37" fmla="*/ 517493 w 1739455"/>
                <a:gd name="connsiteY37" fmla="*/ 723995 h 1600200"/>
                <a:gd name="connsiteX38" fmla="*/ 517493 w 1739455"/>
                <a:gd name="connsiteY38" fmla="*/ 723995 h 1600200"/>
                <a:gd name="connsiteX39" fmla="*/ 518731 w 1739455"/>
                <a:gd name="connsiteY39" fmla="*/ 724662 h 1600200"/>
                <a:gd name="connsiteX40" fmla="*/ 518731 w 1739455"/>
                <a:gd name="connsiteY40" fmla="*/ 724662 h 1600200"/>
                <a:gd name="connsiteX41" fmla="*/ 519970 w 1739455"/>
                <a:gd name="connsiteY41" fmla="*/ 725234 h 1600200"/>
                <a:gd name="connsiteX42" fmla="*/ 519970 w 1739455"/>
                <a:gd name="connsiteY42" fmla="*/ 725234 h 1600200"/>
                <a:gd name="connsiteX43" fmla="*/ 521208 w 1739455"/>
                <a:gd name="connsiteY43" fmla="*/ 725805 h 1600200"/>
                <a:gd name="connsiteX44" fmla="*/ 521208 w 1739455"/>
                <a:gd name="connsiteY44" fmla="*/ 725805 h 1600200"/>
                <a:gd name="connsiteX45" fmla="*/ 522542 w 1739455"/>
                <a:gd name="connsiteY45" fmla="*/ 726377 h 1600200"/>
                <a:gd name="connsiteX46" fmla="*/ 522542 w 1739455"/>
                <a:gd name="connsiteY46" fmla="*/ 726377 h 1600200"/>
                <a:gd name="connsiteX47" fmla="*/ 523875 w 1739455"/>
                <a:gd name="connsiteY47" fmla="*/ 726853 h 1600200"/>
                <a:gd name="connsiteX48" fmla="*/ 523875 w 1739455"/>
                <a:gd name="connsiteY48" fmla="*/ 726853 h 1600200"/>
                <a:gd name="connsiteX49" fmla="*/ 525209 w 1739455"/>
                <a:gd name="connsiteY49" fmla="*/ 727329 h 1600200"/>
                <a:gd name="connsiteX50" fmla="*/ 525209 w 1739455"/>
                <a:gd name="connsiteY50" fmla="*/ 727329 h 1600200"/>
                <a:gd name="connsiteX51" fmla="*/ 525494 w 1739455"/>
                <a:gd name="connsiteY51" fmla="*/ 727424 h 1600200"/>
                <a:gd name="connsiteX52" fmla="*/ 527590 w 1739455"/>
                <a:gd name="connsiteY52" fmla="*/ 728091 h 1600200"/>
                <a:gd name="connsiteX53" fmla="*/ 527876 w 1739455"/>
                <a:gd name="connsiteY53" fmla="*/ 728186 h 1600200"/>
                <a:gd name="connsiteX54" fmla="*/ 527876 w 1739455"/>
                <a:gd name="connsiteY54" fmla="*/ 728186 h 1600200"/>
                <a:gd name="connsiteX55" fmla="*/ 529209 w 1739455"/>
                <a:gd name="connsiteY55" fmla="*/ 728567 h 1600200"/>
                <a:gd name="connsiteX56" fmla="*/ 529209 w 1739455"/>
                <a:gd name="connsiteY56" fmla="*/ 728567 h 1600200"/>
                <a:gd name="connsiteX57" fmla="*/ 530543 w 1739455"/>
                <a:gd name="connsiteY57" fmla="*/ 728948 h 1600200"/>
                <a:gd name="connsiteX58" fmla="*/ 530543 w 1739455"/>
                <a:gd name="connsiteY58" fmla="*/ 728948 h 1600200"/>
                <a:gd name="connsiteX59" fmla="*/ 531971 w 1739455"/>
                <a:gd name="connsiteY59" fmla="*/ 729234 h 1600200"/>
                <a:gd name="connsiteX60" fmla="*/ 531971 w 1739455"/>
                <a:gd name="connsiteY60" fmla="*/ 729234 h 1600200"/>
                <a:gd name="connsiteX61" fmla="*/ 533400 w 1739455"/>
                <a:gd name="connsiteY61" fmla="*/ 729520 h 1600200"/>
                <a:gd name="connsiteX62" fmla="*/ 533400 w 1739455"/>
                <a:gd name="connsiteY62" fmla="*/ 729520 h 1600200"/>
                <a:gd name="connsiteX63" fmla="*/ 533686 w 1739455"/>
                <a:gd name="connsiteY63" fmla="*/ 729520 h 1600200"/>
                <a:gd name="connsiteX64" fmla="*/ 536067 w 1739455"/>
                <a:gd name="connsiteY64" fmla="*/ 729901 h 1600200"/>
                <a:gd name="connsiteX65" fmla="*/ 536353 w 1739455"/>
                <a:gd name="connsiteY65" fmla="*/ 729901 h 1600200"/>
                <a:gd name="connsiteX66" fmla="*/ 536353 w 1739455"/>
                <a:gd name="connsiteY66" fmla="*/ 729901 h 1600200"/>
                <a:gd name="connsiteX67" fmla="*/ 537781 w 1739455"/>
                <a:gd name="connsiteY67" fmla="*/ 730091 h 1600200"/>
                <a:gd name="connsiteX68" fmla="*/ 537781 w 1739455"/>
                <a:gd name="connsiteY68" fmla="*/ 730091 h 1600200"/>
                <a:gd name="connsiteX69" fmla="*/ 539210 w 1739455"/>
                <a:gd name="connsiteY69" fmla="*/ 730187 h 1600200"/>
                <a:gd name="connsiteX70" fmla="*/ 539210 w 1739455"/>
                <a:gd name="connsiteY70" fmla="*/ 730187 h 1600200"/>
                <a:gd name="connsiteX71" fmla="*/ 540639 w 1739455"/>
                <a:gd name="connsiteY71" fmla="*/ 730282 h 1600200"/>
                <a:gd name="connsiteX72" fmla="*/ 540639 w 1739455"/>
                <a:gd name="connsiteY72" fmla="*/ 730282 h 1600200"/>
                <a:gd name="connsiteX73" fmla="*/ 541115 w 1739455"/>
                <a:gd name="connsiteY73" fmla="*/ 730282 h 1600200"/>
                <a:gd name="connsiteX74" fmla="*/ 544259 w 1739455"/>
                <a:gd name="connsiteY74" fmla="*/ 730377 h 1600200"/>
                <a:gd name="connsiteX75" fmla="*/ 563594 w 1739455"/>
                <a:gd name="connsiteY75" fmla="*/ 730377 h 1600200"/>
                <a:gd name="connsiteX76" fmla="*/ 565880 w 1739455"/>
                <a:gd name="connsiteY76" fmla="*/ 730377 h 1600200"/>
                <a:gd name="connsiteX77" fmla="*/ 646843 w 1739455"/>
                <a:gd name="connsiteY77" fmla="*/ 811339 h 1600200"/>
                <a:gd name="connsiteX78" fmla="*/ 646843 w 1739455"/>
                <a:gd name="connsiteY78" fmla="*/ 814864 h 1600200"/>
                <a:gd name="connsiteX79" fmla="*/ 646843 w 1739455"/>
                <a:gd name="connsiteY79" fmla="*/ 816388 h 1600200"/>
                <a:gd name="connsiteX80" fmla="*/ 646843 w 1739455"/>
                <a:gd name="connsiteY80" fmla="*/ 816388 h 1600200"/>
                <a:gd name="connsiteX81" fmla="*/ 646938 w 1739455"/>
                <a:gd name="connsiteY81" fmla="*/ 817817 h 1600200"/>
                <a:gd name="connsiteX82" fmla="*/ 646938 w 1739455"/>
                <a:gd name="connsiteY82" fmla="*/ 817817 h 1600200"/>
                <a:gd name="connsiteX83" fmla="*/ 647033 w 1739455"/>
                <a:gd name="connsiteY83" fmla="*/ 819245 h 1600200"/>
                <a:gd name="connsiteX84" fmla="*/ 647033 w 1739455"/>
                <a:gd name="connsiteY84" fmla="*/ 819245 h 1600200"/>
                <a:gd name="connsiteX85" fmla="*/ 647129 w 1739455"/>
                <a:gd name="connsiteY85" fmla="*/ 820674 h 1600200"/>
                <a:gd name="connsiteX86" fmla="*/ 647129 w 1739455"/>
                <a:gd name="connsiteY86" fmla="*/ 820674 h 1600200"/>
                <a:gd name="connsiteX87" fmla="*/ 647319 w 1739455"/>
                <a:gd name="connsiteY87" fmla="*/ 822103 h 1600200"/>
                <a:gd name="connsiteX88" fmla="*/ 647319 w 1739455"/>
                <a:gd name="connsiteY88" fmla="*/ 822103 h 1600200"/>
                <a:gd name="connsiteX89" fmla="*/ 647510 w 1739455"/>
                <a:gd name="connsiteY89" fmla="*/ 823531 h 1600200"/>
                <a:gd name="connsiteX90" fmla="*/ 647510 w 1739455"/>
                <a:gd name="connsiteY90" fmla="*/ 823531 h 1600200"/>
                <a:gd name="connsiteX91" fmla="*/ 647795 w 1739455"/>
                <a:gd name="connsiteY91" fmla="*/ 824960 h 1600200"/>
                <a:gd name="connsiteX92" fmla="*/ 647795 w 1739455"/>
                <a:gd name="connsiteY92" fmla="*/ 824960 h 1600200"/>
                <a:gd name="connsiteX93" fmla="*/ 648081 w 1739455"/>
                <a:gd name="connsiteY93" fmla="*/ 826389 h 1600200"/>
                <a:gd name="connsiteX94" fmla="*/ 648081 w 1739455"/>
                <a:gd name="connsiteY94" fmla="*/ 826389 h 1600200"/>
                <a:gd name="connsiteX95" fmla="*/ 648367 w 1739455"/>
                <a:gd name="connsiteY95" fmla="*/ 827818 h 1600200"/>
                <a:gd name="connsiteX96" fmla="*/ 648367 w 1739455"/>
                <a:gd name="connsiteY96" fmla="*/ 827818 h 1600200"/>
                <a:gd name="connsiteX97" fmla="*/ 648748 w 1739455"/>
                <a:gd name="connsiteY97" fmla="*/ 829247 h 1600200"/>
                <a:gd name="connsiteX98" fmla="*/ 648748 w 1739455"/>
                <a:gd name="connsiteY98" fmla="*/ 829247 h 1600200"/>
                <a:gd name="connsiteX99" fmla="*/ 700088 w 1739455"/>
                <a:gd name="connsiteY99" fmla="*/ 872300 h 1600200"/>
                <a:gd name="connsiteX100" fmla="*/ 700088 w 1739455"/>
                <a:gd name="connsiteY100" fmla="*/ 872300 h 1600200"/>
                <a:gd name="connsiteX101" fmla="*/ 701516 w 1739455"/>
                <a:gd name="connsiteY101" fmla="*/ 872395 h 1600200"/>
                <a:gd name="connsiteX102" fmla="*/ 701516 w 1739455"/>
                <a:gd name="connsiteY102" fmla="*/ 872395 h 1600200"/>
                <a:gd name="connsiteX103" fmla="*/ 701993 w 1739455"/>
                <a:gd name="connsiteY103" fmla="*/ 872395 h 1600200"/>
                <a:gd name="connsiteX104" fmla="*/ 705136 w 1739455"/>
                <a:gd name="connsiteY104" fmla="*/ 872490 h 1600200"/>
                <a:gd name="connsiteX105" fmla="*/ 712565 w 1739455"/>
                <a:gd name="connsiteY105" fmla="*/ 872490 h 1600200"/>
                <a:gd name="connsiteX106" fmla="*/ 793528 w 1739455"/>
                <a:gd name="connsiteY106" fmla="*/ 953453 h 1600200"/>
                <a:gd name="connsiteX107" fmla="*/ 793528 w 1739455"/>
                <a:gd name="connsiteY107" fmla="*/ 956977 h 1600200"/>
                <a:gd name="connsiteX108" fmla="*/ 793528 w 1739455"/>
                <a:gd name="connsiteY108" fmla="*/ 958501 h 1600200"/>
                <a:gd name="connsiteX109" fmla="*/ 793528 w 1739455"/>
                <a:gd name="connsiteY109" fmla="*/ 958501 h 1600200"/>
                <a:gd name="connsiteX110" fmla="*/ 793623 w 1739455"/>
                <a:gd name="connsiteY110" fmla="*/ 959930 h 1600200"/>
                <a:gd name="connsiteX111" fmla="*/ 793623 w 1739455"/>
                <a:gd name="connsiteY111" fmla="*/ 959930 h 1600200"/>
                <a:gd name="connsiteX112" fmla="*/ 793718 w 1739455"/>
                <a:gd name="connsiteY112" fmla="*/ 961358 h 1600200"/>
                <a:gd name="connsiteX113" fmla="*/ 793718 w 1739455"/>
                <a:gd name="connsiteY113" fmla="*/ 961358 h 1600200"/>
                <a:gd name="connsiteX114" fmla="*/ 793813 w 1739455"/>
                <a:gd name="connsiteY114" fmla="*/ 962787 h 1600200"/>
                <a:gd name="connsiteX115" fmla="*/ 793813 w 1739455"/>
                <a:gd name="connsiteY115" fmla="*/ 962787 h 1600200"/>
                <a:gd name="connsiteX116" fmla="*/ 794004 w 1739455"/>
                <a:gd name="connsiteY116" fmla="*/ 964216 h 1600200"/>
                <a:gd name="connsiteX117" fmla="*/ 794004 w 1739455"/>
                <a:gd name="connsiteY117" fmla="*/ 964216 h 1600200"/>
                <a:gd name="connsiteX118" fmla="*/ 794195 w 1739455"/>
                <a:gd name="connsiteY118" fmla="*/ 965645 h 1600200"/>
                <a:gd name="connsiteX119" fmla="*/ 794195 w 1739455"/>
                <a:gd name="connsiteY119" fmla="*/ 965645 h 1600200"/>
                <a:gd name="connsiteX120" fmla="*/ 823151 w 1739455"/>
                <a:gd name="connsiteY120" fmla="*/ 1007269 h 1600200"/>
                <a:gd name="connsiteX121" fmla="*/ 823722 w 1739455"/>
                <a:gd name="connsiteY121" fmla="*/ 1007555 h 1600200"/>
                <a:gd name="connsiteX122" fmla="*/ 823722 w 1739455"/>
                <a:gd name="connsiteY122" fmla="*/ 1007555 h 1600200"/>
                <a:gd name="connsiteX123" fmla="*/ 824960 w 1739455"/>
                <a:gd name="connsiteY123" fmla="*/ 1008221 h 1600200"/>
                <a:gd name="connsiteX124" fmla="*/ 824960 w 1739455"/>
                <a:gd name="connsiteY124" fmla="*/ 1008221 h 1600200"/>
                <a:gd name="connsiteX125" fmla="*/ 826198 w 1739455"/>
                <a:gd name="connsiteY125" fmla="*/ 1008888 h 1600200"/>
                <a:gd name="connsiteX126" fmla="*/ 826198 w 1739455"/>
                <a:gd name="connsiteY126" fmla="*/ 1008888 h 1600200"/>
                <a:gd name="connsiteX127" fmla="*/ 827437 w 1739455"/>
                <a:gd name="connsiteY127" fmla="*/ 1009460 h 1600200"/>
                <a:gd name="connsiteX128" fmla="*/ 827437 w 1739455"/>
                <a:gd name="connsiteY128" fmla="*/ 1009460 h 1600200"/>
                <a:gd name="connsiteX129" fmla="*/ 828675 w 1739455"/>
                <a:gd name="connsiteY129" fmla="*/ 1010031 h 1600200"/>
                <a:gd name="connsiteX130" fmla="*/ 828675 w 1739455"/>
                <a:gd name="connsiteY130" fmla="*/ 1010031 h 1600200"/>
                <a:gd name="connsiteX131" fmla="*/ 830009 w 1739455"/>
                <a:gd name="connsiteY131" fmla="*/ 1010603 h 1600200"/>
                <a:gd name="connsiteX132" fmla="*/ 830009 w 1739455"/>
                <a:gd name="connsiteY132" fmla="*/ 1010603 h 1600200"/>
                <a:gd name="connsiteX133" fmla="*/ 831342 w 1739455"/>
                <a:gd name="connsiteY133" fmla="*/ 1011079 h 1600200"/>
                <a:gd name="connsiteX134" fmla="*/ 831342 w 1739455"/>
                <a:gd name="connsiteY134" fmla="*/ 1011079 h 1600200"/>
                <a:gd name="connsiteX135" fmla="*/ 832676 w 1739455"/>
                <a:gd name="connsiteY135" fmla="*/ 1011555 h 1600200"/>
                <a:gd name="connsiteX136" fmla="*/ 832676 w 1739455"/>
                <a:gd name="connsiteY136" fmla="*/ 1011555 h 1600200"/>
                <a:gd name="connsiteX137" fmla="*/ 832961 w 1739455"/>
                <a:gd name="connsiteY137" fmla="*/ 1011650 h 1600200"/>
                <a:gd name="connsiteX138" fmla="*/ 835057 w 1739455"/>
                <a:gd name="connsiteY138" fmla="*/ 1012317 h 1600200"/>
                <a:gd name="connsiteX139" fmla="*/ 835343 w 1739455"/>
                <a:gd name="connsiteY139" fmla="*/ 1012412 h 1600200"/>
                <a:gd name="connsiteX140" fmla="*/ 835343 w 1739455"/>
                <a:gd name="connsiteY140" fmla="*/ 1012412 h 1600200"/>
                <a:gd name="connsiteX141" fmla="*/ 836676 w 1739455"/>
                <a:gd name="connsiteY141" fmla="*/ 1012793 h 1600200"/>
                <a:gd name="connsiteX142" fmla="*/ 836676 w 1739455"/>
                <a:gd name="connsiteY142" fmla="*/ 1012793 h 1600200"/>
                <a:gd name="connsiteX143" fmla="*/ 838010 w 1739455"/>
                <a:gd name="connsiteY143" fmla="*/ 1013174 h 1600200"/>
                <a:gd name="connsiteX144" fmla="*/ 838010 w 1739455"/>
                <a:gd name="connsiteY144" fmla="*/ 1013174 h 1600200"/>
                <a:gd name="connsiteX145" fmla="*/ 839438 w 1739455"/>
                <a:gd name="connsiteY145" fmla="*/ 1013460 h 1600200"/>
                <a:gd name="connsiteX146" fmla="*/ 839438 w 1739455"/>
                <a:gd name="connsiteY146" fmla="*/ 1013460 h 1600200"/>
                <a:gd name="connsiteX147" fmla="*/ 840867 w 1739455"/>
                <a:gd name="connsiteY147" fmla="*/ 1013746 h 1600200"/>
                <a:gd name="connsiteX148" fmla="*/ 840867 w 1739455"/>
                <a:gd name="connsiteY148" fmla="*/ 1013746 h 1600200"/>
                <a:gd name="connsiteX149" fmla="*/ 841153 w 1739455"/>
                <a:gd name="connsiteY149" fmla="*/ 1013746 h 1600200"/>
                <a:gd name="connsiteX150" fmla="*/ 843534 w 1739455"/>
                <a:gd name="connsiteY150" fmla="*/ 1014127 h 1600200"/>
                <a:gd name="connsiteX151" fmla="*/ 843820 w 1739455"/>
                <a:gd name="connsiteY151" fmla="*/ 1014127 h 1600200"/>
                <a:gd name="connsiteX152" fmla="*/ 843820 w 1739455"/>
                <a:gd name="connsiteY152" fmla="*/ 1014127 h 1600200"/>
                <a:gd name="connsiteX153" fmla="*/ 845248 w 1739455"/>
                <a:gd name="connsiteY153" fmla="*/ 1014317 h 1600200"/>
                <a:gd name="connsiteX154" fmla="*/ 845248 w 1739455"/>
                <a:gd name="connsiteY154" fmla="*/ 1014317 h 1600200"/>
                <a:gd name="connsiteX155" fmla="*/ 846677 w 1739455"/>
                <a:gd name="connsiteY155" fmla="*/ 1014413 h 1600200"/>
                <a:gd name="connsiteX156" fmla="*/ 846677 w 1739455"/>
                <a:gd name="connsiteY156" fmla="*/ 1014413 h 1600200"/>
                <a:gd name="connsiteX157" fmla="*/ 848106 w 1739455"/>
                <a:gd name="connsiteY157" fmla="*/ 1014508 h 1600200"/>
                <a:gd name="connsiteX158" fmla="*/ 848106 w 1739455"/>
                <a:gd name="connsiteY158" fmla="*/ 1014508 h 1600200"/>
                <a:gd name="connsiteX159" fmla="*/ 848582 w 1739455"/>
                <a:gd name="connsiteY159" fmla="*/ 1014508 h 1600200"/>
                <a:gd name="connsiteX160" fmla="*/ 851726 w 1739455"/>
                <a:gd name="connsiteY160" fmla="*/ 1014603 h 1600200"/>
                <a:gd name="connsiteX161" fmla="*/ 871156 w 1739455"/>
                <a:gd name="connsiteY161" fmla="*/ 1014603 h 1600200"/>
                <a:gd name="connsiteX162" fmla="*/ 878110 w 1739455"/>
                <a:gd name="connsiteY162" fmla="*/ 1014603 h 1600200"/>
                <a:gd name="connsiteX163" fmla="*/ 959072 w 1739455"/>
                <a:gd name="connsiteY163" fmla="*/ 1095566 h 1600200"/>
                <a:gd name="connsiteX164" fmla="*/ 959072 w 1739455"/>
                <a:gd name="connsiteY164" fmla="*/ 1105376 h 1600200"/>
                <a:gd name="connsiteX165" fmla="*/ 959072 w 1739455"/>
                <a:gd name="connsiteY165" fmla="*/ 1106805 h 1600200"/>
                <a:gd name="connsiteX166" fmla="*/ 959072 w 1739455"/>
                <a:gd name="connsiteY166" fmla="*/ 1106805 h 1600200"/>
                <a:gd name="connsiteX167" fmla="*/ 959168 w 1739455"/>
                <a:gd name="connsiteY167" fmla="*/ 1108234 h 1600200"/>
                <a:gd name="connsiteX168" fmla="*/ 959168 w 1739455"/>
                <a:gd name="connsiteY168" fmla="*/ 1108234 h 1600200"/>
                <a:gd name="connsiteX169" fmla="*/ 959263 w 1739455"/>
                <a:gd name="connsiteY169" fmla="*/ 1109663 h 1600200"/>
                <a:gd name="connsiteX170" fmla="*/ 959263 w 1739455"/>
                <a:gd name="connsiteY170" fmla="*/ 1109663 h 1600200"/>
                <a:gd name="connsiteX171" fmla="*/ 959358 w 1739455"/>
                <a:gd name="connsiteY171" fmla="*/ 1111091 h 1600200"/>
                <a:gd name="connsiteX172" fmla="*/ 959358 w 1739455"/>
                <a:gd name="connsiteY172" fmla="*/ 1111091 h 1600200"/>
                <a:gd name="connsiteX173" fmla="*/ 959548 w 1739455"/>
                <a:gd name="connsiteY173" fmla="*/ 1112520 h 1600200"/>
                <a:gd name="connsiteX174" fmla="*/ 959548 w 1739455"/>
                <a:gd name="connsiteY174" fmla="*/ 1112520 h 1600200"/>
                <a:gd name="connsiteX175" fmla="*/ 959739 w 1739455"/>
                <a:gd name="connsiteY175" fmla="*/ 1113949 h 1600200"/>
                <a:gd name="connsiteX176" fmla="*/ 959739 w 1739455"/>
                <a:gd name="connsiteY176" fmla="*/ 1113949 h 1600200"/>
                <a:gd name="connsiteX177" fmla="*/ 959930 w 1739455"/>
                <a:gd name="connsiteY177" fmla="*/ 1115378 h 1600200"/>
                <a:gd name="connsiteX178" fmla="*/ 959930 w 1739455"/>
                <a:gd name="connsiteY178" fmla="*/ 1115378 h 1600200"/>
                <a:gd name="connsiteX179" fmla="*/ 960215 w 1739455"/>
                <a:gd name="connsiteY179" fmla="*/ 1116806 h 1600200"/>
                <a:gd name="connsiteX180" fmla="*/ 960215 w 1739455"/>
                <a:gd name="connsiteY180" fmla="*/ 1116806 h 1600200"/>
                <a:gd name="connsiteX181" fmla="*/ 960501 w 1739455"/>
                <a:gd name="connsiteY181" fmla="*/ 1118235 h 1600200"/>
                <a:gd name="connsiteX182" fmla="*/ 960501 w 1739455"/>
                <a:gd name="connsiteY182" fmla="*/ 1118235 h 1600200"/>
                <a:gd name="connsiteX183" fmla="*/ 960882 w 1739455"/>
                <a:gd name="connsiteY183" fmla="*/ 1119664 h 1600200"/>
                <a:gd name="connsiteX184" fmla="*/ 960882 w 1739455"/>
                <a:gd name="connsiteY184" fmla="*/ 1119664 h 1600200"/>
                <a:gd name="connsiteX185" fmla="*/ 961263 w 1739455"/>
                <a:gd name="connsiteY185" fmla="*/ 1120997 h 1600200"/>
                <a:gd name="connsiteX186" fmla="*/ 961263 w 1739455"/>
                <a:gd name="connsiteY186" fmla="*/ 1120997 h 1600200"/>
                <a:gd name="connsiteX187" fmla="*/ 961644 w 1739455"/>
                <a:gd name="connsiteY187" fmla="*/ 1122331 h 1600200"/>
                <a:gd name="connsiteX188" fmla="*/ 961644 w 1739455"/>
                <a:gd name="connsiteY188" fmla="*/ 1122331 h 1600200"/>
                <a:gd name="connsiteX189" fmla="*/ 962120 w 1739455"/>
                <a:gd name="connsiteY189" fmla="*/ 1123664 h 1600200"/>
                <a:gd name="connsiteX190" fmla="*/ 962120 w 1739455"/>
                <a:gd name="connsiteY190" fmla="*/ 1123664 h 1600200"/>
                <a:gd name="connsiteX191" fmla="*/ 962597 w 1739455"/>
                <a:gd name="connsiteY191" fmla="*/ 1124998 h 1600200"/>
                <a:gd name="connsiteX192" fmla="*/ 962597 w 1739455"/>
                <a:gd name="connsiteY192" fmla="*/ 1124998 h 1600200"/>
                <a:gd name="connsiteX193" fmla="*/ 963073 w 1739455"/>
                <a:gd name="connsiteY193" fmla="*/ 1126331 h 1600200"/>
                <a:gd name="connsiteX194" fmla="*/ 963073 w 1739455"/>
                <a:gd name="connsiteY194" fmla="*/ 1126331 h 1600200"/>
                <a:gd name="connsiteX195" fmla="*/ 963644 w 1739455"/>
                <a:gd name="connsiteY195" fmla="*/ 1127665 h 1600200"/>
                <a:gd name="connsiteX196" fmla="*/ 963644 w 1739455"/>
                <a:gd name="connsiteY196" fmla="*/ 1127665 h 1600200"/>
                <a:gd name="connsiteX197" fmla="*/ 964216 w 1739455"/>
                <a:gd name="connsiteY197" fmla="*/ 1128903 h 1600200"/>
                <a:gd name="connsiteX198" fmla="*/ 964216 w 1739455"/>
                <a:gd name="connsiteY198" fmla="*/ 1128903 h 1600200"/>
                <a:gd name="connsiteX199" fmla="*/ 964787 w 1739455"/>
                <a:gd name="connsiteY199" fmla="*/ 1130141 h 1600200"/>
                <a:gd name="connsiteX200" fmla="*/ 964787 w 1739455"/>
                <a:gd name="connsiteY200" fmla="*/ 1130141 h 1600200"/>
                <a:gd name="connsiteX201" fmla="*/ 965454 w 1739455"/>
                <a:gd name="connsiteY201" fmla="*/ 1131380 h 1600200"/>
                <a:gd name="connsiteX202" fmla="*/ 965454 w 1739455"/>
                <a:gd name="connsiteY202" fmla="*/ 1131380 h 1600200"/>
                <a:gd name="connsiteX203" fmla="*/ 966121 w 1739455"/>
                <a:gd name="connsiteY203" fmla="*/ 1132618 h 1600200"/>
                <a:gd name="connsiteX204" fmla="*/ 966121 w 1739455"/>
                <a:gd name="connsiteY204" fmla="*/ 1132618 h 1600200"/>
                <a:gd name="connsiteX205" fmla="*/ 966788 w 1739455"/>
                <a:gd name="connsiteY205" fmla="*/ 1133856 h 1600200"/>
                <a:gd name="connsiteX206" fmla="*/ 966788 w 1739455"/>
                <a:gd name="connsiteY206" fmla="*/ 1133856 h 1600200"/>
                <a:gd name="connsiteX207" fmla="*/ 967454 w 1739455"/>
                <a:gd name="connsiteY207" fmla="*/ 1135094 h 1600200"/>
                <a:gd name="connsiteX208" fmla="*/ 967454 w 1739455"/>
                <a:gd name="connsiteY208" fmla="*/ 1135094 h 1600200"/>
                <a:gd name="connsiteX209" fmla="*/ 968216 w 1739455"/>
                <a:gd name="connsiteY209" fmla="*/ 1136237 h 1600200"/>
                <a:gd name="connsiteX210" fmla="*/ 968216 w 1739455"/>
                <a:gd name="connsiteY210" fmla="*/ 1136237 h 1600200"/>
                <a:gd name="connsiteX211" fmla="*/ 968978 w 1739455"/>
                <a:gd name="connsiteY211" fmla="*/ 1137380 h 1600200"/>
                <a:gd name="connsiteX212" fmla="*/ 968978 w 1739455"/>
                <a:gd name="connsiteY212" fmla="*/ 1137380 h 1600200"/>
                <a:gd name="connsiteX213" fmla="*/ 969740 w 1739455"/>
                <a:gd name="connsiteY213" fmla="*/ 1138523 h 1600200"/>
                <a:gd name="connsiteX214" fmla="*/ 969740 w 1739455"/>
                <a:gd name="connsiteY214" fmla="*/ 1138523 h 1600200"/>
                <a:gd name="connsiteX215" fmla="*/ 970597 w 1739455"/>
                <a:gd name="connsiteY215" fmla="*/ 1139666 h 1600200"/>
                <a:gd name="connsiteX216" fmla="*/ 970597 w 1739455"/>
                <a:gd name="connsiteY216" fmla="*/ 1139666 h 1600200"/>
                <a:gd name="connsiteX217" fmla="*/ 971455 w 1739455"/>
                <a:gd name="connsiteY217" fmla="*/ 1140809 h 1600200"/>
                <a:gd name="connsiteX218" fmla="*/ 971455 w 1739455"/>
                <a:gd name="connsiteY218" fmla="*/ 1140809 h 1600200"/>
                <a:gd name="connsiteX219" fmla="*/ 972312 w 1739455"/>
                <a:gd name="connsiteY219" fmla="*/ 1141857 h 1600200"/>
                <a:gd name="connsiteX220" fmla="*/ 972312 w 1739455"/>
                <a:gd name="connsiteY220" fmla="*/ 1141857 h 1600200"/>
                <a:gd name="connsiteX221" fmla="*/ 973169 w 1739455"/>
                <a:gd name="connsiteY221" fmla="*/ 1142905 h 1600200"/>
                <a:gd name="connsiteX222" fmla="*/ 973169 w 1739455"/>
                <a:gd name="connsiteY222" fmla="*/ 1142905 h 1600200"/>
                <a:gd name="connsiteX223" fmla="*/ 974122 w 1739455"/>
                <a:gd name="connsiteY223" fmla="*/ 1143953 h 1600200"/>
                <a:gd name="connsiteX224" fmla="*/ 974122 w 1739455"/>
                <a:gd name="connsiteY224" fmla="*/ 1143953 h 1600200"/>
                <a:gd name="connsiteX225" fmla="*/ 975074 w 1739455"/>
                <a:gd name="connsiteY225" fmla="*/ 1145000 h 1600200"/>
                <a:gd name="connsiteX226" fmla="*/ 975074 w 1739455"/>
                <a:gd name="connsiteY226" fmla="*/ 1145000 h 1600200"/>
                <a:gd name="connsiteX227" fmla="*/ 976027 w 1739455"/>
                <a:gd name="connsiteY227" fmla="*/ 1145953 h 1600200"/>
                <a:gd name="connsiteX228" fmla="*/ 976027 w 1739455"/>
                <a:gd name="connsiteY228" fmla="*/ 1145953 h 1600200"/>
                <a:gd name="connsiteX229" fmla="*/ 976979 w 1739455"/>
                <a:gd name="connsiteY229" fmla="*/ 1146905 h 1600200"/>
                <a:gd name="connsiteX230" fmla="*/ 976979 w 1739455"/>
                <a:gd name="connsiteY230" fmla="*/ 1146905 h 1600200"/>
                <a:gd name="connsiteX231" fmla="*/ 978027 w 1739455"/>
                <a:gd name="connsiteY231" fmla="*/ 1147858 h 1600200"/>
                <a:gd name="connsiteX232" fmla="*/ 978027 w 1739455"/>
                <a:gd name="connsiteY232" fmla="*/ 1147858 h 1600200"/>
                <a:gd name="connsiteX233" fmla="*/ 979075 w 1739455"/>
                <a:gd name="connsiteY233" fmla="*/ 1148810 h 1600200"/>
                <a:gd name="connsiteX234" fmla="*/ 979075 w 1739455"/>
                <a:gd name="connsiteY234" fmla="*/ 1148810 h 1600200"/>
                <a:gd name="connsiteX235" fmla="*/ 980122 w 1739455"/>
                <a:gd name="connsiteY235" fmla="*/ 1149668 h 1600200"/>
                <a:gd name="connsiteX236" fmla="*/ 980122 w 1739455"/>
                <a:gd name="connsiteY236" fmla="*/ 1149668 h 1600200"/>
                <a:gd name="connsiteX237" fmla="*/ 981170 w 1739455"/>
                <a:gd name="connsiteY237" fmla="*/ 1150525 h 1600200"/>
                <a:gd name="connsiteX238" fmla="*/ 981170 w 1739455"/>
                <a:gd name="connsiteY238" fmla="*/ 1150525 h 1600200"/>
                <a:gd name="connsiteX239" fmla="*/ 982218 w 1739455"/>
                <a:gd name="connsiteY239" fmla="*/ 1151382 h 1600200"/>
                <a:gd name="connsiteX240" fmla="*/ 982218 w 1739455"/>
                <a:gd name="connsiteY240" fmla="*/ 1151382 h 1600200"/>
                <a:gd name="connsiteX241" fmla="*/ 983361 w 1739455"/>
                <a:gd name="connsiteY241" fmla="*/ 1152239 h 1600200"/>
                <a:gd name="connsiteX242" fmla="*/ 983361 w 1739455"/>
                <a:gd name="connsiteY242" fmla="*/ 1152239 h 1600200"/>
                <a:gd name="connsiteX243" fmla="*/ 984504 w 1739455"/>
                <a:gd name="connsiteY243" fmla="*/ 1153001 h 1600200"/>
                <a:gd name="connsiteX244" fmla="*/ 984504 w 1739455"/>
                <a:gd name="connsiteY244" fmla="*/ 1153001 h 1600200"/>
                <a:gd name="connsiteX245" fmla="*/ 985647 w 1739455"/>
                <a:gd name="connsiteY245" fmla="*/ 1153763 h 1600200"/>
                <a:gd name="connsiteX246" fmla="*/ 985647 w 1739455"/>
                <a:gd name="connsiteY246" fmla="*/ 1153763 h 1600200"/>
                <a:gd name="connsiteX247" fmla="*/ 986790 w 1739455"/>
                <a:gd name="connsiteY247" fmla="*/ 1154525 h 1600200"/>
                <a:gd name="connsiteX248" fmla="*/ 986790 w 1739455"/>
                <a:gd name="connsiteY248" fmla="*/ 1154525 h 1600200"/>
                <a:gd name="connsiteX249" fmla="*/ 988028 w 1739455"/>
                <a:gd name="connsiteY249" fmla="*/ 1155192 h 1600200"/>
                <a:gd name="connsiteX250" fmla="*/ 988028 w 1739455"/>
                <a:gd name="connsiteY250" fmla="*/ 1155192 h 1600200"/>
                <a:gd name="connsiteX251" fmla="*/ 989267 w 1739455"/>
                <a:gd name="connsiteY251" fmla="*/ 1155859 h 1600200"/>
                <a:gd name="connsiteX252" fmla="*/ 989267 w 1739455"/>
                <a:gd name="connsiteY252" fmla="*/ 1155859 h 1600200"/>
                <a:gd name="connsiteX253" fmla="*/ 990505 w 1739455"/>
                <a:gd name="connsiteY253" fmla="*/ 1156526 h 1600200"/>
                <a:gd name="connsiteX254" fmla="*/ 990505 w 1739455"/>
                <a:gd name="connsiteY254" fmla="*/ 1156526 h 1600200"/>
                <a:gd name="connsiteX255" fmla="*/ 991743 w 1739455"/>
                <a:gd name="connsiteY255" fmla="*/ 1157192 h 1600200"/>
                <a:gd name="connsiteX256" fmla="*/ 991743 w 1739455"/>
                <a:gd name="connsiteY256" fmla="*/ 1157192 h 1600200"/>
                <a:gd name="connsiteX257" fmla="*/ 992981 w 1739455"/>
                <a:gd name="connsiteY257" fmla="*/ 1157764 h 1600200"/>
                <a:gd name="connsiteX258" fmla="*/ 992981 w 1739455"/>
                <a:gd name="connsiteY258" fmla="*/ 1157764 h 1600200"/>
                <a:gd name="connsiteX259" fmla="*/ 994220 w 1739455"/>
                <a:gd name="connsiteY259" fmla="*/ 1158335 h 1600200"/>
                <a:gd name="connsiteX260" fmla="*/ 994220 w 1739455"/>
                <a:gd name="connsiteY260" fmla="*/ 1158335 h 1600200"/>
                <a:gd name="connsiteX261" fmla="*/ 995553 w 1739455"/>
                <a:gd name="connsiteY261" fmla="*/ 1158907 h 1600200"/>
                <a:gd name="connsiteX262" fmla="*/ 995553 w 1739455"/>
                <a:gd name="connsiteY262" fmla="*/ 1158907 h 1600200"/>
                <a:gd name="connsiteX263" fmla="*/ 996887 w 1739455"/>
                <a:gd name="connsiteY263" fmla="*/ 1159383 h 1600200"/>
                <a:gd name="connsiteX264" fmla="*/ 996887 w 1739455"/>
                <a:gd name="connsiteY264" fmla="*/ 1159383 h 1600200"/>
                <a:gd name="connsiteX265" fmla="*/ 998220 w 1739455"/>
                <a:gd name="connsiteY265" fmla="*/ 1159859 h 1600200"/>
                <a:gd name="connsiteX266" fmla="*/ 998220 w 1739455"/>
                <a:gd name="connsiteY266" fmla="*/ 1159859 h 1600200"/>
                <a:gd name="connsiteX267" fmla="*/ 999554 w 1739455"/>
                <a:gd name="connsiteY267" fmla="*/ 1160336 h 1600200"/>
                <a:gd name="connsiteX268" fmla="*/ 999554 w 1739455"/>
                <a:gd name="connsiteY268" fmla="*/ 1160336 h 1600200"/>
                <a:gd name="connsiteX269" fmla="*/ 1000887 w 1739455"/>
                <a:gd name="connsiteY269" fmla="*/ 1160717 h 1600200"/>
                <a:gd name="connsiteX270" fmla="*/ 1000887 w 1739455"/>
                <a:gd name="connsiteY270" fmla="*/ 1160717 h 1600200"/>
                <a:gd name="connsiteX271" fmla="*/ 1002221 w 1739455"/>
                <a:gd name="connsiteY271" fmla="*/ 1161098 h 1600200"/>
                <a:gd name="connsiteX272" fmla="*/ 1002221 w 1739455"/>
                <a:gd name="connsiteY272" fmla="*/ 1161098 h 1600200"/>
                <a:gd name="connsiteX273" fmla="*/ 1003554 w 1739455"/>
                <a:gd name="connsiteY273" fmla="*/ 1161479 h 1600200"/>
                <a:gd name="connsiteX274" fmla="*/ 1003554 w 1739455"/>
                <a:gd name="connsiteY274" fmla="*/ 1161479 h 1600200"/>
                <a:gd name="connsiteX275" fmla="*/ 1004983 w 1739455"/>
                <a:gd name="connsiteY275" fmla="*/ 1161764 h 1600200"/>
                <a:gd name="connsiteX276" fmla="*/ 1004983 w 1739455"/>
                <a:gd name="connsiteY276" fmla="*/ 1161764 h 1600200"/>
                <a:gd name="connsiteX277" fmla="*/ 1006412 w 1739455"/>
                <a:gd name="connsiteY277" fmla="*/ 1162050 h 1600200"/>
                <a:gd name="connsiteX278" fmla="*/ 1006412 w 1739455"/>
                <a:gd name="connsiteY278" fmla="*/ 1162050 h 1600200"/>
                <a:gd name="connsiteX279" fmla="*/ 1007840 w 1739455"/>
                <a:gd name="connsiteY279" fmla="*/ 1162336 h 1600200"/>
                <a:gd name="connsiteX280" fmla="*/ 1007840 w 1739455"/>
                <a:gd name="connsiteY280" fmla="*/ 1162336 h 1600200"/>
                <a:gd name="connsiteX281" fmla="*/ 1009269 w 1739455"/>
                <a:gd name="connsiteY281" fmla="*/ 1162526 h 1600200"/>
                <a:gd name="connsiteX282" fmla="*/ 1009269 w 1739455"/>
                <a:gd name="connsiteY282" fmla="*/ 1162526 h 1600200"/>
                <a:gd name="connsiteX283" fmla="*/ 1010698 w 1739455"/>
                <a:gd name="connsiteY283" fmla="*/ 1162717 h 1600200"/>
                <a:gd name="connsiteX284" fmla="*/ 1010698 w 1739455"/>
                <a:gd name="connsiteY284" fmla="*/ 1162717 h 1600200"/>
                <a:gd name="connsiteX285" fmla="*/ 1012127 w 1739455"/>
                <a:gd name="connsiteY285" fmla="*/ 1162812 h 1600200"/>
                <a:gd name="connsiteX286" fmla="*/ 1012127 w 1739455"/>
                <a:gd name="connsiteY286" fmla="*/ 1162812 h 1600200"/>
                <a:gd name="connsiteX287" fmla="*/ 1013555 w 1739455"/>
                <a:gd name="connsiteY287" fmla="*/ 1162907 h 1600200"/>
                <a:gd name="connsiteX288" fmla="*/ 1013555 w 1739455"/>
                <a:gd name="connsiteY288" fmla="*/ 1162907 h 1600200"/>
                <a:gd name="connsiteX289" fmla="*/ 1014031 w 1739455"/>
                <a:gd name="connsiteY289" fmla="*/ 1162907 h 1600200"/>
                <a:gd name="connsiteX290" fmla="*/ 1017175 w 1739455"/>
                <a:gd name="connsiteY290" fmla="*/ 1163003 h 1600200"/>
                <a:gd name="connsiteX291" fmla="*/ 1047560 w 1739455"/>
                <a:gd name="connsiteY291" fmla="*/ 1163003 h 1600200"/>
                <a:gd name="connsiteX292" fmla="*/ 1199483 w 1739455"/>
                <a:gd name="connsiteY292" fmla="*/ 1163003 h 1600200"/>
                <a:gd name="connsiteX293" fmla="*/ 1280446 w 1739455"/>
                <a:gd name="connsiteY293" fmla="*/ 1243965 h 1600200"/>
                <a:gd name="connsiteX294" fmla="*/ 1280446 w 1739455"/>
                <a:gd name="connsiteY294" fmla="*/ 1375886 h 1600200"/>
                <a:gd name="connsiteX295" fmla="*/ 1280446 w 1739455"/>
                <a:gd name="connsiteY295" fmla="*/ 1539431 h 1600200"/>
                <a:gd name="connsiteX296" fmla="*/ 1280446 w 1739455"/>
                <a:gd name="connsiteY296" fmla="*/ 1542574 h 1600200"/>
                <a:gd name="connsiteX297" fmla="*/ 1338072 w 1739455"/>
                <a:gd name="connsiteY297" fmla="*/ 1600200 h 1600200"/>
                <a:gd name="connsiteX298" fmla="*/ 1358075 w 1739455"/>
                <a:gd name="connsiteY298" fmla="*/ 1600200 h 1600200"/>
                <a:gd name="connsiteX299" fmla="*/ 1415701 w 1739455"/>
                <a:gd name="connsiteY299" fmla="*/ 1542574 h 1600200"/>
                <a:gd name="connsiteX300" fmla="*/ 1415701 w 1739455"/>
                <a:gd name="connsiteY300" fmla="*/ 1534477 h 1600200"/>
                <a:gd name="connsiteX301" fmla="*/ 1496663 w 1739455"/>
                <a:gd name="connsiteY301" fmla="*/ 1453515 h 1600200"/>
                <a:gd name="connsiteX302" fmla="*/ 1527239 w 1739455"/>
                <a:gd name="connsiteY302" fmla="*/ 1453515 h 1600200"/>
                <a:gd name="connsiteX303" fmla="*/ 1584865 w 1739455"/>
                <a:gd name="connsiteY303" fmla="*/ 1395889 h 1600200"/>
                <a:gd name="connsiteX304" fmla="*/ 1584865 w 1739455"/>
                <a:gd name="connsiteY304" fmla="*/ 1375886 h 1600200"/>
                <a:gd name="connsiteX305" fmla="*/ 1546765 w 1739455"/>
                <a:gd name="connsiteY305" fmla="*/ 1321689 h 1600200"/>
                <a:gd name="connsiteX306" fmla="*/ 1477518 w 1739455"/>
                <a:gd name="connsiteY306" fmla="*/ 1318070 h 1600200"/>
                <a:gd name="connsiteX307" fmla="*/ 1429988 w 1739455"/>
                <a:gd name="connsiteY307" fmla="*/ 1231487 h 1600200"/>
                <a:gd name="connsiteX308" fmla="*/ 1498759 w 1739455"/>
                <a:gd name="connsiteY308" fmla="*/ 1164527 h 1600200"/>
                <a:gd name="connsiteX309" fmla="*/ 1681829 w 1739455"/>
                <a:gd name="connsiteY309" fmla="*/ 1164527 h 1600200"/>
                <a:gd name="connsiteX310" fmla="*/ 1739456 w 1739455"/>
                <a:gd name="connsiteY310" fmla="*/ 1106900 h 1600200"/>
                <a:gd name="connsiteX311" fmla="*/ 1739456 w 1739455"/>
                <a:gd name="connsiteY311" fmla="*/ 1086898 h 1600200"/>
                <a:gd name="connsiteX312" fmla="*/ 1681829 w 1739455"/>
                <a:gd name="connsiteY312" fmla="*/ 1029272 h 1600200"/>
                <a:gd name="connsiteX313" fmla="*/ 1498854 w 1739455"/>
                <a:gd name="connsiteY313" fmla="*/ 1029272 h 1600200"/>
                <a:gd name="connsiteX314" fmla="*/ 1417892 w 1739455"/>
                <a:gd name="connsiteY314" fmla="*/ 948309 h 1600200"/>
                <a:gd name="connsiteX315" fmla="*/ 1417892 w 1739455"/>
                <a:gd name="connsiteY315" fmla="*/ 942594 h 1600200"/>
                <a:gd name="connsiteX316" fmla="*/ 1360265 w 1739455"/>
                <a:gd name="connsiteY316" fmla="*/ 884968 h 1600200"/>
                <a:gd name="connsiteX317" fmla="*/ 1186148 w 1739455"/>
                <a:gd name="connsiteY317" fmla="*/ 884968 h 1600200"/>
                <a:gd name="connsiteX318" fmla="*/ 1105186 w 1739455"/>
                <a:gd name="connsiteY318" fmla="*/ 804005 h 1600200"/>
                <a:gd name="connsiteX319" fmla="*/ 1105186 w 1739455"/>
                <a:gd name="connsiteY319" fmla="*/ 646176 h 1600200"/>
                <a:gd name="connsiteX320" fmla="*/ 1097089 w 1739455"/>
                <a:gd name="connsiteY320" fmla="*/ 616839 h 1600200"/>
                <a:gd name="connsiteX321" fmla="*/ 1096423 w 1739455"/>
                <a:gd name="connsiteY321" fmla="*/ 615696 h 1600200"/>
                <a:gd name="connsiteX322" fmla="*/ 1046417 w 1739455"/>
                <a:gd name="connsiteY322" fmla="*/ 586550 h 1600200"/>
                <a:gd name="connsiteX323" fmla="*/ 1024128 w 1739455"/>
                <a:gd name="connsiteY323" fmla="*/ 586550 h 1600200"/>
                <a:gd name="connsiteX324" fmla="*/ 943165 w 1739455"/>
                <a:gd name="connsiteY324" fmla="*/ 505587 h 1600200"/>
                <a:gd name="connsiteX325" fmla="*/ 943165 w 1739455"/>
                <a:gd name="connsiteY325" fmla="*/ 505206 h 1600200"/>
                <a:gd name="connsiteX326" fmla="*/ 885539 w 1739455"/>
                <a:gd name="connsiteY326" fmla="*/ 446818 h 1600200"/>
                <a:gd name="connsiteX327" fmla="*/ 844772 w 1739455"/>
                <a:gd name="connsiteY327" fmla="*/ 445580 h 1600200"/>
                <a:gd name="connsiteX328" fmla="*/ 795242 w 1739455"/>
                <a:gd name="connsiteY328" fmla="*/ 388525 h 1600200"/>
                <a:gd name="connsiteX329" fmla="*/ 795242 w 1739455"/>
                <a:gd name="connsiteY329" fmla="*/ 368522 h 1600200"/>
                <a:gd name="connsiteX330" fmla="*/ 852869 w 1739455"/>
                <a:gd name="connsiteY330" fmla="*/ 310896 h 1600200"/>
                <a:gd name="connsiteX331" fmla="*/ 952119 w 1739455"/>
                <a:gd name="connsiteY331" fmla="*/ 310896 h 1600200"/>
                <a:gd name="connsiteX332" fmla="*/ 951167 w 1739455"/>
                <a:gd name="connsiteY332" fmla="*/ 57626 h 1600200"/>
                <a:gd name="connsiteX333" fmla="*/ 893540 w 1739455"/>
                <a:gd name="connsiteY333" fmla="*/ 0 h 1600200"/>
                <a:gd name="connsiteX334" fmla="*/ 214598 w 1739455"/>
                <a:gd name="connsiteY334" fmla="*/ 0 h 1600200"/>
                <a:gd name="connsiteX335" fmla="*/ 157353 w 1739455"/>
                <a:gd name="connsiteY335" fmla="*/ 51149 h 1600200"/>
                <a:gd name="connsiteX336" fmla="*/ 157353 w 1739455"/>
                <a:gd name="connsiteY336" fmla="*/ 93059 h 1600200"/>
                <a:gd name="connsiteX337" fmla="*/ 99727 w 1739455"/>
                <a:gd name="connsiteY337" fmla="*/ 150686 h 1600200"/>
                <a:gd name="connsiteX338" fmla="*/ 0 w 1739455"/>
                <a:gd name="connsiteY338" fmla="*/ 150686 h 1600200"/>
                <a:gd name="connsiteX339" fmla="*/ 476 w 1739455"/>
                <a:gd name="connsiteY339" fmla="*/ 514921 h 1600200"/>
                <a:gd name="connsiteX340" fmla="*/ 476 w 1739455"/>
                <a:gd name="connsiteY340" fmla="*/ 514921 h 1600200"/>
                <a:gd name="connsiteX341" fmla="*/ 959358 w 1739455"/>
                <a:gd name="connsiteY341" fmla="*/ 1105281 h 1600200"/>
                <a:gd name="connsiteX342" fmla="*/ 959358 w 1739455"/>
                <a:gd name="connsiteY342" fmla="*/ 1105281 h 1600200"/>
                <a:gd name="connsiteX343" fmla="*/ 959358 w 1739455"/>
                <a:gd name="connsiteY343" fmla="*/ 1105281 h 1600200"/>
                <a:gd name="connsiteX344" fmla="*/ 959358 w 1739455"/>
                <a:gd name="connsiteY344" fmla="*/ 1105281 h 1600200"/>
                <a:gd name="connsiteX345" fmla="*/ 486156 w 1739455"/>
                <a:gd name="connsiteY345" fmla="*/ 672655 h 1600200"/>
                <a:gd name="connsiteX346" fmla="*/ 486156 w 1739455"/>
                <a:gd name="connsiteY346" fmla="*/ 672655 h 1600200"/>
                <a:gd name="connsiteX347" fmla="*/ 486156 w 1739455"/>
                <a:gd name="connsiteY347" fmla="*/ 672655 h 1600200"/>
                <a:gd name="connsiteX348" fmla="*/ 486156 w 1739455"/>
                <a:gd name="connsiteY348" fmla="*/ 672655 h 1600200"/>
                <a:gd name="connsiteX349" fmla="*/ 647033 w 1739455"/>
                <a:gd name="connsiteY349" fmla="*/ 814769 h 1600200"/>
                <a:gd name="connsiteX350" fmla="*/ 647033 w 1739455"/>
                <a:gd name="connsiteY350" fmla="*/ 814769 h 1600200"/>
                <a:gd name="connsiteX351" fmla="*/ 647033 w 1739455"/>
                <a:gd name="connsiteY351" fmla="*/ 814769 h 1600200"/>
                <a:gd name="connsiteX352" fmla="*/ 647033 w 1739455"/>
                <a:gd name="connsiteY352" fmla="*/ 814769 h 1600200"/>
                <a:gd name="connsiteX353" fmla="*/ 793813 w 1739455"/>
                <a:gd name="connsiteY353" fmla="*/ 956881 h 1600200"/>
                <a:gd name="connsiteX354" fmla="*/ 793813 w 1739455"/>
                <a:gd name="connsiteY354" fmla="*/ 956881 h 1600200"/>
                <a:gd name="connsiteX355" fmla="*/ 793813 w 1739455"/>
                <a:gd name="connsiteY355" fmla="*/ 956881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1739455" h="1600200">
                  <a:moveTo>
                    <a:pt x="476" y="514921"/>
                  </a:moveTo>
                  <a:cubicBezTo>
                    <a:pt x="0" y="531686"/>
                    <a:pt x="10001" y="442722"/>
                    <a:pt x="48006" y="442722"/>
                  </a:cubicBezTo>
                  <a:lnTo>
                    <a:pt x="234791" y="442722"/>
                  </a:lnTo>
                  <a:cubicBezTo>
                    <a:pt x="271939" y="443389"/>
                    <a:pt x="319373" y="430435"/>
                    <a:pt x="319373" y="508063"/>
                  </a:cubicBezTo>
                  <a:lnTo>
                    <a:pt x="319373" y="527018"/>
                  </a:lnTo>
                  <a:cubicBezTo>
                    <a:pt x="319373" y="558737"/>
                    <a:pt x="345281" y="584645"/>
                    <a:pt x="377000" y="584645"/>
                  </a:cubicBezTo>
                  <a:lnTo>
                    <a:pt x="405098" y="584645"/>
                  </a:lnTo>
                  <a:cubicBezTo>
                    <a:pt x="449675" y="584645"/>
                    <a:pt x="486061" y="621030"/>
                    <a:pt x="486061" y="665607"/>
                  </a:cubicBezTo>
                  <a:lnTo>
                    <a:pt x="486061" y="672751"/>
                  </a:lnTo>
                  <a:lnTo>
                    <a:pt x="486061" y="674275"/>
                  </a:lnTo>
                  <a:lnTo>
                    <a:pt x="486061" y="674275"/>
                  </a:lnTo>
                  <a:lnTo>
                    <a:pt x="486156" y="675704"/>
                  </a:lnTo>
                  <a:lnTo>
                    <a:pt x="486156" y="675704"/>
                  </a:lnTo>
                  <a:lnTo>
                    <a:pt x="486251" y="677132"/>
                  </a:lnTo>
                  <a:lnTo>
                    <a:pt x="486251" y="677132"/>
                  </a:lnTo>
                  <a:lnTo>
                    <a:pt x="486346" y="678561"/>
                  </a:lnTo>
                  <a:lnTo>
                    <a:pt x="486346" y="678561"/>
                  </a:lnTo>
                  <a:lnTo>
                    <a:pt x="486537" y="679990"/>
                  </a:lnTo>
                  <a:lnTo>
                    <a:pt x="486537" y="679990"/>
                  </a:lnTo>
                  <a:lnTo>
                    <a:pt x="486728" y="681419"/>
                  </a:lnTo>
                  <a:lnTo>
                    <a:pt x="486728" y="681419"/>
                  </a:lnTo>
                  <a:lnTo>
                    <a:pt x="486918" y="682847"/>
                  </a:lnTo>
                  <a:lnTo>
                    <a:pt x="486918" y="682847"/>
                  </a:lnTo>
                  <a:cubicBezTo>
                    <a:pt x="489395" y="697039"/>
                    <a:pt x="497586" y="709994"/>
                    <a:pt x="509206" y="718852"/>
                  </a:cubicBezTo>
                  <a:lnTo>
                    <a:pt x="509206" y="718852"/>
                  </a:lnTo>
                  <a:lnTo>
                    <a:pt x="510350" y="719709"/>
                  </a:lnTo>
                  <a:lnTo>
                    <a:pt x="510350" y="719709"/>
                  </a:lnTo>
                  <a:lnTo>
                    <a:pt x="511493" y="720471"/>
                  </a:lnTo>
                  <a:lnTo>
                    <a:pt x="511493" y="720471"/>
                  </a:lnTo>
                  <a:lnTo>
                    <a:pt x="512636" y="721233"/>
                  </a:lnTo>
                  <a:lnTo>
                    <a:pt x="512636" y="721233"/>
                  </a:lnTo>
                  <a:lnTo>
                    <a:pt x="513779" y="721995"/>
                  </a:lnTo>
                  <a:lnTo>
                    <a:pt x="513779" y="721995"/>
                  </a:lnTo>
                  <a:lnTo>
                    <a:pt x="514350" y="722281"/>
                  </a:lnTo>
                  <a:cubicBezTo>
                    <a:pt x="514826" y="722567"/>
                    <a:pt x="515207" y="722757"/>
                    <a:pt x="515684" y="723043"/>
                  </a:cubicBezTo>
                  <a:lnTo>
                    <a:pt x="516255" y="723329"/>
                  </a:lnTo>
                  <a:lnTo>
                    <a:pt x="516255" y="723329"/>
                  </a:lnTo>
                  <a:lnTo>
                    <a:pt x="517493" y="723995"/>
                  </a:lnTo>
                  <a:lnTo>
                    <a:pt x="517493" y="723995"/>
                  </a:lnTo>
                  <a:lnTo>
                    <a:pt x="518731" y="724662"/>
                  </a:lnTo>
                  <a:lnTo>
                    <a:pt x="518731" y="724662"/>
                  </a:lnTo>
                  <a:lnTo>
                    <a:pt x="519970" y="725234"/>
                  </a:lnTo>
                  <a:lnTo>
                    <a:pt x="519970" y="725234"/>
                  </a:lnTo>
                  <a:cubicBezTo>
                    <a:pt x="520351" y="725424"/>
                    <a:pt x="520827" y="725614"/>
                    <a:pt x="521208" y="725805"/>
                  </a:cubicBezTo>
                  <a:lnTo>
                    <a:pt x="521208" y="725805"/>
                  </a:lnTo>
                  <a:lnTo>
                    <a:pt x="522542" y="726377"/>
                  </a:lnTo>
                  <a:lnTo>
                    <a:pt x="522542" y="726377"/>
                  </a:lnTo>
                  <a:lnTo>
                    <a:pt x="523875" y="726853"/>
                  </a:lnTo>
                  <a:lnTo>
                    <a:pt x="523875" y="726853"/>
                  </a:lnTo>
                  <a:lnTo>
                    <a:pt x="525209" y="727329"/>
                  </a:lnTo>
                  <a:lnTo>
                    <a:pt x="525209" y="727329"/>
                  </a:lnTo>
                  <a:lnTo>
                    <a:pt x="525494" y="727424"/>
                  </a:lnTo>
                  <a:cubicBezTo>
                    <a:pt x="526256" y="727615"/>
                    <a:pt x="526828" y="727805"/>
                    <a:pt x="527590" y="728091"/>
                  </a:cubicBezTo>
                  <a:lnTo>
                    <a:pt x="527876" y="728186"/>
                  </a:lnTo>
                  <a:lnTo>
                    <a:pt x="527876" y="728186"/>
                  </a:lnTo>
                  <a:lnTo>
                    <a:pt x="529209" y="728567"/>
                  </a:lnTo>
                  <a:lnTo>
                    <a:pt x="529209" y="728567"/>
                  </a:lnTo>
                  <a:lnTo>
                    <a:pt x="530543" y="728948"/>
                  </a:lnTo>
                  <a:lnTo>
                    <a:pt x="530543" y="728948"/>
                  </a:lnTo>
                  <a:lnTo>
                    <a:pt x="531971" y="729234"/>
                  </a:lnTo>
                  <a:lnTo>
                    <a:pt x="531971" y="729234"/>
                  </a:lnTo>
                  <a:cubicBezTo>
                    <a:pt x="532447" y="729329"/>
                    <a:pt x="532924" y="729425"/>
                    <a:pt x="533400" y="729520"/>
                  </a:cubicBezTo>
                  <a:lnTo>
                    <a:pt x="533400" y="729520"/>
                  </a:lnTo>
                  <a:lnTo>
                    <a:pt x="533686" y="729520"/>
                  </a:lnTo>
                  <a:cubicBezTo>
                    <a:pt x="534543" y="729615"/>
                    <a:pt x="535210" y="729805"/>
                    <a:pt x="536067" y="729901"/>
                  </a:cubicBezTo>
                  <a:lnTo>
                    <a:pt x="536353" y="729901"/>
                  </a:lnTo>
                  <a:lnTo>
                    <a:pt x="536353" y="729901"/>
                  </a:lnTo>
                  <a:lnTo>
                    <a:pt x="537781" y="730091"/>
                  </a:lnTo>
                  <a:lnTo>
                    <a:pt x="537781" y="730091"/>
                  </a:lnTo>
                  <a:lnTo>
                    <a:pt x="539210" y="730187"/>
                  </a:lnTo>
                  <a:lnTo>
                    <a:pt x="539210" y="730187"/>
                  </a:lnTo>
                  <a:lnTo>
                    <a:pt x="540639" y="730282"/>
                  </a:lnTo>
                  <a:lnTo>
                    <a:pt x="540639" y="730282"/>
                  </a:lnTo>
                  <a:lnTo>
                    <a:pt x="541115" y="730282"/>
                  </a:lnTo>
                  <a:cubicBezTo>
                    <a:pt x="542258" y="730282"/>
                    <a:pt x="543115" y="730377"/>
                    <a:pt x="544259" y="730377"/>
                  </a:cubicBezTo>
                  <a:lnTo>
                    <a:pt x="563594" y="730377"/>
                  </a:lnTo>
                  <a:lnTo>
                    <a:pt x="565880" y="730377"/>
                  </a:lnTo>
                  <a:cubicBezTo>
                    <a:pt x="610457" y="730377"/>
                    <a:pt x="646843" y="766763"/>
                    <a:pt x="646843" y="811339"/>
                  </a:cubicBezTo>
                  <a:lnTo>
                    <a:pt x="646843" y="814864"/>
                  </a:lnTo>
                  <a:lnTo>
                    <a:pt x="646843" y="816388"/>
                  </a:lnTo>
                  <a:lnTo>
                    <a:pt x="646843" y="816388"/>
                  </a:lnTo>
                  <a:lnTo>
                    <a:pt x="646938" y="817817"/>
                  </a:lnTo>
                  <a:lnTo>
                    <a:pt x="646938" y="817817"/>
                  </a:lnTo>
                  <a:lnTo>
                    <a:pt x="647033" y="819245"/>
                  </a:lnTo>
                  <a:lnTo>
                    <a:pt x="647033" y="819245"/>
                  </a:lnTo>
                  <a:lnTo>
                    <a:pt x="647129" y="820674"/>
                  </a:lnTo>
                  <a:lnTo>
                    <a:pt x="647129" y="820674"/>
                  </a:lnTo>
                  <a:lnTo>
                    <a:pt x="647319" y="822103"/>
                  </a:lnTo>
                  <a:lnTo>
                    <a:pt x="647319" y="822103"/>
                  </a:lnTo>
                  <a:lnTo>
                    <a:pt x="647510" y="823531"/>
                  </a:lnTo>
                  <a:lnTo>
                    <a:pt x="647510" y="823531"/>
                  </a:lnTo>
                  <a:lnTo>
                    <a:pt x="647795" y="824960"/>
                  </a:lnTo>
                  <a:lnTo>
                    <a:pt x="647795" y="824960"/>
                  </a:lnTo>
                  <a:cubicBezTo>
                    <a:pt x="647890" y="825437"/>
                    <a:pt x="647986" y="825913"/>
                    <a:pt x="648081" y="826389"/>
                  </a:cubicBezTo>
                  <a:lnTo>
                    <a:pt x="648081" y="826389"/>
                  </a:lnTo>
                  <a:lnTo>
                    <a:pt x="648367" y="827818"/>
                  </a:lnTo>
                  <a:lnTo>
                    <a:pt x="648367" y="827818"/>
                  </a:lnTo>
                  <a:lnTo>
                    <a:pt x="648748" y="829247"/>
                  </a:lnTo>
                  <a:lnTo>
                    <a:pt x="648748" y="829247"/>
                  </a:lnTo>
                  <a:cubicBezTo>
                    <a:pt x="654939" y="852392"/>
                    <a:pt x="675227" y="870204"/>
                    <a:pt x="700088" y="872300"/>
                  </a:cubicBezTo>
                  <a:lnTo>
                    <a:pt x="700088" y="872300"/>
                  </a:lnTo>
                  <a:lnTo>
                    <a:pt x="701516" y="872395"/>
                  </a:lnTo>
                  <a:lnTo>
                    <a:pt x="701516" y="872395"/>
                  </a:lnTo>
                  <a:lnTo>
                    <a:pt x="701993" y="872395"/>
                  </a:lnTo>
                  <a:cubicBezTo>
                    <a:pt x="703136" y="872395"/>
                    <a:pt x="703993" y="872490"/>
                    <a:pt x="705136" y="872490"/>
                  </a:cubicBezTo>
                  <a:lnTo>
                    <a:pt x="712565" y="872490"/>
                  </a:lnTo>
                  <a:cubicBezTo>
                    <a:pt x="757142" y="872490"/>
                    <a:pt x="793528" y="908876"/>
                    <a:pt x="793528" y="953453"/>
                  </a:cubicBezTo>
                  <a:lnTo>
                    <a:pt x="793528" y="956977"/>
                  </a:lnTo>
                  <a:lnTo>
                    <a:pt x="793528" y="958501"/>
                  </a:lnTo>
                  <a:lnTo>
                    <a:pt x="793528" y="958501"/>
                  </a:lnTo>
                  <a:lnTo>
                    <a:pt x="793623" y="959930"/>
                  </a:lnTo>
                  <a:lnTo>
                    <a:pt x="793623" y="959930"/>
                  </a:lnTo>
                  <a:lnTo>
                    <a:pt x="793718" y="961358"/>
                  </a:lnTo>
                  <a:lnTo>
                    <a:pt x="793718" y="961358"/>
                  </a:lnTo>
                  <a:lnTo>
                    <a:pt x="793813" y="962787"/>
                  </a:lnTo>
                  <a:lnTo>
                    <a:pt x="793813" y="962787"/>
                  </a:lnTo>
                  <a:lnTo>
                    <a:pt x="794004" y="964216"/>
                  </a:lnTo>
                  <a:lnTo>
                    <a:pt x="794004" y="964216"/>
                  </a:lnTo>
                  <a:lnTo>
                    <a:pt x="794195" y="965645"/>
                  </a:lnTo>
                  <a:lnTo>
                    <a:pt x="794195" y="965645"/>
                  </a:lnTo>
                  <a:cubicBezTo>
                    <a:pt x="797147" y="983361"/>
                    <a:pt x="807530" y="998315"/>
                    <a:pt x="823151" y="1007269"/>
                  </a:cubicBezTo>
                  <a:lnTo>
                    <a:pt x="823722" y="1007555"/>
                  </a:lnTo>
                  <a:lnTo>
                    <a:pt x="823722" y="1007555"/>
                  </a:lnTo>
                  <a:lnTo>
                    <a:pt x="824960" y="1008221"/>
                  </a:lnTo>
                  <a:lnTo>
                    <a:pt x="824960" y="1008221"/>
                  </a:lnTo>
                  <a:lnTo>
                    <a:pt x="826198" y="1008888"/>
                  </a:lnTo>
                  <a:lnTo>
                    <a:pt x="826198" y="1008888"/>
                  </a:lnTo>
                  <a:lnTo>
                    <a:pt x="827437" y="1009460"/>
                  </a:lnTo>
                  <a:lnTo>
                    <a:pt x="827437" y="1009460"/>
                  </a:lnTo>
                  <a:cubicBezTo>
                    <a:pt x="827818" y="1009650"/>
                    <a:pt x="828294" y="1009841"/>
                    <a:pt x="828675" y="1010031"/>
                  </a:cubicBezTo>
                  <a:lnTo>
                    <a:pt x="828675" y="1010031"/>
                  </a:lnTo>
                  <a:lnTo>
                    <a:pt x="830009" y="1010603"/>
                  </a:lnTo>
                  <a:lnTo>
                    <a:pt x="830009" y="1010603"/>
                  </a:lnTo>
                  <a:lnTo>
                    <a:pt x="831342" y="1011079"/>
                  </a:lnTo>
                  <a:lnTo>
                    <a:pt x="831342" y="1011079"/>
                  </a:lnTo>
                  <a:lnTo>
                    <a:pt x="832676" y="1011555"/>
                  </a:lnTo>
                  <a:lnTo>
                    <a:pt x="832676" y="1011555"/>
                  </a:lnTo>
                  <a:lnTo>
                    <a:pt x="832961" y="1011650"/>
                  </a:lnTo>
                  <a:cubicBezTo>
                    <a:pt x="833723" y="1011841"/>
                    <a:pt x="834295" y="1012031"/>
                    <a:pt x="835057" y="1012317"/>
                  </a:cubicBezTo>
                  <a:lnTo>
                    <a:pt x="835343" y="1012412"/>
                  </a:lnTo>
                  <a:lnTo>
                    <a:pt x="835343" y="1012412"/>
                  </a:lnTo>
                  <a:lnTo>
                    <a:pt x="836676" y="1012793"/>
                  </a:lnTo>
                  <a:lnTo>
                    <a:pt x="836676" y="1012793"/>
                  </a:lnTo>
                  <a:lnTo>
                    <a:pt x="838010" y="1013174"/>
                  </a:lnTo>
                  <a:lnTo>
                    <a:pt x="838010" y="1013174"/>
                  </a:lnTo>
                  <a:lnTo>
                    <a:pt x="839438" y="1013460"/>
                  </a:lnTo>
                  <a:lnTo>
                    <a:pt x="839438" y="1013460"/>
                  </a:lnTo>
                  <a:cubicBezTo>
                    <a:pt x="839914" y="1013555"/>
                    <a:pt x="840391" y="1013651"/>
                    <a:pt x="840867" y="1013746"/>
                  </a:cubicBezTo>
                  <a:lnTo>
                    <a:pt x="840867" y="1013746"/>
                  </a:lnTo>
                  <a:lnTo>
                    <a:pt x="841153" y="1013746"/>
                  </a:lnTo>
                  <a:cubicBezTo>
                    <a:pt x="842010" y="1013841"/>
                    <a:pt x="842677" y="1014031"/>
                    <a:pt x="843534" y="1014127"/>
                  </a:cubicBezTo>
                  <a:lnTo>
                    <a:pt x="843820" y="1014127"/>
                  </a:lnTo>
                  <a:lnTo>
                    <a:pt x="843820" y="1014127"/>
                  </a:lnTo>
                  <a:lnTo>
                    <a:pt x="845248" y="1014317"/>
                  </a:lnTo>
                  <a:lnTo>
                    <a:pt x="845248" y="1014317"/>
                  </a:lnTo>
                  <a:lnTo>
                    <a:pt x="846677" y="1014413"/>
                  </a:lnTo>
                  <a:lnTo>
                    <a:pt x="846677" y="1014413"/>
                  </a:lnTo>
                  <a:lnTo>
                    <a:pt x="848106" y="1014508"/>
                  </a:lnTo>
                  <a:lnTo>
                    <a:pt x="848106" y="1014508"/>
                  </a:lnTo>
                  <a:lnTo>
                    <a:pt x="848582" y="1014508"/>
                  </a:lnTo>
                  <a:cubicBezTo>
                    <a:pt x="849725" y="1014508"/>
                    <a:pt x="850583" y="1014603"/>
                    <a:pt x="851726" y="1014603"/>
                  </a:cubicBezTo>
                  <a:lnTo>
                    <a:pt x="871156" y="1014603"/>
                  </a:lnTo>
                  <a:lnTo>
                    <a:pt x="878110" y="1014603"/>
                  </a:lnTo>
                  <a:cubicBezTo>
                    <a:pt x="922687" y="1014603"/>
                    <a:pt x="959072" y="1050989"/>
                    <a:pt x="959072" y="1095566"/>
                  </a:cubicBezTo>
                  <a:lnTo>
                    <a:pt x="959072" y="1105376"/>
                  </a:lnTo>
                  <a:lnTo>
                    <a:pt x="959072" y="1106805"/>
                  </a:lnTo>
                  <a:lnTo>
                    <a:pt x="959072" y="1106805"/>
                  </a:lnTo>
                  <a:lnTo>
                    <a:pt x="959168" y="1108234"/>
                  </a:lnTo>
                  <a:lnTo>
                    <a:pt x="959168" y="1108234"/>
                  </a:lnTo>
                  <a:lnTo>
                    <a:pt x="959263" y="1109663"/>
                  </a:lnTo>
                  <a:lnTo>
                    <a:pt x="959263" y="1109663"/>
                  </a:lnTo>
                  <a:lnTo>
                    <a:pt x="959358" y="1111091"/>
                  </a:lnTo>
                  <a:lnTo>
                    <a:pt x="959358" y="1111091"/>
                  </a:lnTo>
                  <a:lnTo>
                    <a:pt x="959548" y="1112520"/>
                  </a:lnTo>
                  <a:lnTo>
                    <a:pt x="959548" y="1112520"/>
                  </a:lnTo>
                  <a:lnTo>
                    <a:pt x="959739" y="1113949"/>
                  </a:lnTo>
                  <a:lnTo>
                    <a:pt x="959739" y="1113949"/>
                  </a:lnTo>
                  <a:lnTo>
                    <a:pt x="959930" y="1115378"/>
                  </a:lnTo>
                  <a:lnTo>
                    <a:pt x="959930" y="1115378"/>
                  </a:lnTo>
                  <a:cubicBezTo>
                    <a:pt x="960025" y="1115854"/>
                    <a:pt x="960120" y="1116330"/>
                    <a:pt x="960215" y="1116806"/>
                  </a:cubicBezTo>
                  <a:lnTo>
                    <a:pt x="960215" y="1116806"/>
                  </a:lnTo>
                  <a:lnTo>
                    <a:pt x="960501" y="1118235"/>
                  </a:lnTo>
                  <a:lnTo>
                    <a:pt x="960501" y="1118235"/>
                  </a:lnTo>
                  <a:lnTo>
                    <a:pt x="960882" y="1119664"/>
                  </a:lnTo>
                  <a:lnTo>
                    <a:pt x="960882" y="1119664"/>
                  </a:lnTo>
                  <a:lnTo>
                    <a:pt x="961263" y="1120997"/>
                  </a:lnTo>
                  <a:lnTo>
                    <a:pt x="961263" y="1120997"/>
                  </a:lnTo>
                  <a:lnTo>
                    <a:pt x="961644" y="1122331"/>
                  </a:lnTo>
                  <a:lnTo>
                    <a:pt x="961644" y="1122331"/>
                  </a:lnTo>
                  <a:lnTo>
                    <a:pt x="962120" y="1123664"/>
                  </a:lnTo>
                  <a:lnTo>
                    <a:pt x="962120" y="1123664"/>
                  </a:lnTo>
                  <a:lnTo>
                    <a:pt x="962597" y="1124998"/>
                  </a:lnTo>
                  <a:lnTo>
                    <a:pt x="962597" y="1124998"/>
                  </a:lnTo>
                  <a:lnTo>
                    <a:pt x="963073" y="1126331"/>
                  </a:lnTo>
                  <a:lnTo>
                    <a:pt x="963073" y="1126331"/>
                  </a:lnTo>
                  <a:lnTo>
                    <a:pt x="963644" y="1127665"/>
                  </a:lnTo>
                  <a:lnTo>
                    <a:pt x="963644" y="1127665"/>
                  </a:lnTo>
                  <a:lnTo>
                    <a:pt x="964216" y="1128903"/>
                  </a:lnTo>
                  <a:lnTo>
                    <a:pt x="964216" y="1128903"/>
                  </a:lnTo>
                  <a:lnTo>
                    <a:pt x="964787" y="1130141"/>
                  </a:lnTo>
                  <a:lnTo>
                    <a:pt x="964787" y="1130141"/>
                  </a:lnTo>
                  <a:lnTo>
                    <a:pt x="965454" y="1131380"/>
                  </a:lnTo>
                  <a:lnTo>
                    <a:pt x="965454" y="1131380"/>
                  </a:lnTo>
                  <a:cubicBezTo>
                    <a:pt x="965645" y="1131761"/>
                    <a:pt x="965835" y="1132237"/>
                    <a:pt x="966121" y="1132618"/>
                  </a:cubicBezTo>
                  <a:lnTo>
                    <a:pt x="966121" y="1132618"/>
                  </a:lnTo>
                  <a:lnTo>
                    <a:pt x="966788" y="1133856"/>
                  </a:lnTo>
                  <a:lnTo>
                    <a:pt x="966788" y="1133856"/>
                  </a:lnTo>
                  <a:cubicBezTo>
                    <a:pt x="966978" y="1134237"/>
                    <a:pt x="967264" y="1134618"/>
                    <a:pt x="967454" y="1135094"/>
                  </a:cubicBezTo>
                  <a:lnTo>
                    <a:pt x="967454" y="1135094"/>
                  </a:lnTo>
                  <a:lnTo>
                    <a:pt x="968216" y="1136237"/>
                  </a:lnTo>
                  <a:lnTo>
                    <a:pt x="968216" y="1136237"/>
                  </a:lnTo>
                  <a:lnTo>
                    <a:pt x="968978" y="1137380"/>
                  </a:lnTo>
                  <a:lnTo>
                    <a:pt x="968978" y="1137380"/>
                  </a:lnTo>
                  <a:lnTo>
                    <a:pt x="969740" y="1138523"/>
                  </a:lnTo>
                  <a:lnTo>
                    <a:pt x="969740" y="1138523"/>
                  </a:lnTo>
                  <a:lnTo>
                    <a:pt x="970597" y="1139666"/>
                  </a:lnTo>
                  <a:lnTo>
                    <a:pt x="970597" y="1139666"/>
                  </a:lnTo>
                  <a:lnTo>
                    <a:pt x="971455" y="1140809"/>
                  </a:lnTo>
                  <a:lnTo>
                    <a:pt x="971455" y="1140809"/>
                  </a:lnTo>
                  <a:cubicBezTo>
                    <a:pt x="971740" y="1141190"/>
                    <a:pt x="972026" y="1141571"/>
                    <a:pt x="972312" y="1141857"/>
                  </a:cubicBezTo>
                  <a:lnTo>
                    <a:pt x="972312" y="1141857"/>
                  </a:lnTo>
                  <a:lnTo>
                    <a:pt x="973169" y="1142905"/>
                  </a:lnTo>
                  <a:lnTo>
                    <a:pt x="973169" y="1142905"/>
                  </a:lnTo>
                  <a:lnTo>
                    <a:pt x="974122" y="1143953"/>
                  </a:lnTo>
                  <a:lnTo>
                    <a:pt x="974122" y="1143953"/>
                  </a:lnTo>
                  <a:lnTo>
                    <a:pt x="975074" y="1145000"/>
                  </a:lnTo>
                  <a:lnTo>
                    <a:pt x="975074" y="1145000"/>
                  </a:lnTo>
                  <a:lnTo>
                    <a:pt x="976027" y="1145953"/>
                  </a:lnTo>
                  <a:lnTo>
                    <a:pt x="976027" y="1145953"/>
                  </a:lnTo>
                  <a:lnTo>
                    <a:pt x="976979" y="1146905"/>
                  </a:lnTo>
                  <a:lnTo>
                    <a:pt x="976979" y="1146905"/>
                  </a:lnTo>
                  <a:lnTo>
                    <a:pt x="978027" y="1147858"/>
                  </a:lnTo>
                  <a:lnTo>
                    <a:pt x="978027" y="1147858"/>
                  </a:lnTo>
                  <a:lnTo>
                    <a:pt x="979075" y="1148810"/>
                  </a:lnTo>
                  <a:lnTo>
                    <a:pt x="979075" y="1148810"/>
                  </a:lnTo>
                  <a:lnTo>
                    <a:pt x="980122" y="1149668"/>
                  </a:lnTo>
                  <a:lnTo>
                    <a:pt x="980122" y="1149668"/>
                  </a:lnTo>
                  <a:cubicBezTo>
                    <a:pt x="980504" y="1149953"/>
                    <a:pt x="980885" y="1150239"/>
                    <a:pt x="981170" y="1150525"/>
                  </a:cubicBezTo>
                  <a:lnTo>
                    <a:pt x="981170" y="1150525"/>
                  </a:lnTo>
                  <a:cubicBezTo>
                    <a:pt x="981551" y="1150811"/>
                    <a:pt x="981932" y="1151096"/>
                    <a:pt x="982218" y="1151382"/>
                  </a:cubicBezTo>
                  <a:lnTo>
                    <a:pt x="982218" y="1151382"/>
                  </a:lnTo>
                  <a:lnTo>
                    <a:pt x="983361" y="1152239"/>
                  </a:lnTo>
                  <a:lnTo>
                    <a:pt x="983361" y="1152239"/>
                  </a:lnTo>
                  <a:lnTo>
                    <a:pt x="984504" y="1153001"/>
                  </a:lnTo>
                  <a:lnTo>
                    <a:pt x="984504" y="1153001"/>
                  </a:lnTo>
                  <a:lnTo>
                    <a:pt x="985647" y="1153763"/>
                  </a:lnTo>
                  <a:lnTo>
                    <a:pt x="985647" y="1153763"/>
                  </a:lnTo>
                  <a:lnTo>
                    <a:pt x="986790" y="1154525"/>
                  </a:lnTo>
                  <a:lnTo>
                    <a:pt x="986790" y="1154525"/>
                  </a:lnTo>
                  <a:lnTo>
                    <a:pt x="988028" y="1155192"/>
                  </a:lnTo>
                  <a:lnTo>
                    <a:pt x="988028" y="1155192"/>
                  </a:lnTo>
                  <a:lnTo>
                    <a:pt x="989267" y="1155859"/>
                  </a:lnTo>
                  <a:lnTo>
                    <a:pt x="989267" y="1155859"/>
                  </a:lnTo>
                  <a:lnTo>
                    <a:pt x="990505" y="1156526"/>
                  </a:lnTo>
                  <a:lnTo>
                    <a:pt x="990505" y="1156526"/>
                  </a:lnTo>
                  <a:lnTo>
                    <a:pt x="991743" y="1157192"/>
                  </a:lnTo>
                  <a:lnTo>
                    <a:pt x="991743" y="1157192"/>
                  </a:lnTo>
                  <a:lnTo>
                    <a:pt x="992981" y="1157764"/>
                  </a:lnTo>
                  <a:lnTo>
                    <a:pt x="992981" y="1157764"/>
                  </a:lnTo>
                  <a:cubicBezTo>
                    <a:pt x="993362" y="1157954"/>
                    <a:pt x="993838" y="1158145"/>
                    <a:pt x="994220" y="1158335"/>
                  </a:cubicBezTo>
                  <a:lnTo>
                    <a:pt x="994220" y="1158335"/>
                  </a:lnTo>
                  <a:lnTo>
                    <a:pt x="995553" y="1158907"/>
                  </a:lnTo>
                  <a:lnTo>
                    <a:pt x="995553" y="1158907"/>
                  </a:lnTo>
                  <a:lnTo>
                    <a:pt x="996887" y="1159383"/>
                  </a:lnTo>
                  <a:lnTo>
                    <a:pt x="996887" y="1159383"/>
                  </a:lnTo>
                  <a:lnTo>
                    <a:pt x="998220" y="1159859"/>
                  </a:lnTo>
                  <a:lnTo>
                    <a:pt x="998220" y="1159859"/>
                  </a:lnTo>
                  <a:lnTo>
                    <a:pt x="999554" y="1160336"/>
                  </a:lnTo>
                  <a:lnTo>
                    <a:pt x="999554" y="1160336"/>
                  </a:lnTo>
                  <a:lnTo>
                    <a:pt x="1000887" y="1160717"/>
                  </a:lnTo>
                  <a:lnTo>
                    <a:pt x="1000887" y="1160717"/>
                  </a:lnTo>
                  <a:lnTo>
                    <a:pt x="1002221" y="1161098"/>
                  </a:lnTo>
                  <a:lnTo>
                    <a:pt x="1002221" y="1161098"/>
                  </a:lnTo>
                  <a:lnTo>
                    <a:pt x="1003554" y="1161479"/>
                  </a:lnTo>
                  <a:lnTo>
                    <a:pt x="1003554" y="1161479"/>
                  </a:lnTo>
                  <a:lnTo>
                    <a:pt x="1004983" y="1161764"/>
                  </a:lnTo>
                  <a:lnTo>
                    <a:pt x="1004983" y="1161764"/>
                  </a:lnTo>
                  <a:cubicBezTo>
                    <a:pt x="1005459" y="1161860"/>
                    <a:pt x="1005935" y="1161955"/>
                    <a:pt x="1006412" y="1162050"/>
                  </a:cubicBezTo>
                  <a:lnTo>
                    <a:pt x="1006412" y="1162050"/>
                  </a:lnTo>
                  <a:lnTo>
                    <a:pt x="1007840" y="1162336"/>
                  </a:lnTo>
                  <a:lnTo>
                    <a:pt x="1007840" y="1162336"/>
                  </a:lnTo>
                  <a:lnTo>
                    <a:pt x="1009269" y="1162526"/>
                  </a:lnTo>
                  <a:lnTo>
                    <a:pt x="1009269" y="1162526"/>
                  </a:lnTo>
                  <a:lnTo>
                    <a:pt x="1010698" y="1162717"/>
                  </a:lnTo>
                  <a:lnTo>
                    <a:pt x="1010698" y="1162717"/>
                  </a:lnTo>
                  <a:lnTo>
                    <a:pt x="1012127" y="1162812"/>
                  </a:lnTo>
                  <a:lnTo>
                    <a:pt x="1012127" y="1162812"/>
                  </a:lnTo>
                  <a:lnTo>
                    <a:pt x="1013555" y="1162907"/>
                  </a:lnTo>
                  <a:lnTo>
                    <a:pt x="1013555" y="1162907"/>
                  </a:lnTo>
                  <a:lnTo>
                    <a:pt x="1014031" y="1162907"/>
                  </a:lnTo>
                  <a:cubicBezTo>
                    <a:pt x="1015079" y="1162907"/>
                    <a:pt x="1016032" y="1163003"/>
                    <a:pt x="1017175" y="1163003"/>
                  </a:cubicBezTo>
                  <a:lnTo>
                    <a:pt x="1047560" y="1163003"/>
                  </a:lnTo>
                  <a:lnTo>
                    <a:pt x="1199483" y="1163003"/>
                  </a:lnTo>
                  <a:cubicBezTo>
                    <a:pt x="1244060" y="1163003"/>
                    <a:pt x="1280446" y="1199388"/>
                    <a:pt x="1280446" y="1243965"/>
                  </a:cubicBezTo>
                  <a:lnTo>
                    <a:pt x="1280446" y="1375886"/>
                  </a:lnTo>
                  <a:lnTo>
                    <a:pt x="1280446" y="1539431"/>
                  </a:lnTo>
                  <a:lnTo>
                    <a:pt x="1280446" y="1542574"/>
                  </a:lnTo>
                  <a:cubicBezTo>
                    <a:pt x="1280446" y="1574292"/>
                    <a:pt x="1306354" y="1600200"/>
                    <a:pt x="1338072" y="1600200"/>
                  </a:cubicBezTo>
                  <a:lnTo>
                    <a:pt x="1358075" y="1600200"/>
                  </a:lnTo>
                  <a:cubicBezTo>
                    <a:pt x="1389793" y="1600200"/>
                    <a:pt x="1415701" y="1574292"/>
                    <a:pt x="1415701" y="1542574"/>
                  </a:cubicBezTo>
                  <a:lnTo>
                    <a:pt x="1415701" y="1534477"/>
                  </a:lnTo>
                  <a:cubicBezTo>
                    <a:pt x="1415701" y="1489900"/>
                    <a:pt x="1452086" y="1453515"/>
                    <a:pt x="1496663" y="1453515"/>
                  </a:cubicBezTo>
                  <a:lnTo>
                    <a:pt x="1527239" y="1453515"/>
                  </a:lnTo>
                  <a:cubicBezTo>
                    <a:pt x="1558957" y="1453515"/>
                    <a:pt x="1584865" y="1427607"/>
                    <a:pt x="1584865" y="1395889"/>
                  </a:cubicBezTo>
                  <a:lnTo>
                    <a:pt x="1584865" y="1375886"/>
                  </a:lnTo>
                  <a:cubicBezTo>
                    <a:pt x="1584865" y="1351026"/>
                    <a:pt x="1568958" y="1329690"/>
                    <a:pt x="1546765" y="1321689"/>
                  </a:cubicBezTo>
                  <a:cubicBezTo>
                    <a:pt x="1535716" y="1317689"/>
                    <a:pt x="1493520" y="1325689"/>
                    <a:pt x="1477518" y="1318070"/>
                  </a:cubicBezTo>
                  <a:cubicBezTo>
                    <a:pt x="1439609" y="1299877"/>
                    <a:pt x="1425226" y="1259014"/>
                    <a:pt x="1429988" y="1231487"/>
                  </a:cubicBezTo>
                  <a:cubicBezTo>
                    <a:pt x="1436846" y="1192435"/>
                    <a:pt x="1459039" y="1164527"/>
                    <a:pt x="1498759" y="1164527"/>
                  </a:cubicBezTo>
                  <a:lnTo>
                    <a:pt x="1681829" y="1164527"/>
                  </a:lnTo>
                  <a:cubicBezTo>
                    <a:pt x="1713548" y="1164527"/>
                    <a:pt x="1739456" y="1138619"/>
                    <a:pt x="1739456" y="1106900"/>
                  </a:cubicBezTo>
                  <a:lnTo>
                    <a:pt x="1739456" y="1086898"/>
                  </a:lnTo>
                  <a:cubicBezTo>
                    <a:pt x="1739456" y="1055180"/>
                    <a:pt x="1713548" y="1029272"/>
                    <a:pt x="1681829" y="1029272"/>
                  </a:cubicBezTo>
                  <a:lnTo>
                    <a:pt x="1498854" y="1029272"/>
                  </a:lnTo>
                  <a:cubicBezTo>
                    <a:pt x="1454277" y="1029272"/>
                    <a:pt x="1417892" y="992886"/>
                    <a:pt x="1417892" y="948309"/>
                  </a:cubicBezTo>
                  <a:lnTo>
                    <a:pt x="1417892" y="942594"/>
                  </a:lnTo>
                  <a:cubicBezTo>
                    <a:pt x="1417892" y="910876"/>
                    <a:pt x="1391984" y="884968"/>
                    <a:pt x="1360265" y="884968"/>
                  </a:cubicBezTo>
                  <a:lnTo>
                    <a:pt x="1186148" y="884968"/>
                  </a:lnTo>
                  <a:cubicBezTo>
                    <a:pt x="1141571" y="884968"/>
                    <a:pt x="1105186" y="848582"/>
                    <a:pt x="1105186" y="804005"/>
                  </a:cubicBezTo>
                  <a:lnTo>
                    <a:pt x="1105186" y="646176"/>
                  </a:lnTo>
                  <a:cubicBezTo>
                    <a:pt x="1105186" y="635508"/>
                    <a:pt x="1102233" y="625412"/>
                    <a:pt x="1097089" y="616839"/>
                  </a:cubicBezTo>
                  <a:cubicBezTo>
                    <a:pt x="1096804" y="616458"/>
                    <a:pt x="1096613" y="616077"/>
                    <a:pt x="1096423" y="615696"/>
                  </a:cubicBezTo>
                  <a:cubicBezTo>
                    <a:pt x="1086517" y="598361"/>
                    <a:pt x="1067753" y="586550"/>
                    <a:pt x="1046417" y="586550"/>
                  </a:cubicBezTo>
                  <a:lnTo>
                    <a:pt x="1024128" y="586550"/>
                  </a:lnTo>
                  <a:cubicBezTo>
                    <a:pt x="979551" y="586550"/>
                    <a:pt x="943165" y="550164"/>
                    <a:pt x="943165" y="505587"/>
                  </a:cubicBezTo>
                  <a:lnTo>
                    <a:pt x="943165" y="505206"/>
                  </a:lnTo>
                  <a:cubicBezTo>
                    <a:pt x="943165" y="473488"/>
                    <a:pt x="917162" y="447770"/>
                    <a:pt x="885539" y="446818"/>
                  </a:cubicBezTo>
                  <a:lnTo>
                    <a:pt x="844772" y="445580"/>
                  </a:lnTo>
                  <a:cubicBezTo>
                    <a:pt x="816864" y="441674"/>
                    <a:pt x="795242" y="417481"/>
                    <a:pt x="795242" y="388525"/>
                  </a:cubicBezTo>
                  <a:lnTo>
                    <a:pt x="795242" y="368522"/>
                  </a:lnTo>
                  <a:cubicBezTo>
                    <a:pt x="795242" y="336804"/>
                    <a:pt x="821150" y="310896"/>
                    <a:pt x="852869" y="310896"/>
                  </a:cubicBezTo>
                  <a:lnTo>
                    <a:pt x="952119" y="310896"/>
                  </a:lnTo>
                  <a:lnTo>
                    <a:pt x="951167" y="57626"/>
                  </a:lnTo>
                  <a:cubicBezTo>
                    <a:pt x="951071" y="26003"/>
                    <a:pt x="925259" y="0"/>
                    <a:pt x="893540" y="0"/>
                  </a:cubicBezTo>
                  <a:lnTo>
                    <a:pt x="214598" y="0"/>
                  </a:lnTo>
                  <a:cubicBezTo>
                    <a:pt x="185166" y="0"/>
                    <a:pt x="160592" y="22479"/>
                    <a:pt x="157353" y="51149"/>
                  </a:cubicBezTo>
                  <a:lnTo>
                    <a:pt x="157353" y="93059"/>
                  </a:lnTo>
                  <a:cubicBezTo>
                    <a:pt x="157353" y="124778"/>
                    <a:pt x="131445" y="150686"/>
                    <a:pt x="99727" y="150686"/>
                  </a:cubicBezTo>
                  <a:lnTo>
                    <a:pt x="0" y="150686"/>
                  </a:lnTo>
                  <a:lnTo>
                    <a:pt x="476" y="514921"/>
                  </a:lnTo>
                  <a:lnTo>
                    <a:pt x="476" y="514921"/>
                  </a:lnTo>
                  <a:close/>
                  <a:moveTo>
                    <a:pt x="959358" y="1105281"/>
                  </a:moveTo>
                  <a:lnTo>
                    <a:pt x="959358" y="1105281"/>
                  </a:lnTo>
                  <a:lnTo>
                    <a:pt x="959358" y="1105281"/>
                  </a:lnTo>
                  <a:lnTo>
                    <a:pt x="959358" y="1105281"/>
                  </a:lnTo>
                  <a:close/>
                  <a:moveTo>
                    <a:pt x="486156" y="672655"/>
                  </a:moveTo>
                  <a:lnTo>
                    <a:pt x="486156" y="672655"/>
                  </a:lnTo>
                  <a:lnTo>
                    <a:pt x="486156" y="672655"/>
                  </a:lnTo>
                  <a:lnTo>
                    <a:pt x="486156" y="672655"/>
                  </a:lnTo>
                  <a:close/>
                  <a:moveTo>
                    <a:pt x="647033" y="814769"/>
                  </a:moveTo>
                  <a:lnTo>
                    <a:pt x="647033" y="814769"/>
                  </a:lnTo>
                  <a:lnTo>
                    <a:pt x="647033" y="814769"/>
                  </a:lnTo>
                  <a:lnTo>
                    <a:pt x="647033" y="814769"/>
                  </a:lnTo>
                  <a:close/>
                  <a:moveTo>
                    <a:pt x="793813" y="956881"/>
                  </a:moveTo>
                  <a:lnTo>
                    <a:pt x="793813" y="956881"/>
                  </a:lnTo>
                  <a:lnTo>
                    <a:pt x="793813" y="956881"/>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91" name="Freeform: Shape 190">
              <a:extLst>
                <a:ext uri="{FF2B5EF4-FFF2-40B4-BE49-F238E27FC236}">
                  <a16:creationId xmlns:a16="http://schemas.microsoft.com/office/drawing/2014/main" id="{0175BE5F-38C5-471D-9653-1F23F877B7AF}"/>
                </a:ext>
              </a:extLst>
            </p:cNvPr>
            <p:cNvSpPr/>
            <p:nvPr/>
          </p:nvSpPr>
          <p:spPr>
            <a:xfrm>
              <a:off x="2597579" y="3391265"/>
              <a:ext cx="633888" cy="436149"/>
            </a:xfrm>
            <a:custGeom>
              <a:avLst/>
              <a:gdLst>
                <a:gd name="connsiteX0" fmla="*/ 633889 w 633888"/>
                <a:gd name="connsiteY0" fmla="*/ 285464 h 436149"/>
                <a:gd name="connsiteX1" fmla="*/ 633889 w 633888"/>
                <a:gd name="connsiteY1" fmla="*/ 142208 h 436149"/>
                <a:gd name="connsiteX2" fmla="*/ 57626 w 633888"/>
                <a:gd name="connsiteY2" fmla="*/ 143256 h 436149"/>
                <a:gd name="connsiteX3" fmla="*/ 0 w 633888"/>
                <a:gd name="connsiteY3" fmla="*/ 200882 h 436149"/>
                <a:gd name="connsiteX4" fmla="*/ 0 w 633888"/>
                <a:gd name="connsiteY4" fmla="*/ 378523 h 436149"/>
                <a:gd name="connsiteX5" fmla="*/ 57626 w 633888"/>
                <a:gd name="connsiteY5" fmla="*/ 436150 h 436149"/>
                <a:gd name="connsiteX6" fmla="*/ 253079 w 633888"/>
                <a:gd name="connsiteY6" fmla="*/ 436150 h 436149"/>
                <a:gd name="connsiteX7" fmla="*/ 310705 w 633888"/>
                <a:gd name="connsiteY7" fmla="*/ 378523 h 436149"/>
                <a:gd name="connsiteX8" fmla="*/ 310705 w 633888"/>
                <a:gd name="connsiteY8" fmla="*/ 336613 h 436149"/>
                <a:gd name="connsiteX9" fmla="*/ 367951 w 633888"/>
                <a:gd name="connsiteY9" fmla="*/ 285464 h 436149"/>
                <a:gd name="connsiteX10" fmla="*/ 633889 w 633888"/>
                <a:gd name="connsiteY10" fmla="*/ 285464 h 436149"/>
                <a:gd name="connsiteX11" fmla="*/ 633889 w 633888"/>
                <a:gd name="connsiteY11" fmla="*/ 285464 h 436149"/>
                <a:gd name="connsiteX12" fmla="*/ 91345 w 633888"/>
                <a:gd name="connsiteY12" fmla="*/ 0 h 436149"/>
                <a:gd name="connsiteX13" fmla="*/ 91345 w 633888"/>
                <a:gd name="connsiteY13" fmla="*/ 0 h 436149"/>
                <a:gd name="connsiteX14" fmla="*/ 91345 w 633888"/>
                <a:gd name="connsiteY14" fmla="*/ 0 h 436149"/>
                <a:gd name="connsiteX15" fmla="*/ 91345 w 633888"/>
                <a:gd name="connsiteY15" fmla="*/ 0 h 436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3888" h="436149">
                  <a:moveTo>
                    <a:pt x="633889" y="285464"/>
                  </a:moveTo>
                  <a:lnTo>
                    <a:pt x="633889" y="142208"/>
                  </a:lnTo>
                  <a:cubicBezTo>
                    <a:pt x="427482" y="142208"/>
                    <a:pt x="249746" y="143256"/>
                    <a:pt x="57626" y="143256"/>
                  </a:cubicBezTo>
                  <a:cubicBezTo>
                    <a:pt x="25908" y="143256"/>
                    <a:pt x="0" y="169164"/>
                    <a:pt x="0" y="200882"/>
                  </a:cubicBezTo>
                  <a:lnTo>
                    <a:pt x="0" y="378523"/>
                  </a:lnTo>
                  <a:cubicBezTo>
                    <a:pt x="0" y="410242"/>
                    <a:pt x="25908" y="436150"/>
                    <a:pt x="57626" y="436150"/>
                  </a:cubicBezTo>
                  <a:lnTo>
                    <a:pt x="253079" y="436150"/>
                  </a:lnTo>
                  <a:cubicBezTo>
                    <a:pt x="284797" y="436150"/>
                    <a:pt x="310705" y="410242"/>
                    <a:pt x="310705" y="378523"/>
                  </a:cubicBezTo>
                  <a:lnTo>
                    <a:pt x="310705" y="336613"/>
                  </a:lnTo>
                  <a:cubicBezTo>
                    <a:pt x="313944" y="307943"/>
                    <a:pt x="338519" y="285464"/>
                    <a:pt x="367951" y="285464"/>
                  </a:cubicBezTo>
                  <a:lnTo>
                    <a:pt x="633889" y="285464"/>
                  </a:lnTo>
                  <a:lnTo>
                    <a:pt x="633889" y="285464"/>
                  </a:lnTo>
                  <a:close/>
                  <a:moveTo>
                    <a:pt x="91345" y="0"/>
                  </a:moveTo>
                  <a:lnTo>
                    <a:pt x="91345" y="0"/>
                  </a:lnTo>
                  <a:lnTo>
                    <a:pt x="91345" y="0"/>
                  </a:lnTo>
                  <a:lnTo>
                    <a:pt x="91345"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92" name="Freeform: Shape 191">
              <a:extLst>
                <a:ext uri="{FF2B5EF4-FFF2-40B4-BE49-F238E27FC236}">
                  <a16:creationId xmlns:a16="http://schemas.microsoft.com/office/drawing/2014/main" id="{AFC9A18B-BCB3-4C5B-8A90-7CD820B7456E}"/>
                </a:ext>
              </a:extLst>
            </p:cNvPr>
            <p:cNvSpPr/>
            <p:nvPr/>
          </p:nvSpPr>
          <p:spPr>
            <a:xfrm>
              <a:off x="3231373" y="3411077"/>
              <a:ext cx="951737" cy="573595"/>
            </a:xfrm>
            <a:custGeom>
              <a:avLst/>
              <a:gdLst>
                <a:gd name="connsiteX0" fmla="*/ 472440 w 951737"/>
                <a:gd name="connsiteY0" fmla="*/ 0 h 573595"/>
                <a:gd name="connsiteX1" fmla="*/ 951738 w 951737"/>
                <a:gd name="connsiteY1" fmla="*/ 0 h 573595"/>
                <a:gd name="connsiteX2" fmla="*/ 951738 w 951737"/>
                <a:gd name="connsiteY2" fmla="*/ 213265 h 573595"/>
                <a:gd name="connsiteX3" fmla="*/ 894112 w 951737"/>
                <a:gd name="connsiteY3" fmla="*/ 270891 h 573595"/>
                <a:gd name="connsiteX4" fmla="*/ 859250 w 951737"/>
                <a:gd name="connsiteY4" fmla="*/ 270891 h 573595"/>
                <a:gd name="connsiteX5" fmla="*/ 786574 w 951737"/>
                <a:gd name="connsiteY5" fmla="*/ 347567 h 573595"/>
                <a:gd name="connsiteX6" fmla="*/ 786574 w 951737"/>
                <a:gd name="connsiteY6" fmla="*/ 515969 h 573595"/>
                <a:gd name="connsiteX7" fmla="*/ 728948 w 951737"/>
                <a:gd name="connsiteY7" fmla="*/ 573596 h 573595"/>
                <a:gd name="connsiteX8" fmla="*/ 472535 w 951737"/>
                <a:gd name="connsiteY8" fmla="*/ 573596 h 573595"/>
                <a:gd name="connsiteX9" fmla="*/ 475869 w 951737"/>
                <a:gd name="connsiteY9" fmla="*/ 515969 h 573595"/>
                <a:gd name="connsiteX10" fmla="*/ 475869 w 951737"/>
                <a:gd name="connsiteY10" fmla="*/ 316802 h 573595"/>
                <a:gd name="connsiteX11" fmla="*/ 418624 w 951737"/>
                <a:gd name="connsiteY11" fmla="*/ 265652 h 573595"/>
                <a:gd name="connsiteX12" fmla="*/ 0 w 951737"/>
                <a:gd name="connsiteY12" fmla="*/ 265652 h 573595"/>
                <a:gd name="connsiteX13" fmla="*/ 0 w 951737"/>
                <a:gd name="connsiteY13" fmla="*/ 122396 h 573595"/>
                <a:gd name="connsiteX14" fmla="*/ 78772 w 951737"/>
                <a:gd name="connsiteY14" fmla="*/ 122396 h 573595"/>
                <a:gd name="connsiteX15" fmla="*/ 93345 w 951737"/>
                <a:gd name="connsiteY15" fmla="*/ 121729 h 573595"/>
                <a:gd name="connsiteX16" fmla="*/ 101251 w 951737"/>
                <a:gd name="connsiteY16" fmla="*/ 121348 h 573595"/>
                <a:gd name="connsiteX17" fmla="*/ 400240 w 951737"/>
                <a:gd name="connsiteY17" fmla="*/ 121348 h 573595"/>
                <a:gd name="connsiteX18" fmla="*/ 470249 w 951737"/>
                <a:gd name="connsiteY18" fmla="*/ 51340 h 573595"/>
                <a:gd name="connsiteX19" fmla="*/ 472440 w 951737"/>
                <a:gd name="connsiteY19" fmla="*/ 0 h 5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1737" h="573595">
                  <a:moveTo>
                    <a:pt x="472440" y="0"/>
                  </a:moveTo>
                  <a:lnTo>
                    <a:pt x="951738" y="0"/>
                  </a:lnTo>
                  <a:lnTo>
                    <a:pt x="951738" y="213265"/>
                  </a:lnTo>
                  <a:cubicBezTo>
                    <a:pt x="951738" y="244983"/>
                    <a:pt x="925830" y="270891"/>
                    <a:pt x="894112" y="270891"/>
                  </a:cubicBezTo>
                  <a:lnTo>
                    <a:pt x="859250" y="270891"/>
                  </a:lnTo>
                  <a:cubicBezTo>
                    <a:pt x="802957" y="270891"/>
                    <a:pt x="784955" y="325946"/>
                    <a:pt x="786574" y="347567"/>
                  </a:cubicBezTo>
                  <a:lnTo>
                    <a:pt x="786574" y="515969"/>
                  </a:lnTo>
                  <a:cubicBezTo>
                    <a:pt x="786574" y="547688"/>
                    <a:pt x="760666" y="573596"/>
                    <a:pt x="728948" y="573596"/>
                  </a:cubicBezTo>
                  <a:lnTo>
                    <a:pt x="472535" y="573596"/>
                  </a:lnTo>
                  <a:lnTo>
                    <a:pt x="475869" y="515969"/>
                  </a:lnTo>
                  <a:lnTo>
                    <a:pt x="475869" y="316802"/>
                  </a:lnTo>
                  <a:cubicBezTo>
                    <a:pt x="472630" y="288131"/>
                    <a:pt x="448056" y="265652"/>
                    <a:pt x="418624" y="265652"/>
                  </a:cubicBezTo>
                  <a:lnTo>
                    <a:pt x="0" y="265652"/>
                  </a:lnTo>
                  <a:lnTo>
                    <a:pt x="0" y="122396"/>
                  </a:lnTo>
                  <a:lnTo>
                    <a:pt x="78772" y="122396"/>
                  </a:lnTo>
                  <a:cubicBezTo>
                    <a:pt x="83725" y="122396"/>
                    <a:pt x="88582" y="122111"/>
                    <a:pt x="93345" y="121729"/>
                  </a:cubicBezTo>
                  <a:cubicBezTo>
                    <a:pt x="96107" y="121444"/>
                    <a:pt x="98488" y="121348"/>
                    <a:pt x="101251" y="121348"/>
                  </a:cubicBezTo>
                  <a:lnTo>
                    <a:pt x="400240" y="121348"/>
                  </a:lnTo>
                  <a:cubicBezTo>
                    <a:pt x="438721" y="121348"/>
                    <a:pt x="468630" y="89821"/>
                    <a:pt x="470249" y="51340"/>
                  </a:cubicBezTo>
                  <a:lnTo>
                    <a:pt x="472440" y="0"/>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93" name="Freeform: Shape 192">
              <a:extLst>
                <a:ext uri="{FF2B5EF4-FFF2-40B4-BE49-F238E27FC236}">
                  <a16:creationId xmlns:a16="http://schemas.microsoft.com/office/drawing/2014/main" id="{D79E45CE-F531-430F-A611-EFC1194E3BFE}"/>
                </a:ext>
              </a:extLst>
            </p:cNvPr>
            <p:cNvSpPr/>
            <p:nvPr/>
          </p:nvSpPr>
          <p:spPr>
            <a:xfrm>
              <a:off x="3704003" y="3830177"/>
              <a:ext cx="314039" cy="154495"/>
            </a:xfrm>
            <a:custGeom>
              <a:avLst/>
              <a:gdLst>
                <a:gd name="connsiteX0" fmla="*/ 314039 w 314039"/>
                <a:gd name="connsiteY0" fmla="*/ 0 h 154495"/>
                <a:gd name="connsiteX1" fmla="*/ 314039 w 314039"/>
                <a:gd name="connsiteY1" fmla="*/ 96869 h 154495"/>
                <a:gd name="connsiteX2" fmla="*/ 256413 w 314039"/>
                <a:gd name="connsiteY2" fmla="*/ 154496 h 154495"/>
                <a:gd name="connsiteX3" fmla="*/ 0 w 314039"/>
                <a:gd name="connsiteY3" fmla="*/ 154496 h 154495"/>
                <a:gd name="connsiteX4" fmla="*/ 3334 w 314039"/>
                <a:gd name="connsiteY4" fmla="*/ 96869 h 154495"/>
                <a:gd name="connsiteX5" fmla="*/ 3334 w 314039"/>
                <a:gd name="connsiteY5" fmla="*/ 0 h 154495"/>
                <a:gd name="connsiteX6" fmla="*/ 314039 w 314039"/>
                <a:gd name="connsiteY6" fmla="*/ 0 h 15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039" h="154495">
                  <a:moveTo>
                    <a:pt x="314039" y="0"/>
                  </a:moveTo>
                  <a:lnTo>
                    <a:pt x="314039" y="96869"/>
                  </a:lnTo>
                  <a:cubicBezTo>
                    <a:pt x="314039" y="128588"/>
                    <a:pt x="288131" y="154496"/>
                    <a:pt x="256413" y="154496"/>
                  </a:cubicBezTo>
                  <a:lnTo>
                    <a:pt x="0" y="154496"/>
                  </a:lnTo>
                  <a:lnTo>
                    <a:pt x="3334" y="96869"/>
                  </a:lnTo>
                  <a:lnTo>
                    <a:pt x="3334" y="0"/>
                  </a:lnTo>
                  <a:lnTo>
                    <a:pt x="314039" y="0"/>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94" name="Freeform: Shape 193">
              <a:extLst>
                <a:ext uri="{FF2B5EF4-FFF2-40B4-BE49-F238E27FC236}">
                  <a16:creationId xmlns:a16="http://schemas.microsoft.com/office/drawing/2014/main" id="{FDE15936-D8D8-440F-BA99-7BB8F07288B1}"/>
                </a:ext>
              </a:extLst>
            </p:cNvPr>
            <p:cNvSpPr/>
            <p:nvPr/>
          </p:nvSpPr>
          <p:spPr>
            <a:xfrm>
              <a:off x="3828495" y="3830462"/>
              <a:ext cx="820769" cy="493014"/>
            </a:xfrm>
            <a:custGeom>
              <a:avLst/>
              <a:gdLst>
                <a:gd name="connsiteX0" fmla="*/ 0 w 820769"/>
                <a:gd name="connsiteY0" fmla="*/ 154210 h 493014"/>
                <a:gd name="connsiteX1" fmla="*/ 41053 w 820769"/>
                <a:gd name="connsiteY1" fmla="*/ 220313 h 493014"/>
                <a:gd name="connsiteX2" fmla="*/ 41053 w 820769"/>
                <a:gd name="connsiteY2" fmla="*/ 239268 h 493014"/>
                <a:gd name="connsiteX3" fmla="*/ 98679 w 820769"/>
                <a:gd name="connsiteY3" fmla="*/ 296894 h 493014"/>
                <a:gd name="connsiteX4" fmla="*/ 126778 w 820769"/>
                <a:gd name="connsiteY4" fmla="*/ 296894 h 493014"/>
                <a:gd name="connsiteX5" fmla="*/ 207740 w 820769"/>
                <a:gd name="connsiteY5" fmla="*/ 377857 h 493014"/>
                <a:gd name="connsiteX6" fmla="*/ 207740 w 820769"/>
                <a:gd name="connsiteY6" fmla="*/ 385001 h 493014"/>
                <a:gd name="connsiteX7" fmla="*/ 207740 w 820769"/>
                <a:gd name="connsiteY7" fmla="*/ 386524 h 493014"/>
                <a:gd name="connsiteX8" fmla="*/ 207740 w 820769"/>
                <a:gd name="connsiteY8" fmla="*/ 386524 h 493014"/>
                <a:gd name="connsiteX9" fmla="*/ 207835 w 820769"/>
                <a:gd name="connsiteY9" fmla="*/ 387953 h 493014"/>
                <a:gd name="connsiteX10" fmla="*/ 207835 w 820769"/>
                <a:gd name="connsiteY10" fmla="*/ 387953 h 493014"/>
                <a:gd name="connsiteX11" fmla="*/ 207931 w 820769"/>
                <a:gd name="connsiteY11" fmla="*/ 389382 h 493014"/>
                <a:gd name="connsiteX12" fmla="*/ 207931 w 820769"/>
                <a:gd name="connsiteY12" fmla="*/ 389382 h 493014"/>
                <a:gd name="connsiteX13" fmla="*/ 208026 w 820769"/>
                <a:gd name="connsiteY13" fmla="*/ 390811 h 493014"/>
                <a:gd name="connsiteX14" fmla="*/ 208026 w 820769"/>
                <a:gd name="connsiteY14" fmla="*/ 390811 h 493014"/>
                <a:gd name="connsiteX15" fmla="*/ 208216 w 820769"/>
                <a:gd name="connsiteY15" fmla="*/ 392239 h 493014"/>
                <a:gd name="connsiteX16" fmla="*/ 208216 w 820769"/>
                <a:gd name="connsiteY16" fmla="*/ 392239 h 493014"/>
                <a:gd name="connsiteX17" fmla="*/ 208407 w 820769"/>
                <a:gd name="connsiteY17" fmla="*/ 393668 h 493014"/>
                <a:gd name="connsiteX18" fmla="*/ 208407 w 820769"/>
                <a:gd name="connsiteY18" fmla="*/ 393668 h 493014"/>
                <a:gd name="connsiteX19" fmla="*/ 208597 w 820769"/>
                <a:gd name="connsiteY19" fmla="*/ 395097 h 493014"/>
                <a:gd name="connsiteX20" fmla="*/ 208597 w 820769"/>
                <a:gd name="connsiteY20" fmla="*/ 395097 h 493014"/>
                <a:gd name="connsiteX21" fmla="*/ 230886 w 820769"/>
                <a:gd name="connsiteY21" fmla="*/ 431102 h 493014"/>
                <a:gd name="connsiteX22" fmla="*/ 230886 w 820769"/>
                <a:gd name="connsiteY22" fmla="*/ 431102 h 493014"/>
                <a:gd name="connsiteX23" fmla="*/ 232029 w 820769"/>
                <a:gd name="connsiteY23" fmla="*/ 431959 h 493014"/>
                <a:gd name="connsiteX24" fmla="*/ 232029 w 820769"/>
                <a:gd name="connsiteY24" fmla="*/ 431959 h 493014"/>
                <a:gd name="connsiteX25" fmla="*/ 233172 w 820769"/>
                <a:gd name="connsiteY25" fmla="*/ 432721 h 493014"/>
                <a:gd name="connsiteX26" fmla="*/ 233172 w 820769"/>
                <a:gd name="connsiteY26" fmla="*/ 432721 h 493014"/>
                <a:gd name="connsiteX27" fmla="*/ 234315 w 820769"/>
                <a:gd name="connsiteY27" fmla="*/ 433483 h 493014"/>
                <a:gd name="connsiteX28" fmla="*/ 234315 w 820769"/>
                <a:gd name="connsiteY28" fmla="*/ 433483 h 493014"/>
                <a:gd name="connsiteX29" fmla="*/ 235458 w 820769"/>
                <a:gd name="connsiteY29" fmla="*/ 434245 h 493014"/>
                <a:gd name="connsiteX30" fmla="*/ 235458 w 820769"/>
                <a:gd name="connsiteY30" fmla="*/ 434245 h 493014"/>
                <a:gd name="connsiteX31" fmla="*/ 236029 w 820769"/>
                <a:gd name="connsiteY31" fmla="*/ 434530 h 493014"/>
                <a:gd name="connsiteX32" fmla="*/ 237363 w 820769"/>
                <a:gd name="connsiteY32" fmla="*/ 435293 h 493014"/>
                <a:gd name="connsiteX33" fmla="*/ 237934 w 820769"/>
                <a:gd name="connsiteY33" fmla="*/ 435578 h 493014"/>
                <a:gd name="connsiteX34" fmla="*/ 237934 w 820769"/>
                <a:gd name="connsiteY34" fmla="*/ 435578 h 493014"/>
                <a:gd name="connsiteX35" fmla="*/ 239173 w 820769"/>
                <a:gd name="connsiteY35" fmla="*/ 436245 h 493014"/>
                <a:gd name="connsiteX36" fmla="*/ 239173 w 820769"/>
                <a:gd name="connsiteY36" fmla="*/ 436245 h 493014"/>
                <a:gd name="connsiteX37" fmla="*/ 240411 w 820769"/>
                <a:gd name="connsiteY37" fmla="*/ 436912 h 493014"/>
                <a:gd name="connsiteX38" fmla="*/ 240411 w 820769"/>
                <a:gd name="connsiteY38" fmla="*/ 436912 h 493014"/>
                <a:gd name="connsiteX39" fmla="*/ 241649 w 820769"/>
                <a:gd name="connsiteY39" fmla="*/ 437483 h 493014"/>
                <a:gd name="connsiteX40" fmla="*/ 241649 w 820769"/>
                <a:gd name="connsiteY40" fmla="*/ 437483 h 493014"/>
                <a:gd name="connsiteX41" fmla="*/ 242888 w 820769"/>
                <a:gd name="connsiteY41" fmla="*/ 438055 h 493014"/>
                <a:gd name="connsiteX42" fmla="*/ 242888 w 820769"/>
                <a:gd name="connsiteY42" fmla="*/ 438055 h 493014"/>
                <a:gd name="connsiteX43" fmla="*/ 244221 w 820769"/>
                <a:gd name="connsiteY43" fmla="*/ 438626 h 493014"/>
                <a:gd name="connsiteX44" fmla="*/ 244221 w 820769"/>
                <a:gd name="connsiteY44" fmla="*/ 438626 h 493014"/>
                <a:gd name="connsiteX45" fmla="*/ 245554 w 820769"/>
                <a:gd name="connsiteY45" fmla="*/ 439103 h 493014"/>
                <a:gd name="connsiteX46" fmla="*/ 245554 w 820769"/>
                <a:gd name="connsiteY46" fmla="*/ 439103 h 493014"/>
                <a:gd name="connsiteX47" fmla="*/ 246888 w 820769"/>
                <a:gd name="connsiteY47" fmla="*/ 439579 h 493014"/>
                <a:gd name="connsiteX48" fmla="*/ 246888 w 820769"/>
                <a:gd name="connsiteY48" fmla="*/ 439579 h 493014"/>
                <a:gd name="connsiteX49" fmla="*/ 247174 w 820769"/>
                <a:gd name="connsiteY49" fmla="*/ 439674 h 493014"/>
                <a:gd name="connsiteX50" fmla="*/ 249269 w 820769"/>
                <a:gd name="connsiteY50" fmla="*/ 440341 h 493014"/>
                <a:gd name="connsiteX51" fmla="*/ 249555 w 820769"/>
                <a:gd name="connsiteY51" fmla="*/ 440436 h 493014"/>
                <a:gd name="connsiteX52" fmla="*/ 249555 w 820769"/>
                <a:gd name="connsiteY52" fmla="*/ 440436 h 493014"/>
                <a:gd name="connsiteX53" fmla="*/ 250888 w 820769"/>
                <a:gd name="connsiteY53" fmla="*/ 440817 h 493014"/>
                <a:gd name="connsiteX54" fmla="*/ 250888 w 820769"/>
                <a:gd name="connsiteY54" fmla="*/ 440817 h 493014"/>
                <a:gd name="connsiteX55" fmla="*/ 252222 w 820769"/>
                <a:gd name="connsiteY55" fmla="*/ 441198 h 493014"/>
                <a:gd name="connsiteX56" fmla="*/ 252222 w 820769"/>
                <a:gd name="connsiteY56" fmla="*/ 441198 h 493014"/>
                <a:gd name="connsiteX57" fmla="*/ 253651 w 820769"/>
                <a:gd name="connsiteY57" fmla="*/ 441484 h 493014"/>
                <a:gd name="connsiteX58" fmla="*/ 253651 w 820769"/>
                <a:gd name="connsiteY58" fmla="*/ 441484 h 493014"/>
                <a:gd name="connsiteX59" fmla="*/ 255079 w 820769"/>
                <a:gd name="connsiteY59" fmla="*/ 441770 h 493014"/>
                <a:gd name="connsiteX60" fmla="*/ 255079 w 820769"/>
                <a:gd name="connsiteY60" fmla="*/ 441770 h 493014"/>
                <a:gd name="connsiteX61" fmla="*/ 255365 w 820769"/>
                <a:gd name="connsiteY61" fmla="*/ 441770 h 493014"/>
                <a:gd name="connsiteX62" fmla="*/ 257746 w 820769"/>
                <a:gd name="connsiteY62" fmla="*/ 442151 h 493014"/>
                <a:gd name="connsiteX63" fmla="*/ 258032 w 820769"/>
                <a:gd name="connsiteY63" fmla="*/ 442151 h 493014"/>
                <a:gd name="connsiteX64" fmla="*/ 258032 w 820769"/>
                <a:gd name="connsiteY64" fmla="*/ 442151 h 493014"/>
                <a:gd name="connsiteX65" fmla="*/ 259461 w 820769"/>
                <a:gd name="connsiteY65" fmla="*/ 442341 h 493014"/>
                <a:gd name="connsiteX66" fmla="*/ 259461 w 820769"/>
                <a:gd name="connsiteY66" fmla="*/ 442341 h 493014"/>
                <a:gd name="connsiteX67" fmla="*/ 260890 w 820769"/>
                <a:gd name="connsiteY67" fmla="*/ 442436 h 493014"/>
                <a:gd name="connsiteX68" fmla="*/ 260890 w 820769"/>
                <a:gd name="connsiteY68" fmla="*/ 442436 h 493014"/>
                <a:gd name="connsiteX69" fmla="*/ 262318 w 820769"/>
                <a:gd name="connsiteY69" fmla="*/ 442531 h 493014"/>
                <a:gd name="connsiteX70" fmla="*/ 262318 w 820769"/>
                <a:gd name="connsiteY70" fmla="*/ 442531 h 493014"/>
                <a:gd name="connsiteX71" fmla="*/ 262795 w 820769"/>
                <a:gd name="connsiteY71" fmla="*/ 442531 h 493014"/>
                <a:gd name="connsiteX72" fmla="*/ 265938 w 820769"/>
                <a:gd name="connsiteY72" fmla="*/ 442627 h 493014"/>
                <a:gd name="connsiteX73" fmla="*/ 431768 w 820769"/>
                <a:gd name="connsiteY73" fmla="*/ 442627 h 493014"/>
                <a:gd name="connsiteX74" fmla="*/ 434054 w 820769"/>
                <a:gd name="connsiteY74" fmla="*/ 442627 h 493014"/>
                <a:gd name="connsiteX75" fmla="*/ 509016 w 820769"/>
                <a:gd name="connsiteY75" fmla="*/ 493014 h 493014"/>
                <a:gd name="connsiteX76" fmla="*/ 506349 w 820769"/>
                <a:gd name="connsiteY76" fmla="*/ 345377 h 493014"/>
                <a:gd name="connsiteX77" fmla="*/ 423767 w 820769"/>
                <a:gd name="connsiteY77" fmla="*/ 276130 h 493014"/>
                <a:gd name="connsiteX78" fmla="*/ 408622 w 820769"/>
                <a:gd name="connsiteY78" fmla="*/ 276130 h 493014"/>
                <a:gd name="connsiteX79" fmla="*/ 350996 w 820769"/>
                <a:gd name="connsiteY79" fmla="*/ 218504 h 493014"/>
                <a:gd name="connsiteX80" fmla="*/ 350996 w 820769"/>
                <a:gd name="connsiteY80" fmla="*/ 198501 h 493014"/>
                <a:gd name="connsiteX81" fmla="*/ 408622 w 820769"/>
                <a:gd name="connsiteY81" fmla="*/ 140875 h 493014"/>
                <a:gd name="connsiteX82" fmla="*/ 820769 w 820769"/>
                <a:gd name="connsiteY82" fmla="*/ 140875 h 493014"/>
                <a:gd name="connsiteX83" fmla="*/ 820769 w 820769"/>
                <a:gd name="connsiteY83" fmla="*/ 0 h 493014"/>
                <a:gd name="connsiteX84" fmla="*/ 189547 w 820769"/>
                <a:gd name="connsiteY84" fmla="*/ 0 h 493014"/>
                <a:gd name="connsiteX85" fmla="*/ 189547 w 820769"/>
                <a:gd name="connsiteY85" fmla="*/ 96869 h 493014"/>
                <a:gd name="connsiteX86" fmla="*/ 131921 w 820769"/>
                <a:gd name="connsiteY86" fmla="*/ 154496 h 493014"/>
                <a:gd name="connsiteX87" fmla="*/ 0 w 820769"/>
                <a:gd name="connsiteY87" fmla="*/ 154496 h 493014"/>
                <a:gd name="connsiteX88" fmla="*/ 0 w 820769"/>
                <a:gd name="connsiteY88" fmla="*/ 154210 h 493014"/>
                <a:gd name="connsiteX89" fmla="*/ 207740 w 820769"/>
                <a:gd name="connsiteY89" fmla="*/ 384905 h 493014"/>
                <a:gd name="connsiteX90" fmla="*/ 207740 w 820769"/>
                <a:gd name="connsiteY90" fmla="*/ 384905 h 493014"/>
                <a:gd name="connsiteX91" fmla="*/ 207740 w 820769"/>
                <a:gd name="connsiteY91" fmla="*/ 384905 h 49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820769" h="493014">
                  <a:moveTo>
                    <a:pt x="0" y="154210"/>
                  </a:moveTo>
                  <a:cubicBezTo>
                    <a:pt x="24003" y="154496"/>
                    <a:pt x="41053" y="169450"/>
                    <a:pt x="41053" y="220313"/>
                  </a:cubicBezTo>
                  <a:lnTo>
                    <a:pt x="41053" y="239268"/>
                  </a:lnTo>
                  <a:cubicBezTo>
                    <a:pt x="41053" y="270986"/>
                    <a:pt x="66961" y="296894"/>
                    <a:pt x="98679" y="296894"/>
                  </a:cubicBezTo>
                  <a:lnTo>
                    <a:pt x="126778" y="296894"/>
                  </a:lnTo>
                  <a:cubicBezTo>
                    <a:pt x="171355" y="296894"/>
                    <a:pt x="207740" y="333280"/>
                    <a:pt x="207740" y="377857"/>
                  </a:cubicBezTo>
                  <a:lnTo>
                    <a:pt x="207740" y="385001"/>
                  </a:lnTo>
                  <a:lnTo>
                    <a:pt x="207740" y="386524"/>
                  </a:lnTo>
                  <a:lnTo>
                    <a:pt x="207740" y="386524"/>
                  </a:lnTo>
                  <a:lnTo>
                    <a:pt x="207835" y="387953"/>
                  </a:lnTo>
                  <a:lnTo>
                    <a:pt x="207835" y="387953"/>
                  </a:lnTo>
                  <a:lnTo>
                    <a:pt x="207931" y="389382"/>
                  </a:lnTo>
                  <a:lnTo>
                    <a:pt x="207931" y="389382"/>
                  </a:lnTo>
                  <a:lnTo>
                    <a:pt x="208026" y="390811"/>
                  </a:lnTo>
                  <a:lnTo>
                    <a:pt x="208026" y="390811"/>
                  </a:lnTo>
                  <a:lnTo>
                    <a:pt x="208216" y="392239"/>
                  </a:lnTo>
                  <a:lnTo>
                    <a:pt x="208216" y="392239"/>
                  </a:lnTo>
                  <a:lnTo>
                    <a:pt x="208407" y="393668"/>
                  </a:lnTo>
                  <a:lnTo>
                    <a:pt x="208407" y="393668"/>
                  </a:lnTo>
                  <a:lnTo>
                    <a:pt x="208597" y="395097"/>
                  </a:lnTo>
                  <a:lnTo>
                    <a:pt x="208597" y="395097"/>
                  </a:lnTo>
                  <a:cubicBezTo>
                    <a:pt x="211074" y="409289"/>
                    <a:pt x="219265" y="422243"/>
                    <a:pt x="230886" y="431102"/>
                  </a:cubicBezTo>
                  <a:lnTo>
                    <a:pt x="230886" y="431102"/>
                  </a:lnTo>
                  <a:lnTo>
                    <a:pt x="232029" y="431959"/>
                  </a:lnTo>
                  <a:lnTo>
                    <a:pt x="232029" y="431959"/>
                  </a:lnTo>
                  <a:lnTo>
                    <a:pt x="233172" y="432721"/>
                  </a:lnTo>
                  <a:lnTo>
                    <a:pt x="233172" y="432721"/>
                  </a:lnTo>
                  <a:lnTo>
                    <a:pt x="234315" y="433483"/>
                  </a:lnTo>
                  <a:lnTo>
                    <a:pt x="234315" y="433483"/>
                  </a:lnTo>
                  <a:lnTo>
                    <a:pt x="235458" y="434245"/>
                  </a:lnTo>
                  <a:lnTo>
                    <a:pt x="235458" y="434245"/>
                  </a:lnTo>
                  <a:lnTo>
                    <a:pt x="236029" y="434530"/>
                  </a:lnTo>
                  <a:cubicBezTo>
                    <a:pt x="236506" y="434816"/>
                    <a:pt x="236887" y="435007"/>
                    <a:pt x="237363" y="435293"/>
                  </a:cubicBezTo>
                  <a:lnTo>
                    <a:pt x="237934" y="435578"/>
                  </a:lnTo>
                  <a:lnTo>
                    <a:pt x="237934" y="435578"/>
                  </a:lnTo>
                  <a:lnTo>
                    <a:pt x="239173" y="436245"/>
                  </a:lnTo>
                  <a:lnTo>
                    <a:pt x="239173" y="436245"/>
                  </a:lnTo>
                  <a:lnTo>
                    <a:pt x="240411" y="436912"/>
                  </a:lnTo>
                  <a:lnTo>
                    <a:pt x="240411" y="436912"/>
                  </a:lnTo>
                  <a:lnTo>
                    <a:pt x="241649" y="437483"/>
                  </a:lnTo>
                  <a:lnTo>
                    <a:pt x="241649" y="437483"/>
                  </a:lnTo>
                  <a:cubicBezTo>
                    <a:pt x="242030" y="437674"/>
                    <a:pt x="242506" y="437864"/>
                    <a:pt x="242888" y="438055"/>
                  </a:cubicBezTo>
                  <a:lnTo>
                    <a:pt x="242888" y="438055"/>
                  </a:lnTo>
                  <a:lnTo>
                    <a:pt x="244221" y="438626"/>
                  </a:lnTo>
                  <a:lnTo>
                    <a:pt x="244221" y="438626"/>
                  </a:lnTo>
                  <a:lnTo>
                    <a:pt x="245554" y="439103"/>
                  </a:lnTo>
                  <a:lnTo>
                    <a:pt x="245554" y="439103"/>
                  </a:lnTo>
                  <a:lnTo>
                    <a:pt x="246888" y="439579"/>
                  </a:lnTo>
                  <a:lnTo>
                    <a:pt x="246888" y="439579"/>
                  </a:lnTo>
                  <a:lnTo>
                    <a:pt x="247174" y="439674"/>
                  </a:lnTo>
                  <a:cubicBezTo>
                    <a:pt x="247936" y="439864"/>
                    <a:pt x="248507" y="440055"/>
                    <a:pt x="249269" y="440341"/>
                  </a:cubicBezTo>
                  <a:lnTo>
                    <a:pt x="249555" y="440436"/>
                  </a:lnTo>
                  <a:lnTo>
                    <a:pt x="249555" y="440436"/>
                  </a:lnTo>
                  <a:lnTo>
                    <a:pt x="250888" y="440817"/>
                  </a:lnTo>
                  <a:lnTo>
                    <a:pt x="250888" y="440817"/>
                  </a:lnTo>
                  <a:lnTo>
                    <a:pt x="252222" y="441198"/>
                  </a:lnTo>
                  <a:lnTo>
                    <a:pt x="252222" y="441198"/>
                  </a:lnTo>
                  <a:lnTo>
                    <a:pt x="253651" y="441484"/>
                  </a:lnTo>
                  <a:lnTo>
                    <a:pt x="253651" y="441484"/>
                  </a:lnTo>
                  <a:cubicBezTo>
                    <a:pt x="254127" y="441579"/>
                    <a:pt x="254603" y="441674"/>
                    <a:pt x="255079" y="441770"/>
                  </a:cubicBezTo>
                  <a:lnTo>
                    <a:pt x="255079" y="441770"/>
                  </a:lnTo>
                  <a:lnTo>
                    <a:pt x="255365" y="441770"/>
                  </a:lnTo>
                  <a:cubicBezTo>
                    <a:pt x="256222" y="441865"/>
                    <a:pt x="256889" y="442055"/>
                    <a:pt x="257746" y="442151"/>
                  </a:cubicBezTo>
                  <a:lnTo>
                    <a:pt x="258032" y="442151"/>
                  </a:lnTo>
                  <a:lnTo>
                    <a:pt x="258032" y="442151"/>
                  </a:lnTo>
                  <a:lnTo>
                    <a:pt x="259461" y="442341"/>
                  </a:lnTo>
                  <a:lnTo>
                    <a:pt x="259461" y="442341"/>
                  </a:lnTo>
                  <a:lnTo>
                    <a:pt x="260890" y="442436"/>
                  </a:lnTo>
                  <a:lnTo>
                    <a:pt x="260890" y="442436"/>
                  </a:lnTo>
                  <a:lnTo>
                    <a:pt x="262318" y="442531"/>
                  </a:lnTo>
                  <a:lnTo>
                    <a:pt x="262318" y="442531"/>
                  </a:lnTo>
                  <a:lnTo>
                    <a:pt x="262795" y="442531"/>
                  </a:lnTo>
                  <a:cubicBezTo>
                    <a:pt x="263938" y="442531"/>
                    <a:pt x="264795" y="442627"/>
                    <a:pt x="265938" y="442627"/>
                  </a:cubicBezTo>
                  <a:lnTo>
                    <a:pt x="431768" y="442627"/>
                  </a:lnTo>
                  <a:lnTo>
                    <a:pt x="434054" y="442627"/>
                  </a:lnTo>
                  <a:cubicBezTo>
                    <a:pt x="467868" y="442627"/>
                    <a:pt x="496824" y="463487"/>
                    <a:pt x="509016" y="493014"/>
                  </a:cubicBezTo>
                  <a:lnTo>
                    <a:pt x="506349" y="345377"/>
                  </a:lnTo>
                  <a:cubicBezTo>
                    <a:pt x="505015" y="273463"/>
                    <a:pt x="439007" y="276606"/>
                    <a:pt x="423767" y="276130"/>
                  </a:cubicBezTo>
                  <a:lnTo>
                    <a:pt x="408622" y="276130"/>
                  </a:lnTo>
                  <a:cubicBezTo>
                    <a:pt x="376904" y="276130"/>
                    <a:pt x="350996" y="250222"/>
                    <a:pt x="350996" y="218504"/>
                  </a:cubicBezTo>
                  <a:lnTo>
                    <a:pt x="350996" y="198501"/>
                  </a:lnTo>
                  <a:cubicBezTo>
                    <a:pt x="350996" y="166783"/>
                    <a:pt x="376904" y="140875"/>
                    <a:pt x="408622" y="140875"/>
                  </a:cubicBezTo>
                  <a:lnTo>
                    <a:pt x="820769" y="140875"/>
                  </a:lnTo>
                  <a:lnTo>
                    <a:pt x="820769" y="0"/>
                  </a:lnTo>
                  <a:lnTo>
                    <a:pt x="189547" y="0"/>
                  </a:lnTo>
                  <a:lnTo>
                    <a:pt x="189547" y="96869"/>
                  </a:lnTo>
                  <a:cubicBezTo>
                    <a:pt x="189547" y="128588"/>
                    <a:pt x="163639" y="154496"/>
                    <a:pt x="131921" y="154496"/>
                  </a:cubicBezTo>
                  <a:lnTo>
                    <a:pt x="0" y="154496"/>
                  </a:lnTo>
                  <a:lnTo>
                    <a:pt x="0" y="154210"/>
                  </a:lnTo>
                  <a:close/>
                  <a:moveTo>
                    <a:pt x="207740" y="384905"/>
                  </a:moveTo>
                  <a:lnTo>
                    <a:pt x="207740" y="384905"/>
                  </a:lnTo>
                  <a:lnTo>
                    <a:pt x="207740" y="384905"/>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95" name="Freeform: Shape 194">
              <a:extLst>
                <a:ext uri="{FF2B5EF4-FFF2-40B4-BE49-F238E27FC236}">
                  <a16:creationId xmlns:a16="http://schemas.microsoft.com/office/drawing/2014/main" id="{E3C5FF34-A78C-4467-846C-713CB41EAF5B}"/>
                </a:ext>
              </a:extLst>
            </p:cNvPr>
            <p:cNvSpPr/>
            <p:nvPr/>
          </p:nvSpPr>
          <p:spPr>
            <a:xfrm>
              <a:off x="5452983" y="5721461"/>
              <a:ext cx="448627" cy="135254"/>
            </a:xfrm>
            <a:custGeom>
              <a:avLst/>
              <a:gdLst>
                <a:gd name="connsiteX0" fmla="*/ 0 w 448627"/>
                <a:gd name="connsiteY0" fmla="*/ 57626 h 135254"/>
                <a:gd name="connsiteX1" fmla="*/ 0 w 448627"/>
                <a:gd name="connsiteY1" fmla="*/ 77628 h 135254"/>
                <a:gd name="connsiteX2" fmla="*/ 57626 w 448627"/>
                <a:gd name="connsiteY2" fmla="*/ 135255 h 135254"/>
                <a:gd name="connsiteX3" fmla="*/ 391001 w 448627"/>
                <a:gd name="connsiteY3" fmla="*/ 135255 h 135254"/>
                <a:gd name="connsiteX4" fmla="*/ 448627 w 448627"/>
                <a:gd name="connsiteY4" fmla="*/ 77628 h 135254"/>
                <a:gd name="connsiteX5" fmla="*/ 448627 w 448627"/>
                <a:gd name="connsiteY5" fmla="*/ 57626 h 135254"/>
                <a:gd name="connsiteX6" fmla="*/ 391001 w 448627"/>
                <a:gd name="connsiteY6" fmla="*/ 0 h 135254"/>
                <a:gd name="connsiteX7" fmla="*/ 57626 w 448627"/>
                <a:gd name="connsiteY7" fmla="*/ 0 h 135254"/>
                <a:gd name="connsiteX8" fmla="*/ 0 w 448627"/>
                <a:gd name="connsiteY8" fmla="*/ 57626 h 13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627" h="135254">
                  <a:moveTo>
                    <a:pt x="0" y="57626"/>
                  </a:moveTo>
                  <a:lnTo>
                    <a:pt x="0" y="77628"/>
                  </a:lnTo>
                  <a:cubicBezTo>
                    <a:pt x="0" y="109347"/>
                    <a:pt x="25908" y="135255"/>
                    <a:pt x="57626" y="135255"/>
                  </a:cubicBezTo>
                  <a:lnTo>
                    <a:pt x="391001" y="135255"/>
                  </a:lnTo>
                  <a:cubicBezTo>
                    <a:pt x="422720" y="135255"/>
                    <a:pt x="448627" y="109347"/>
                    <a:pt x="448627" y="77628"/>
                  </a:cubicBezTo>
                  <a:lnTo>
                    <a:pt x="448627" y="57626"/>
                  </a:lnTo>
                  <a:cubicBezTo>
                    <a:pt x="448627" y="25908"/>
                    <a:pt x="422720" y="0"/>
                    <a:pt x="391001" y="0"/>
                  </a:cubicBezTo>
                  <a:lnTo>
                    <a:pt x="57626" y="0"/>
                  </a:lnTo>
                  <a:cubicBezTo>
                    <a:pt x="26003" y="0"/>
                    <a:pt x="0" y="25908"/>
                    <a:pt x="0" y="57626"/>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96" name="Freeform: Shape 195">
              <a:extLst>
                <a:ext uri="{FF2B5EF4-FFF2-40B4-BE49-F238E27FC236}">
                  <a16:creationId xmlns:a16="http://schemas.microsoft.com/office/drawing/2014/main" id="{277F4E04-A131-42C8-A18A-6BF1E68E9761}"/>
                </a:ext>
              </a:extLst>
            </p:cNvPr>
            <p:cNvSpPr/>
            <p:nvPr/>
          </p:nvSpPr>
          <p:spPr>
            <a:xfrm>
              <a:off x="4806046" y="4414821"/>
              <a:ext cx="945927" cy="1170241"/>
            </a:xfrm>
            <a:custGeom>
              <a:avLst/>
              <a:gdLst>
                <a:gd name="connsiteX0" fmla="*/ 168402 w 945927"/>
                <a:gd name="connsiteY0" fmla="*/ 288131 h 1170241"/>
                <a:gd name="connsiteX1" fmla="*/ 168402 w 945927"/>
                <a:gd name="connsiteY1" fmla="*/ 520827 h 1170241"/>
                <a:gd name="connsiteX2" fmla="*/ 110776 w 945927"/>
                <a:gd name="connsiteY2" fmla="*/ 578453 h 1170241"/>
                <a:gd name="connsiteX3" fmla="*/ 0 w 945927"/>
                <a:gd name="connsiteY3" fmla="*/ 578453 h 1170241"/>
                <a:gd name="connsiteX4" fmla="*/ 0 w 945927"/>
                <a:gd name="connsiteY4" fmla="*/ 664083 h 1170241"/>
                <a:gd name="connsiteX5" fmla="*/ 0 w 945927"/>
                <a:gd name="connsiteY5" fmla="*/ 665607 h 1170241"/>
                <a:gd name="connsiteX6" fmla="*/ 0 w 945927"/>
                <a:gd name="connsiteY6" fmla="*/ 665607 h 1170241"/>
                <a:gd name="connsiteX7" fmla="*/ 95 w 945927"/>
                <a:gd name="connsiteY7" fmla="*/ 667036 h 1170241"/>
                <a:gd name="connsiteX8" fmla="*/ 95 w 945927"/>
                <a:gd name="connsiteY8" fmla="*/ 667036 h 1170241"/>
                <a:gd name="connsiteX9" fmla="*/ 190 w 945927"/>
                <a:gd name="connsiteY9" fmla="*/ 668465 h 1170241"/>
                <a:gd name="connsiteX10" fmla="*/ 190 w 945927"/>
                <a:gd name="connsiteY10" fmla="*/ 668465 h 1170241"/>
                <a:gd name="connsiteX11" fmla="*/ 286 w 945927"/>
                <a:gd name="connsiteY11" fmla="*/ 669893 h 1170241"/>
                <a:gd name="connsiteX12" fmla="*/ 286 w 945927"/>
                <a:gd name="connsiteY12" fmla="*/ 669893 h 1170241"/>
                <a:gd name="connsiteX13" fmla="*/ 476 w 945927"/>
                <a:gd name="connsiteY13" fmla="*/ 671322 h 1170241"/>
                <a:gd name="connsiteX14" fmla="*/ 476 w 945927"/>
                <a:gd name="connsiteY14" fmla="*/ 671322 h 1170241"/>
                <a:gd name="connsiteX15" fmla="*/ 667 w 945927"/>
                <a:gd name="connsiteY15" fmla="*/ 672751 h 1170241"/>
                <a:gd name="connsiteX16" fmla="*/ 667 w 945927"/>
                <a:gd name="connsiteY16" fmla="*/ 672751 h 1170241"/>
                <a:gd name="connsiteX17" fmla="*/ 29623 w 945927"/>
                <a:gd name="connsiteY17" fmla="*/ 714375 h 1170241"/>
                <a:gd name="connsiteX18" fmla="*/ 30194 w 945927"/>
                <a:gd name="connsiteY18" fmla="*/ 714661 h 1170241"/>
                <a:gd name="connsiteX19" fmla="*/ 30194 w 945927"/>
                <a:gd name="connsiteY19" fmla="*/ 714661 h 1170241"/>
                <a:gd name="connsiteX20" fmla="*/ 31432 w 945927"/>
                <a:gd name="connsiteY20" fmla="*/ 715328 h 1170241"/>
                <a:gd name="connsiteX21" fmla="*/ 31432 w 945927"/>
                <a:gd name="connsiteY21" fmla="*/ 715328 h 1170241"/>
                <a:gd name="connsiteX22" fmla="*/ 32671 w 945927"/>
                <a:gd name="connsiteY22" fmla="*/ 715994 h 1170241"/>
                <a:gd name="connsiteX23" fmla="*/ 32671 w 945927"/>
                <a:gd name="connsiteY23" fmla="*/ 715994 h 1170241"/>
                <a:gd name="connsiteX24" fmla="*/ 33909 w 945927"/>
                <a:gd name="connsiteY24" fmla="*/ 716566 h 1170241"/>
                <a:gd name="connsiteX25" fmla="*/ 33909 w 945927"/>
                <a:gd name="connsiteY25" fmla="*/ 716566 h 1170241"/>
                <a:gd name="connsiteX26" fmla="*/ 35147 w 945927"/>
                <a:gd name="connsiteY26" fmla="*/ 717137 h 1170241"/>
                <a:gd name="connsiteX27" fmla="*/ 35147 w 945927"/>
                <a:gd name="connsiteY27" fmla="*/ 717137 h 1170241"/>
                <a:gd name="connsiteX28" fmla="*/ 36481 w 945927"/>
                <a:gd name="connsiteY28" fmla="*/ 717709 h 1170241"/>
                <a:gd name="connsiteX29" fmla="*/ 36481 w 945927"/>
                <a:gd name="connsiteY29" fmla="*/ 717709 h 1170241"/>
                <a:gd name="connsiteX30" fmla="*/ 37814 w 945927"/>
                <a:gd name="connsiteY30" fmla="*/ 718185 h 1170241"/>
                <a:gd name="connsiteX31" fmla="*/ 37814 w 945927"/>
                <a:gd name="connsiteY31" fmla="*/ 718185 h 1170241"/>
                <a:gd name="connsiteX32" fmla="*/ 39148 w 945927"/>
                <a:gd name="connsiteY32" fmla="*/ 718661 h 1170241"/>
                <a:gd name="connsiteX33" fmla="*/ 39148 w 945927"/>
                <a:gd name="connsiteY33" fmla="*/ 718661 h 1170241"/>
                <a:gd name="connsiteX34" fmla="*/ 39433 w 945927"/>
                <a:gd name="connsiteY34" fmla="*/ 718756 h 1170241"/>
                <a:gd name="connsiteX35" fmla="*/ 41529 w 945927"/>
                <a:gd name="connsiteY35" fmla="*/ 719423 h 1170241"/>
                <a:gd name="connsiteX36" fmla="*/ 41815 w 945927"/>
                <a:gd name="connsiteY36" fmla="*/ 719519 h 1170241"/>
                <a:gd name="connsiteX37" fmla="*/ 41815 w 945927"/>
                <a:gd name="connsiteY37" fmla="*/ 719519 h 1170241"/>
                <a:gd name="connsiteX38" fmla="*/ 43148 w 945927"/>
                <a:gd name="connsiteY38" fmla="*/ 719899 h 1170241"/>
                <a:gd name="connsiteX39" fmla="*/ 43148 w 945927"/>
                <a:gd name="connsiteY39" fmla="*/ 719899 h 1170241"/>
                <a:gd name="connsiteX40" fmla="*/ 44482 w 945927"/>
                <a:gd name="connsiteY40" fmla="*/ 720280 h 1170241"/>
                <a:gd name="connsiteX41" fmla="*/ 44482 w 945927"/>
                <a:gd name="connsiteY41" fmla="*/ 720280 h 1170241"/>
                <a:gd name="connsiteX42" fmla="*/ 45910 w 945927"/>
                <a:gd name="connsiteY42" fmla="*/ 720566 h 1170241"/>
                <a:gd name="connsiteX43" fmla="*/ 45910 w 945927"/>
                <a:gd name="connsiteY43" fmla="*/ 720566 h 1170241"/>
                <a:gd name="connsiteX44" fmla="*/ 47339 w 945927"/>
                <a:gd name="connsiteY44" fmla="*/ 720852 h 1170241"/>
                <a:gd name="connsiteX45" fmla="*/ 47339 w 945927"/>
                <a:gd name="connsiteY45" fmla="*/ 720852 h 1170241"/>
                <a:gd name="connsiteX46" fmla="*/ 47625 w 945927"/>
                <a:gd name="connsiteY46" fmla="*/ 720852 h 1170241"/>
                <a:gd name="connsiteX47" fmla="*/ 50006 w 945927"/>
                <a:gd name="connsiteY47" fmla="*/ 721233 h 1170241"/>
                <a:gd name="connsiteX48" fmla="*/ 50292 w 945927"/>
                <a:gd name="connsiteY48" fmla="*/ 721233 h 1170241"/>
                <a:gd name="connsiteX49" fmla="*/ 50292 w 945927"/>
                <a:gd name="connsiteY49" fmla="*/ 721233 h 1170241"/>
                <a:gd name="connsiteX50" fmla="*/ 51721 w 945927"/>
                <a:gd name="connsiteY50" fmla="*/ 721424 h 1170241"/>
                <a:gd name="connsiteX51" fmla="*/ 51721 w 945927"/>
                <a:gd name="connsiteY51" fmla="*/ 721424 h 1170241"/>
                <a:gd name="connsiteX52" fmla="*/ 53149 w 945927"/>
                <a:gd name="connsiteY52" fmla="*/ 721518 h 1170241"/>
                <a:gd name="connsiteX53" fmla="*/ 53149 w 945927"/>
                <a:gd name="connsiteY53" fmla="*/ 721518 h 1170241"/>
                <a:gd name="connsiteX54" fmla="*/ 54578 w 945927"/>
                <a:gd name="connsiteY54" fmla="*/ 721614 h 1170241"/>
                <a:gd name="connsiteX55" fmla="*/ 54578 w 945927"/>
                <a:gd name="connsiteY55" fmla="*/ 721614 h 1170241"/>
                <a:gd name="connsiteX56" fmla="*/ 55054 w 945927"/>
                <a:gd name="connsiteY56" fmla="*/ 721614 h 1170241"/>
                <a:gd name="connsiteX57" fmla="*/ 58198 w 945927"/>
                <a:gd name="connsiteY57" fmla="*/ 721709 h 1170241"/>
                <a:gd name="connsiteX58" fmla="*/ 77629 w 945927"/>
                <a:gd name="connsiteY58" fmla="*/ 721709 h 1170241"/>
                <a:gd name="connsiteX59" fmla="*/ 84582 w 945927"/>
                <a:gd name="connsiteY59" fmla="*/ 721709 h 1170241"/>
                <a:gd name="connsiteX60" fmla="*/ 165545 w 945927"/>
                <a:gd name="connsiteY60" fmla="*/ 802672 h 1170241"/>
                <a:gd name="connsiteX61" fmla="*/ 165545 w 945927"/>
                <a:gd name="connsiteY61" fmla="*/ 812483 h 1170241"/>
                <a:gd name="connsiteX62" fmla="*/ 165545 w 945927"/>
                <a:gd name="connsiteY62" fmla="*/ 814006 h 1170241"/>
                <a:gd name="connsiteX63" fmla="*/ 165545 w 945927"/>
                <a:gd name="connsiteY63" fmla="*/ 814006 h 1170241"/>
                <a:gd name="connsiteX64" fmla="*/ 165640 w 945927"/>
                <a:gd name="connsiteY64" fmla="*/ 815435 h 1170241"/>
                <a:gd name="connsiteX65" fmla="*/ 165640 w 945927"/>
                <a:gd name="connsiteY65" fmla="*/ 815435 h 1170241"/>
                <a:gd name="connsiteX66" fmla="*/ 165735 w 945927"/>
                <a:gd name="connsiteY66" fmla="*/ 816864 h 1170241"/>
                <a:gd name="connsiteX67" fmla="*/ 165735 w 945927"/>
                <a:gd name="connsiteY67" fmla="*/ 816864 h 1170241"/>
                <a:gd name="connsiteX68" fmla="*/ 165830 w 945927"/>
                <a:gd name="connsiteY68" fmla="*/ 818293 h 1170241"/>
                <a:gd name="connsiteX69" fmla="*/ 165830 w 945927"/>
                <a:gd name="connsiteY69" fmla="*/ 818293 h 1170241"/>
                <a:gd name="connsiteX70" fmla="*/ 166021 w 945927"/>
                <a:gd name="connsiteY70" fmla="*/ 819721 h 1170241"/>
                <a:gd name="connsiteX71" fmla="*/ 166021 w 945927"/>
                <a:gd name="connsiteY71" fmla="*/ 819721 h 1170241"/>
                <a:gd name="connsiteX72" fmla="*/ 166211 w 945927"/>
                <a:gd name="connsiteY72" fmla="*/ 821150 h 1170241"/>
                <a:gd name="connsiteX73" fmla="*/ 166211 w 945927"/>
                <a:gd name="connsiteY73" fmla="*/ 821150 h 1170241"/>
                <a:gd name="connsiteX74" fmla="*/ 166497 w 945927"/>
                <a:gd name="connsiteY74" fmla="*/ 822579 h 1170241"/>
                <a:gd name="connsiteX75" fmla="*/ 166497 w 945927"/>
                <a:gd name="connsiteY75" fmla="*/ 822579 h 1170241"/>
                <a:gd name="connsiteX76" fmla="*/ 166783 w 945927"/>
                <a:gd name="connsiteY76" fmla="*/ 824008 h 1170241"/>
                <a:gd name="connsiteX77" fmla="*/ 166783 w 945927"/>
                <a:gd name="connsiteY77" fmla="*/ 824008 h 1170241"/>
                <a:gd name="connsiteX78" fmla="*/ 167068 w 945927"/>
                <a:gd name="connsiteY78" fmla="*/ 825437 h 1170241"/>
                <a:gd name="connsiteX79" fmla="*/ 167068 w 945927"/>
                <a:gd name="connsiteY79" fmla="*/ 825437 h 1170241"/>
                <a:gd name="connsiteX80" fmla="*/ 167449 w 945927"/>
                <a:gd name="connsiteY80" fmla="*/ 826865 h 1170241"/>
                <a:gd name="connsiteX81" fmla="*/ 167449 w 945927"/>
                <a:gd name="connsiteY81" fmla="*/ 826865 h 1170241"/>
                <a:gd name="connsiteX82" fmla="*/ 167830 w 945927"/>
                <a:gd name="connsiteY82" fmla="*/ 828199 h 1170241"/>
                <a:gd name="connsiteX83" fmla="*/ 167830 w 945927"/>
                <a:gd name="connsiteY83" fmla="*/ 828199 h 1170241"/>
                <a:gd name="connsiteX84" fmla="*/ 168211 w 945927"/>
                <a:gd name="connsiteY84" fmla="*/ 829532 h 1170241"/>
                <a:gd name="connsiteX85" fmla="*/ 168211 w 945927"/>
                <a:gd name="connsiteY85" fmla="*/ 829532 h 1170241"/>
                <a:gd name="connsiteX86" fmla="*/ 168687 w 945927"/>
                <a:gd name="connsiteY86" fmla="*/ 830866 h 1170241"/>
                <a:gd name="connsiteX87" fmla="*/ 168687 w 945927"/>
                <a:gd name="connsiteY87" fmla="*/ 830866 h 1170241"/>
                <a:gd name="connsiteX88" fmla="*/ 169164 w 945927"/>
                <a:gd name="connsiteY88" fmla="*/ 832199 h 1170241"/>
                <a:gd name="connsiteX89" fmla="*/ 169164 w 945927"/>
                <a:gd name="connsiteY89" fmla="*/ 832199 h 1170241"/>
                <a:gd name="connsiteX90" fmla="*/ 169640 w 945927"/>
                <a:gd name="connsiteY90" fmla="*/ 833533 h 1170241"/>
                <a:gd name="connsiteX91" fmla="*/ 169640 w 945927"/>
                <a:gd name="connsiteY91" fmla="*/ 833533 h 1170241"/>
                <a:gd name="connsiteX92" fmla="*/ 170212 w 945927"/>
                <a:gd name="connsiteY92" fmla="*/ 834866 h 1170241"/>
                <a:gd name="connsiteX93" fmla="*/ 170212 w 945927"/>
                <a:gd name="connsiteY93" fmla="*/ 834866 h 1170241"/>
                <a:gd name="connsiteX94" fmla="*/ 170783 w 945927"/>
                <a:gd name="connsiteY94" fmla="*/ 836105 h 1170241"/>
                <a:gd name="connsiteX95" fmla="*/ 170783 w 945927"/>
                <a:gd name="connsiteY95" fmla="*/ 836105 h 1170241"/>
                <a:gd name="connsiteX96" fmla="*/ 171355 w 945927"/>
                <a:gd name="connsiteY96" fmla="*/ 837343 h 1170241"/>
                <a:gd name="connsiteX97" fmla="*/ 171355 w 945927"/>
                <a:gd name="connsiteY97" fmla="*/ 837343 h 1170241"/>
                <a:gd name="connsiteX98" fmla="*/ 172021 w 945927"/>
                <a:gd name="connsiteY98" fmla="*/ 838581 h 1170241"/>
                <a:gd name="connsiteX99" fmla="*/ 172021 w 945927"/>
                <a:gd name="connsiteY99" fmla="*/ 838581 h 1170241"/>
                <a:gd name="connsiteX100" fmla="*/ 172688 w 945927"/>
                <a:gd name="connsiteY100" fmla="*/ 839819 h 1170241"/>
                <a:gd name="connsiteX101" fmla="*/ 172688 w 945927"/>
                <a:gd name="connsiteY101" fmla="*/ 839819 h 1170241"/>
                <a:gd name="connsiteX102" fmla="*/ 173355 w 945927"/>
                <a:gd name="connsiteY102" fmla="*/ 841058 h 1170241"/>
                <a:gd name="connsiteX103" fmla="*/ 173355 w 945927"/>
                <a:gd name="connsiteY103" fmla="*/ 841058 h 1170241"/>
                <a:gd name="connsiteX104" fmla="*/ 174021 w 945927"/>
                <a:gd name="connsiteY104" fmla="*/ 842296 h 1170241"/>
                <a:gd name="connsiteX105" fmla="*/ 174021 w 945927"/>
                <a:gd name="connsiteY105" fmla="*/ 842296 h 1170241"/>
                <a:gd name="connsiteX106" fmla="*/ 174784 w 945927"/>
                <a:gd name="connsiteY106" fmla="*/ 843439 h 1170241"/>
                <a:gd name="connsiteX107" fmla="*/ 174784 w 945927"/>
                <a:gd name="connsiteY107" fmla="*/ 843439 h 1170241"/>
                <a:gd name="connsiteX108" fmla="*/ 175546 w 945927"/>
                <a:gd name="connsiteY108" fmla="*/ 844582 h 1170241"/>
                <a:gd name="connsiteX109" fmla="*/ 175546 w 945927"/>
                <a:gd name="connsiteY109" fmla="*/ 844582 h 1170241"/>
                <a:gd name="connsiteX110" fmla="*/ 176308 w 945927"/>
                <a:gd name="connsiteY110" fmla="*/ 845725 h 1170241"/>
                <a:gd name="connsiteX111" fmla="*/ 176308 w 945927"/>
                <a:gd name="connsiteY111" fmla="*/ 845725 h 1170241"/>
                <a:gd name="connsiteX112" fmla="*/ 177165 w 945927"/>
                <a:gd name="connsiteY112" fmla="*/ 846868 h 1170241"/>
                <a:gd name="connsiteX113" fmla="*/ 177165 w 945927"/>
                <a:gd name="connsiteY113" fmla="*/ 846868 h 1170241"/>
                <a:gd name="connsiteX114" fmla="*/ 178022 w 945927"/>
                <a:gd name="connsiteY114" fmla="*/ 848011 h 1170241"/>
                <a:gd name="connsiteX115" fmla="*/ 178022 w 945927"/>
                <a:gd name="connsiteY115" fmla="*/ 848011 h 1170241"/>
                <a:gd name="connsiteX116" fmla="*/ 178879 w 945927"/>
                <a:gd name="connsiteY116" fmla="*/ 849058 h 1170241"/>
                <a:gd name="connsiteX117" fmla="*/ 178879 w 945927"/>
                <a:gd name="connsiteY117" fmla="*/ 849058 h 1170241"/>
                <a:gd name="connsiteX118" fmla="*/ 179737 w 945927"/>
                <a:gd name="connsiteY118" fmla="*/ 850106 h 1170241"/>
                <a:gd name="connsiteX119" fmla="*/ 179737 w 945927"/>
                <a:gd name="connsiteY119" fmla="*/ 850106 h 1170241"/>
                <a:gd name="connsiteX120" fmla="*/ 180689 w 945927"/>
                <a:gd name="connsiteY120" fmla="*/ 851154 h 1170241"/>
                <a:gd name="connsiteX121" fmla="*/ 180689 w 945927"/>
                <a:gd name="connsiteY121" fmla="*/ 851154 h 1170241"/>
                <a:gd name="connsiteX122" fmla="*/ 181642 w 945927"/>
                <a:gd name="connsiteY122" fmla="*/ 852202 h 1170241"/>
                <a:gd name="connsiteX123" fmla="*/ 181642 w 945927"/>
                <a:gd name="connsiteY123" fmla="*/ 852202 h 1170241"/>
                <a:gd name="connsiteX124" fmla="*/ 182594 w 945927"/>
                <a:gd name="connsiteY124" fmla="*/ 853154 h 1170241"/>
                <a:gd name="connsiteX125" fmla="*/ 182594 w 945927"/>
                <a:gd name="connsiteY125" fmla="*/ 853154 h 1170241"/>
                <a:gd name="connsiteX126" fmla="*/ 183546 w 945927"/>
                <a:gd name="connsiteY126" fmla="*/ 854107 h 1170241"/>
                <a:gd name="connsiteX127" fmla="*/ 183546 w 945927"/>
                <a:gd name="connsiteY127" fmla="*/ 854107 h 1170241"/>
                <a:gd name="connsiteX128" fmla="*/ 184595 w 945927"/>
                <a:gd name="connsiteY128" fmla="*/ 855059 h 1170241"/>
                <a:gd name="connsiteX129" fmla="*/ 184595 w 945927"/>
                <a:gd name="connsiteY129" fmla="*/ 855059 h 1170241"/>
                <a:gd name="connsiteX130" fmla="*/ 185642 w 945927"/>
                <a:gd name="connsiteY130" fmla="*/ 856011 h 1170241"/>
                <a:gd name="connsiteX131" fmla="*/ 185642 w 945927"/>
                <a:gd name="connsiteY131" fmla="*/ 856011 h 1170241"/>
                <a:gd name="connsiteX132" fmla="*/ 186690 w 945927"/>
                <a:gd name="connsiteY132" fmla="*/ 856869 h 1170241"/>
                <a:gd name="connsiteX133" fmla="*/ 186690 w 945927"/>
                <a:gd name="connsiteY133" fmla="*/ 856869 h 1170241"/>
                <a:gd name="connsiteX134" fmla="*/ 187737 w 945927"/>
                <a:gd name="connsiteY134" fmla="*/ 857726 h 1170241"/>
                <a:gd name="connsiteX135" fmla="*/ 187737 w 945927"/>
                <a:gd name="connsiteY135" fmla="*/ 857726 h 1170241"/>
                <a:gd name="connsiteX136" fmla="*/ 188786 w 945927"/>
                <a:gd name="connsiteY136" fmla="*/ 858583 h 1170241"/>
                <a:gd name="connsiteX137" fmla="*/ 188786 w 945927"/>
                <a:gd name="connsiteY137" fmla="*/ 858583 h 1170241"/>
                <a:gd name="connsiteX138" fmla="*/ 189929 w 945927"/>
                <a:gd name="connsiteY138" fmla="*/ 859441 h 1170241"/>
                <a:gd name="connsiteX139" fmla="*/ 189929 w 945927"/>
                <a:gd name="connsiteY139" fmla="*/ 859441 h 1170241"/>
                <a:gd name="connsiteX140" fmla="*/ 191071 w 945927"/>
                <a:gd name="connsiteY140" fmla="*/ 860202 h 1170241"/>
                <a:gd name="connsiteX141" fmla="*/ 191071 w 945927"/>
                <a:gd name="connsiteY141" fmla="*/ 860202 h 1170241"/>
                <a:gd name="connsiteX142" fmla="*/ 192214 w 945927"/>
                <a:gd name="connsiteY142" fmla="*/ 860965 h 1170241"/>
                <a:gd name="connsiteX143" fmla="*/ 192214 w 945927"/>
                <a:gd name="connsiteY143" fmla="*/ 860965 h 1170241"/>
                <a:gd name="connsiteX144" fmla="*/ 193357 w 945927"/>
                <a:gd name="connsiteY144" fmla="*/ 861727 h 1170241"/>
                <a:gd name="connsiteX145" fmla="*/ 193357 w 945927"/>
                <a:gd name="connsiteY145" fmla="*/ 861727 h 1170241"/>
                <a:gd name="connsiteX146" fmla="*/ 194596 w 945927"/>
                <a:gd name="connsiteY146" fmla="*/ 862394 h 1170241"/>
                <a:gd name="connsiteX147" fmla="*/ 194596 w 945927"/>
                <a:gd name="connsiteY147" fmla="*/ 862394 h 1170241"/>
                <a:gd name="connsiteX148" fmla="*/ 195834 w 945927"/>
                <a:gd name="connsiteY148" fmla="*/ 863060 h 1170241"/>
                <a:gd name="connsiteX149" fmla="*/ 195834 w 945927"/>
                <a:gd name="connsiteY149" fmla="*/ 863060 h 1170241"/>
                <a:gd name="connsiteX150" fmla="*/ 197072 w 945927"/>
                <a:gd name="connsiteY150" fmla="*/ 863727 h 1170241"/>
                <a:gd name="connsiteX151" fmla="*/ 197072 w 945927"/>
                <a:gd name="connsiteY151" fmla="*/ 863727 h 1170241"/>
                <a:gd name="connsiteX152" fmla="*/ 198311 w 945927"/>
                <a:gd name="connsiteY152" fmla="*/ 864393 h 1170241"/>
                <a:gd name="connsiteX153" fmla="*/ 198311 w 945927"/>
                <a:gd name="connsiteY153" fmla="*/ 864393 h 1170241"/>
                <a:gd name="connsiteX154" fmla="*/ 199549 w 945927"/>
                <a:gd name="connsiteY154" fmla="*/ 864965 h 1170241"/>
                <a:gd name="connsiteX155" fmla="*/ 199549 w 945927"/>
                <a:gd name="connsiteY155" fmla="*/ 864965 h 1170241"/>
                <a:gd name="connsiteX156" fmla="*/ 200787 w 945927"/>
                <a:gd name="connsiteY156" fmla="*/ 865536 h 1170241"/>
                <a:gd name="connsiteX157" fmla="*/ 200787 w 945927"/>
                <a:gd name="connsiteY157" fmla="*/ 865536 h 1170241"/>
                <a:gd name="connsiteX158" fmla="*/ 202120 w 945927"/>
                <a:gd name="connsiteY158" fmla="*/ 866109 h 1170241"/>
                <a:gd name="connsiteX159" fmla="*/ 202120 w 945927"/>
                <a:gd name="connsiteY159" fmla="*/ 866109 h 1170241"/>
                <a:gd name="connsiteX160" fmla="*/ 203454 w 945927"/>
                <a:gd name="connsiteY160" fmla="*/ 866585 h 1170241"/>
                <a:gd name="connsiteX161" fmla="*/ 203454 w 945927"/>
                <a:gd name="connsiteY161" fmla="*/ 866585 h 1170241"/>
                <a:gd name="connsiteX162" fmla="*/ 204788 w 945927"/>
                <a:gd name="connsiteY162" fmla="*/ 867061 h 1170241"/>
                <a:gd name="connsiteX163" fmla="*/ 204788 w 945927"/>
                <a:gd name="connsiteY163" fmla="*/ 867061 h 1170241"/>
                <a:gd name="connsiteX164" fmla="*/ 206121 w 945927"/>
                <a:gd name="connsiteY164" fmla="*/ 867537 h 1170241"/>
                <a:gd name="connsiteX165" fmla="*/ 206121 w 945927"/>
                <a:gd name="connsiteY165" fmla="*/ 867537 h 1170241"/>
                <a:gd name="connsiteX166" fmla="*/ 207454 w 945927"/>
                <a:gd name="connsiteY166" fmla="*/ 867918 h 1170241"/>
                <a:gd name="connsiteX167" fmla="*/ 207454 w 945927"/>
                <a:gd name="connsiteY167" fmla="*/ 867918 h 1170241"/>
                <a:gd name="connsiteX168" fmla="*/ 208788 w 945927"/>
                <a:gd name="connsiteY168" fmla="*/ 868299 h 1170241"/>
                <a:gd name="connsiteX169" fmla="*/ 208788 w 945927"/>
                <a:gd name="connsiteY169" fmla="*/ 868299 h 1170241"/>
                <a:gd name="connsiteX170" fmla="*/ 210121 w 945927"/>
                <a:gd name="connsiteY170" fmla="*/ 868680 h 1170241"/>
                <a:gd name="connsiteX171" fmla="*/ 210121 w 945927"/>
                <a:gd name="connsiteY171" fmla="*/ 868680 h 1170241"/>
                <a:gd name="connsiteX172" fmla="*/ 211550 w 945927"/>
                <a:gd name="connsiteY172" fmla="*/ 868966 h 1170241"/>
                <a:gd name="connsiteX173" fmla="*/ 211550 w 945927"/>
                <a:gd name="connsiteY173" fmla="*/ 868966 h 1170241"/>
                <a:gd name="connsiteX174" fmla="*/ 212979 w 945927"/>
                <a:gd name="connsiteY174" fmla="*/ 869251 h 1170241"/>
                <a:gd name="connsiteX175" fmla="*/ 212979 w 945927"/>
                <a:gd name="connsiteY175" fmla="*/ 869251 h 1170241"/>
                <a:gd name="connsiteX176" fmla="*/ 214408 w 945927"/>
                <a:gd name="connsiteY176" fmla="*/ 869537 h 1170241"/>
                <a:gd name="connsiteX177" fmla="*/ 214408 w 945927"/>
                <a:gd name="connsiteY177" fmla="*/ 869537 h 1170241"/>
                <a:gd name="connsiteX178" fmla="*/ 215836 w 945927"/>
                <a:gd name="connsiteY178" fmla="*/ 869727 h 1170241"/>
                <a:gd name="connsiteX179" fmla="*/ 215836 w 945927"/>
                <a:gd name="connsiteY179" fmla="*/ 869727 h 1170241"/>
                <a:gd name="connsiteX180" fmla="*/ 217265 w 945927"/>
                <a:gd name="connsiteY180" fmla="*/ 869918 h 1170241"/>
                <a:gd name="connsiteX181" fmla="*/ 217265 w 945927"/>
                <a:gd name="connsiteY181" fmla="*/ 869918 h 1170241"/>
                <a:gd name="connsiteX182" fmla="*/ 218694 w 945927"/>
                <a:gd name="connsiteY182" fmla="*/ 870013 h 1170241"/>
                <a:gd name="connsiteX183" fmla="*/ 218694 w 945927"/>
                <a:gd name="connsiteY183" fmla="*/ 870013 h 1170241"/>
                <a:gd name="connsiteX184" fmla="*/ 220123 w 945927"/>
                <a:gd name="connsiteY184" fmla="*/ 870109 h 1170241"/>
                <a:gd name="connsiteX185" fmla="*/ 220123 w 945927"/>
                <a:gd name="connsiteY185" fmla="*/ 870109 h 1170241"/>
                <a:gd name="connsiteX186" fmla="*/ 220599 w 945927"/>
                <a:gd name="connsiteY186" fmla="*/ 870109 h 1170241"/>
                <a:gd name="connsiteX187" fmla="*/ 223742 w 945927"/>
                <a:gd name="connsiteY187" fmla="*/ 870204 h 1170241"/>
                <a:gd name="connsiteX188" fmla="*/ 236505 w 945927"/>
                <a:gd name="connsiteY188" fmla="*/ 870204 h 1170241"/>
                <a:gd name="connsiteX189" fmla="*/ 251270 w 945927"/>
                <a:gd name="connsiteY189" fmla="*/ 870204 h 1170241"/>
                <a:gd name="connsiteX190" fmla="*/ 332232 w 945927"/>
                <a:gd name="connsiteY190" fmla="*/ 951167 h 1170241"/>
                <a:gd name="connsiteX191" fmla="*/ 332232 w 945927"/>
                <a:gd name="connsiteY191" fmla="*/ 1014508 h 1170241"/>
                <a:gd name="connsiteX192" fmla="*/ 332232 w 945927"/>
                <a:gd name="connsiteY192" fmla="*/ 1109472 h 1170241"/>
                <a:gd name="connsiteX193" fmla="*/ 332232 w 945927"/>
                <a:gd name="connsiteY193" fmla="*/ 1112615 h 1170241"/>
                <a:gd name="connsiteX194" fmla="*/ 389858 w 945927"/>
                <a:gd name="connsiteY194" fmla="*/ 1170242 h 1170241"/>
                <a:gd name="connsiteX195" fmla="*/ 564737 w 945927"/>
                <a:gd name="connsiteY195" fmla="*/ 1170242 h 1170241"/>
                <a:gd name="connsiteX196" fmla="*/ 622363 w 945927"/>
                <a:gd name="connsiteY196" fmla="*/ 1112615 h 1170241"/>
                <a:gd name="connsiteX197" fmla="*/ 622363 w 945927"/>
                <a:gd name="connsiteY197" fmla="*/ 1104519 h 1170241"/>
                <a:gd name="connsiteX198" fmla="*/ 624364 w 945927"/>
                <a:gd name="connsiteY198" fmla="*/ 600646 h 1170241"/>
                <a:gd name="connsiteX199" fmla="*/ 572928 w 945927"/>
                <a:gd name="connsiteY199" fmla="*/ 559403 h 1170241"/>
                <a:gd name="connsiteX200" fmla="*/ 529494 w 945927"/>
                <a:gd name="connsiteY200" fmla="*/ 559403 h 1170241"/>
                <a:gd name="connsiteX201" fmla="*/ 471868 w 945927"/>
                <a:gd name="connsiteY201" fmla="*/ 501777 h 1170241"/>
                <a:gd name="connsiteX202" fmla="*/ 471868 w 945927"/>
                <a:gd name="connsiteY202" fmla="*/ 481774 h 1170241"/>
                <a:gd name="connsiteX203" fmla="*/ 529494 w 945927"/>
                <a:gd name="connsiteY203" fmla="*/ 424148 h 1170241"/>
                <a:gd name="connsiteX204" fmla="*/ 888302 w 945927"/>
                <a:gd name="connsiteY204" fmla="*/ 423100 h 1170241"/>
                <a:gd name="connsiteX205" fmla="*/ 945928 w 945927"/>
                <a:gd name="connsiteY205" fmla="*/ 365474 h 1170241"/>
                <a:gd name="connsiteX206" fmla="*/ 945928 w 945927"/>
                <a:gd name="connsiteY206" fmla="*/ 208312 h 1170241"/>
                <a:gd name="connsiteX207" fmla="*/ 945452 w 945927"/>
                <a:gd name="connsiteY207" fmla="*/ 202025 h 1170241"/>
                <a:gd name="connsiteX208" fmla="*/ 945452 w 945927"/>
                <a:gd name="connsiteY208" fmla="*/ 0 h 1170241"/>
                <a:gd name="connsiteX209" fmla="*/ 857726 w 945927"/>
                <a:gd name="connsiteY209" fmla="*/ 0 h 1170241"/>
                <a:gd name="connsiteX210" fmla="*/ 802577 w 945927"/>
                <a:gd name="connsiteY210" fmla="*/ 41053 h 1170241"/>
                <a:gd name="connsiteX211" fmla="*/ 802577 w 945927"/>
                <a:gd name="connsiteY211" fmla="*/ 83058 h 1170241"/>
                <a:gd name="connsiteX212" fmla="*/ 744950 w 945927"/>
                <a:gd name="connsiteY212" fmla="*/ 140684 h 1170241"/>
                <a:gd name="connsiteX213" fmla="*/ 635508 w 945927"/>
                <a:gd name="connsiteY213" fmla="*/ 140684 h 1170241"/>
                <a:gd name="connsiteX214" fmla="*/ 635508 w 945927"/>
                <a:gd name="connsiteY214" fmla="*/ 230505 h 1170241"/>
                <a:gd name="connsiteX215" fmla="*/ 577882 w 945927"/>
                <a:gd name="connsiteY215" fmla="*/ 288131 h 1170241"/>
                <a:gd name="connsiteX216" fmla="*/ 168402 w 945927"/>
                <a:gd name="connsiteY216" fmla="*/ 288131 h 1170241"/>
                <a:gd name="connsiteX217" fmla="*/ 165640 w 945927"/>
                <a:gd name="connsiteY217" fmla="*/ 812483 h 1170241"/>
                <a:gd name="connsiteX218" fmla="*/ 165640 w 945927"/>
                <a:gd name="connsiteY218" fmla="*/ 812483 h 1170241"/>
                <a:gd name="connsiteX219" fmla="*/ 165640 w 945927"/>
                <a:gd name="connsiteY219" fmla="*/ 812483 h 1170241"/>
                <a:gd name="connsiteX220" fmla="*/ 165640 w 945927"/>
                <a:gd name="connsiteY220" fmla="*/ 812483 h 1170241"/>
                <a:gd name="connsiteX221" fmla="*/ 0 w 945927"/>
                <a:gd name="connsiteY221" fmla="*/ 664083 h 1170241"/>
                <a:gd name="connsiteX222" fmla="*/ 0 w 945927"/>
                <a:gd name="connsiteY222" fmla="*/ 664083 h 1170241"/>
                <a:gd name="connsiteX223" fmla="*/ 0 w 945927"/>
                <a:gd name="connsiteY223" fmla="*/ 664083 h 1170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945927" h="1170241">
                  <a:moveTo>
                    <a:pt x="168402" y="288131"/>
                  </a:moveTo>
                  <a:lnTo>
                    <a:pt x="168402" y="520827"/>
                  </a:lnTo>
                  <a:cubicBezTo>
                    <a:pt x="168402" y="552450"/>
                    <a:pt x="142494" y="578453"/>
                    <a:pt x="110776" y="578453"/>
                  </a:cubicBezTo>
                  <a:lnTo>
                    <a:pt x="0" y="578453"/>
                  </a:lnTo>
                  <a:lnTo>
                    <a:pt x="0" y="664083"/>
                  </a:lnTo>
                  <a:lnTo>
                    <a:pt x="0" y="665607"/>
                  </a:lnTo>
                  <a:lnTo>
                    <a:pt x="0" y="665607"/>
                  </a:lnTo>
                  <a:lnTo>
                    <a:pt x="95" y="667036"/>
                  </a:lnTo>
                  <a:lnTo>
                    <a:pt x="95" y="667036"/>
                  </a:lnTo>
                  <a:lnTo>
                    <a:pt x="190" y="668465"/>
                  </a:lnTo>
                  <a:lnTo>
                    <a:pt x="190" y="668465"/>
                  </a:lnTo>
                  <a:lnTo>
                    <a:pt x="286" y="669893"/>
                  </a:lnTo>
                  <a:lnTo>
                    <a:pt x="286" y="669893"/>
                  </a:lnTo>
                  <a:lnTo>
                    <a:pt x="476" y="671322"/>
                  </a:lnTo>
                  <a:lnTo>
                    <a:pt x="476" y="671322"/>
                  </a:lnTo>
                  <a:lnTo>
                    <a:pt x="667" y="672751"/>
                  </a:lnTo>
                  <a:lnTo>
                    <a:pt x="667" y="672751"/>
                  </a:lnTo>
                  <a:cubicBezTo>
                    <a:pt x="3619" y="690467"/>
                    <a:pt x="14001" y="705421"/>
                    <a:pt x="29623" y="714375"/>
                  </a:cubicBezTo>
                  <a:lnTo>
                    <a:pt x="30194" y="714661"/>
                  </a:lnTo>
                  <a:lnTo>
                    <a:pt x="30194" y="714661"/>
                  </a:lnTo>
                  <a:lnTo>
                    <a:pt x="31432" y="715328"/>
                  </a:lnTo>
                  <a:lnTo>
                    <a:pt x="31432" y="715328"/>
                  </a:lnTo>
                  <a:lnTo>
                    <a:pt x="32671" y="715994"/>
                  </a:lnTo>
                  <a:lnTo>
                    <a:pt x="32671" y="715994"/>
                  </a:lnTo>
                  <a:lnTo>
                    <a:pt x="33909" y="716566"/>
                  </a:lnTo>
                  <a:lnTo>
                    <a:pt x="33909" y="716566"/>
                  </a:lnTo>
                  <a:cubicBezTo>
                    <a:pt x="34290" y="716756"/>
                    <a:pt x="34766" y="716947"/>
                    <a:pt x="35147" y="717137"/>
                  </a:cubicBezTo>
                  <a:lnTo>
                    <a:pt x="35147" y="717137"/>
                  </a:lnTo>
                  <a:lnTo>
                    <a:pt x="36481" y="717709"/>
                  </a:lnTo>
                  <a:lnTo>
                    <a:pt x="36481" y="717709"/>
                  </a:lnTo>
                  <a:lnTo>
                    <a:pt x="37814" y="718185"/>
                  </a:lnTo>
                  <a:lnTo>
                    <a:pt x="37814" y="718185"/>
                  </a:lnTo>
                  <a:lnTo>
                    <a:pt x="39148" y="718661"/>
                  </a:lnTo>
                  <a:lnTo>
                    <a:pt x="39148" y="718661"/>
                  </a:lnTo>
                  <a:lnTo>
                    <a:pt x="39433" y="718756"/>
                  </a:lnTo>
                  <a:cubicBezTo>
                    <a:pt x="40195" y="718947"/>
                    <a:pt x="40767" y="719233"/>
                    <a:pt x="41529" y="719423"/>
                  </a:cubicBezTo>
                  <a:lnTo>
                    <a:pt x="41815" y="719519"/>
                  </a:lnTo>
                  <a:lnTo>
                    <a:pt x="41815" y="719519"/>
                  </a:lnTo>
                  <a:lnTo>
                    <a:pt x="43148" y="719899"/>
                  </a:lnTo>
                  <a:lnTo>
                    <a:pt x="43148" y="719899"/>
                  </a:lnTo>
                  <a:lnTo>
                    <a:pt x="44482" y="720280"/>
                  </a:lnTo>
                  <a:lnTo>
                    <a:pt x="44482" y="720280"/>
                  </a:lnTo>
                  <a:lnTo>
                    <a:pt x="45910" y="720566"/>
                  </a:lnTo>
                  <a:lnTo>
                    <a:pt x="45910" y="720566"/>
                  </a:lnTo>
                  <a:cubicBezTo>
                    <a:pt x="46387" y="720662"/>
                    <a:pt x="46863" y="720757"/>
                    <a:pt x="47339" y="720852"/>
                  </a:cubicBezTo>
                  <a:lnTo>
                    <a:pt x="47339" y="720852"/>
                  </a:lnTo>
                  <a:lnTo>
                    <a:pt x="47625" y="720852"/>
                  </a:lnTo>
                  <a:cubicBezTo>
                    <a:pt x="48482" y="720947"/>
                    <a:pt x="49149" y="721138"/>
                    <a:pt x="50006" y="721233"/>
                  </a:cubicBezTo>
                  <a:lnTo>
                    <a:pt x="50292" y="721233"/>
                  </a:lnTo>
                  <a:lnTo>
                    <a:pt x="50292" y="721233"/>
                  </a:lnTo>
                  <a:lnTo>
                    <a:pt x="51721" y="721424"/>
                  </a:lnTo>
                  <a:lnTo>
                    <a:pt x="51721" y="721424"/>
                  </a:lnTo>
                  <a:lnTo>
                    <a:pt x="53149" y="721518"/>
                  </a:lnTo>
                  <a:lnTo>
                    <a:pt x="53149" y="721518"/>
                  </a:lnTo>
                  <a:lnTo>
                    <a:pt x="54578" y="721614"/>
                  </a:lnTo>
                  <a:lnTo>
                    <a:pt x="54578" y="721614"/>
                  </a:lnTo>
                  <a:lnTo>
                    <a:pt x="55054" y="721614"/>
                  </a:lnTo>
                  <a:cubicBezTo>
                    <a:pt x="56197" y="721614"/>
                    <a:pt x="57055" y="721709"/>
                    <a:pt x="58198" y="721709"/>
                  </a:cubicBezTo>
                  <a:lnTo>
                    <a:pt x="77629" y="721709"/>
                  </a:lnTo>
                  <a:lnTo>
                    <a:pt x="84582" y="721709"/>
                  </a:lnTo>
                  <a:cubicBezTo>
                    <a:pt x="129159" y="721709"/>
                    <a:pt x="165545" y="758095"/>
                    <a:pt x="165545" y="802672"/>
                  </a:cubicBezTo>
                  <a:lnTo>
                    <a:pt x="165545" y="812483"/>
                  </a:lnTo>
                  <a:lnTo>
                    <a:pt x="165545" y="814006"/>
                  </a:lnTo>
                  <a:lnTo>
                    <a:pt x="165545" y="814006"/>
                  </a:lnTo>
                  <a:lnTo>
                    <a:pt x="165640" y="815435"/>
                  </a:lnTo>
                  <a:lnTo>
                    <a:pt x="165640" y="815435"/>
                  </a:lnTo>
                  <a:lnTo>
                    <a:pt x="165735" y="816864"/>
                  </a:lnTo>
                  <a:lnTo>
                    <a:pt x="165735" y="816864"/>
                  </a:lnTo>
                  <a:lnTo>
                    <a:pt x="165830" y="818293"/>
                  </a:lnTo>
                  <a:lnTo>
                    <a:pt x="165830" y="818293"/>
                  </a:lnTo>
                  <a:lnTo>
                    <a:pt x="166021" y="819721"/>
                  </a:lnTo>
                  <a:lnTo>
                    <a:pt x="166021" y="819721"/>
                  </a:lnTo>
                  <a:lnTo>
                    <a:pt x="166211" y="821150"/>
                  </a:lnTo>
                  <a:lnTo>
                    <a:pt x="166211" y="821150"/>
                  </a:lnTo>
                  <a:lnTo>
                    <a:pt x="166497" y="822579"/>
                  </a:lnTo>
                  <a:lnTo>
                    <a:pt x="166497" y="822579"/>
                  </a:lnTo>
                  <a:cubicBezTo>
                    <a:pt x="166592" y="823055"/>
                    <a:pt x="166688" y="823531"/>
                    <a:pt x="166783" y="824008"/>
                  </a:cubicBezTo>
                  <a:lnTo>
                    <a:pt x="166783" y="824008"/>
                  </a:lnTo>
                  <a:lnTo>
                    <a:pt x="167068" y="825437"/>
                  </a:lnTo>
                  <a:lnTo>
                    <a:pt x="167068" y="825437"/>
                  </a:lnTo>
                  <a:lnTo>
                    <a:pt x="167449" y="826865"/>
                  </a:lnTo>
                  <a:lnTo>
                    <a:pt x="167449" y="826865"/>
                  </a:lnTo>
                  <a:lnTo>
                    <a:pt x="167830" y="828199"/>
                  </a:lnTo>
                  <a:lnTo>
                    <a:pt x="167830" y="828199"/>
                  </a:lnTo>
                  <a:lnTo>
                    <a:pt x="168211" y="829532"/>
                  </a:lnTo>
                  <a:lnTo>
                    <a:pt x="168211" y="829532"/>
                  </a:lnTo>
                  <a:lnTo>
                    <a:pt x="168687" y="830866"/>
                  </a:lnTo>
                  <a:lnTo>
                    <a:pt x="168687" y="830866"/>
                  </a:lnTo>
                  <a:lnTo>
                    <a:pt x="169164" y="832199"/>
                  </a:lnTo>
                  <a:lnTo>
                    <a:pt x="169164" y="832199"/>
                  </a:lnTo>
                  <a:lnTo>
                    <a:pt x="169640" y="833533"/>
                  </a:lnTo>
                  <a:lnTo>
                    <a:pt x="169640" y="833533"/>
                  </a:lnTo>
                  <a:lnTo>
                    <a:pt x="170212" y="834866"/>
                  </a:lnTo>
                  <a:lnTo>
                    <a:pt x="170212" y="834866"/>
                  </a:lnTo>
                  <a:lnTo>
                    <a:pt x="170783" y="836105"/>
                  </a:lnTo>
                  <a:lnTo>
                    <a:pt x="170783" y="836105"/>
                  </a:lnTo>
                  <a:lnTo>
                    <a:pt x="171355" y="837343"/>
                  </a:lnTo>
                  <a:lnTo>
                    <a:pt x="171355" y="837343"/>
                  </a:lnTo>
                  <a:lnTo>
                    <a:pt x="172021" y="838581"/>
                  </a:lnTo>
                  <a:lnTo>
                    <a:pt x="172021" y="838581"/>
                  </a:lnTo>
                  <a:cubicBezTo>
                    <a:pt x="172212" y="838962"/>
                    <a:pt x="172402" y="839438"/>
                    <a:pt x="172688" y="839819"/>
                  </a:cubicBezTo>
                  <a:lnTo>
                    <a:pt x="172688" y="839819"/>
                  </a:lnTo>
                  <a:lnTo>
                    <a:pt x="173355" y="841058"/>
                  </a:lnTo>
                  <a:lnTo>
                    <a:pt x="173355" y="841058"/>
                  </a:lnTo>
                  <a:cubicBezTo>
                    <a:pt x="173545" y="841438"/>
                    <a:pt x="173831" y="841819"/>
                    <a:pt x="174021" y="842296"/>
                  </a:cubicBezTo>
                  <a:lnTo>
                    <a:pt x="174021" y="842296"/>
                  </a:lnTo>
                  <a:lnTo>
                    <a:pt x="174784" y="843439"/>
                  </a:lnTo>
                  <a:lnTo>
                    <a:pt x="174784" y="843439"/>
                  </a:lnTo>
                  <a:lnTo>
                    <a:pt x="175546" y="844582"/>
                  </a:lnTo>
                  <a:lnTo>
                    <a:pt x="175546" y="844582"/>
                  </a:lnTo>
                  <a:lnTo>
                    <a:pt x="176308" y="845725"/>
                  </a:lnTo>
                  <a:lnTo>
                    <a:pt x="176308" y="845725"/>
                  </a:lnTo>
                  <a:lnTo>
                    <a:pt x="177165" y="846868"/>
                  </a:lnTo>
                  <a:lnTo>
                    <a:pt x="177165" y="846868"/>
                  </a:lnTo>
                  <a:lnTo>
                    <a:pt x="178022" y="848011"/>
                  </a:lnTo>
                  <a:lnTo>
                    <a:pt x="178022" y="848011"/>
                  </a:lnTo>
                  <a:cubicBezTo>
                    <a:pt x="178308" y="848392"/>
                    <a:pt x="178594" y="848773"/>
                    <a:pt x="178879" y="849058"/>
                  </a:cubicBezTo>
                  <a:lnTo>
                    <a:pt x="178879" y="849058"/>
                  </a:lnTo>
                  <a:lnTo>
                    <a:pt x="179737" y="850106"/>
                  </a:lnTo>
                  <a:lnTo>
                    <a:pt x="179737" y="850106"/>
                  </a:lnTo>
                  <a:lnTo>
                    <a:pt x="180689" y="851154"/>
                  </a:lnTo>
                  <a:lnTo>
                    <a:pt x="180689" y="851154"/>
                  </a:lnTo>
                  <a:lnTo>
                    <a:pt x="181642" y="852202"/>
                  </a:lnTo>
                  <a:lnTo>
                    <a:pt x="181642" y="852202"/>
                  </a:lnTo>
                  <a:lnTo>
                    <a:pt x="182594" y="853154"/>
                  </a:lnTo>
                  <a:lnTo>
                    <a:pt x="182594" y="853154"/>
                  </a:lnTo>
                  <a:lnTo>
                    <a:pt x="183546" y="854107"/>
                  </a:lnTo>
                  <a:lnTo>
                    <a:pt x="183546" y="854107"/>
                  </a:lnTo>
                  <a:lnTo>
                    <a:pt x="184595" y="855059"/>
                  </a:lnTo>
                  <a:lnTo>
                    <a:pt x="184595" y="855059"/>
                  </a:lnTo>
                  <a:lnTo>
                    <a:pt x="185642" y="856011"/>
                  </a:lnTo>
                  <a:lnTo>
                    <a:pt x="185642" y="856011"/>
                  </a:lnTo>
                  <a:lnTo>
                    <a:pt x="186690" y="856869"/>
                  </a:lnTo>
                  <a:lnTo>
                    <a:pt x="186690" y="856869"/>
                  </a:lnTo>
                  <a:cubicBezTo>
                    <a:pt x="187071" y="857155"/>
                    <a:pt x="187452" y="857440"/>
                    <a:pt x="187737" y="857726"/>
                  </a:cubicBezTo>
                  <a:lnTo>
                    <a:pt x="187737" y="857726"/>
                  </a:lnTo>
                  <a:cubicBezTo>
                    <a:pt x="188119" y="858012"/>
                    <a:pt x="188500" y="858298"/>
                    <a:pt x="188786" y="858583"/>
                  </a:cubicBezTo>
                  <a:lnTo>
                    <a:pt x="188786" y="858583"/>
                  </a:lnTo>
                  <a:lnTo>
                    <a:pt x="189929" y="859441"/>
                  </a:lnTo>
                  <a:lnTo>
                    <a:pt x="189929" y="859441"/>
                  </a:lnTo>
                  <a:lnTo>
                    <a:pt x="191071" y="860202"/>
                  </a:lnTo>
                  <a:lnTo>
                    <a:pt x="191071" y="860202"/>
                  </a:lnTo>
                  <a:lnTo>
                    <a:pt x="192214" y="860965"/>
                  </a:lnTo>
                  <a:lnTo>
                    <a:pt x="192214" y="860965"/>
                  </a:lnTo>
                  <a:lnTo>
                    <a:pt x="193357" y="861727"/>
                  </a:lnTo>
                  <a:lnTo>
                    <a:pt x="193357" y="861727"/>
                  </a:lnTo>
                  <a:lnTo>
                    <a:pt x="194596" y="862394"/>
                  </a:lnTo>
                  <a:lnTo>
                    <a:pt x="194596" y="862394"/>
                  </a:lnTo>
                  <a:lnTo>
                    <a:pt x="195834" y="863060"/>
                  </a:lnTo>
                  <a:lnTo>
                    <a:pt x="195834" y="863060"/>
                  </a:lnTo>
                  <a:lnTo>
                    <a:pt x="197072" y="863727"/>
                  </a:lnTo>
                  <a:lnTo>
                    <a:pt x="197072" y="863727"/>
                  </a:lnTo>
                  <a:lnTo>
                    <a:pt x="198311" y="864393"/>
                  </a:lnTo>
                  <a:lnTo>
                    <a:pt x="198311" y="864393"/>
                  </a:lnTo>
                  <a:lnTo>
                    <a:pt x="199549" y="864965"/>
                  </a:lnTo>
                  <a:lnTo>
                    <a:pt x="199549" y="864965"/>
                  </a:lnTo>
                  <a:cubicBezTo>
                    <a:pt x="199930" y="865156"/>
                    <a:pt x="200406" y="865346"/>
                    <a:pt x="200787" y="865536"/>
                  </a:cubicBezTo>
                  <a:lnTo>
                    <a:pt x="200787" y="865536"/>
                  </a:lnTo>
                  <a:lnTo>
                    <a:pt x="202120" y="866109"/>
                  </a:lnTo>
                  <a:lnTo>
                    <a:pt x="202120" y="866109"/>
                  </a:lnTo>
                  <a:lnTo>
                    <a:pt x="203454" y="866585"/>
                  </a:lnTo>
                  <a:lnTo>
                    <a:pt x="203454" y="866585"/>
                  </a:lnTo>
                  <a:lnTo>
                    <a:pt x="204788" y="867061"/>
                  </a:lnTo>
                  <a:lnTo>
                    <a:pt x="204788" y="867061"/>
                  </a:lnTo>
                  <a:lnTo>
                    <a:pt x="206121" y="867537"/>
                  </a:lnTo>
                  <a:lnTo>
                    <a:pt x="206121" y="867537"/>
                  </a:lnTo>
                  <a:lnTo>
                    <a:pt x="207454" y="867918"/>
                  </a:lnTo>
                  <a:lnTo>
                    <a:pt x="207454" y="867918"/>
                  </a:lnTo>
                  <a:lnTo>
                    <a:pt x="208788" y="868299"/>
                  </a:lnTo>
                  <a:lnTo>
                    <a:pt x="208788" y="868299"/>
                  </a:lnTo>
                  <a:lnTo>
                    <a:pt x="210121" y="868680"/>
                  </a:lnTo>
                  <a:lnTo>
                    <a:pt x="210121" y="868680"/>
                  </a:lnTo>
                  <a:lnTo>
                    <a:pt x="211550" y="868966"/>
                  </a:lnTo>
                  <a:lnTo>
                    <a:pt x="211550" y="868966"/>
                  </a:lnTo>
                  <a:cubicBezTo>
                    <a:pt x="212027" y="869061"/>
                    <a:pt x="212503" y="869156"/>
                    <a:pt x="212979" y="869251"/>
                  </a:cubicBezTo>
                  <a:lnTo>
                    <a:pt x="212979" y="869251"/>
                  </a:lnTo>
                  <a:lnTo>
                    <a:pt x="214408" y="869537"/>
                  </a:lnTo>
                  <a:lnTo>
                    <a:pt x="214408" y="869537"/>
                  </a:lnTo>
                  <a:lnTo>
                    <a:pt x="215836" y="869727"/>
                  </a:lnTo>
                  <a:lnTo>
                    <a:pt x="215836" y="869727"/>
                  </a:lnTo>
                  <a:lnTo>
                    <a:pt x="217265" y="869918"/>
                  </a:lnTo>
                  <a:lnTo>
                    <a:pt x="217265" y="869918"/>
                  </a:lnTo>
                  <a:lnTo>
                    <a:pt x="218694" y="870013"/>
                  </a:lnTo>
                  <a:lnTo>
                    <a:pt x="218694" y="870013"/>
                  </a:lnTo>
                  <a:lnTo>
                    <a:pt x="220123" y="870109"/>
                  </a:lnTo>
                  <a:lnTo>
                    <a:pt x="220123" y="870109"/>
                  </a:lnTo>
                  <a:lnTo>
                    <a:pt x="220599" y="870109"/>
                  </a:lnTo>
                  <a:cubicBezTo>
                    <a:pt x="221646" y="870109"/>
                    <a:pt x="222599" y="870204"/>
                    <a:pt x="223742" y="870204"/>
                  </a:cubicBezTo>
                  <a:lnTo>
                    <a:pt x="236505" y="870204"/>
                  </a:lnTo>
                  <a:lnTo>
                    <a:pt x="251270" y="870204"/>
                  </a:lnTo>
                  <a:cubicBezTo>
                    <a:pt x="295846" y="870204"/>
                    <a:pt x="332232" y="906590"/>
                    <a:pt x="332232" y="951167"/>
                  </a:cubicBezTo>
                  <a:lnTo>
                    <a:pt x="332232" y="1014508"/>
                  </a:lnTo>
                  <a:lnTo>
                    <a:pt x="332232" y="1109472"/>
                  </a:lnTo>
                  <a:lnTo>
                    <a:pt x="332232" y="1112615"/>
                  </a:lnTo>
                  <a:cubicBezTo>
                    <a:pt x="332232" y="1144238"/>
                    <a:pt x="358140" y="1170242"/>
                    <a:pt x="389858" y="1170242"/>
                  </a:cubicBezTo>
                  <a:lnTo>
                    <a:pt x="564737" y="1170242"/>
                  </a:lnTo>
                  <a:cubicBezTo>
                    <a:pt x="596455" y="1170242"/>
                    <a:pt x="622363" y="1144333"/>
                    <a:pt x="622363" y="1112615"/>
                  </a:cubicBezTo>
                  <a:lnTo>
                    <a:pt x="622363" y="1104519"/>
                  </a:lnTo>
                  <a:lnTo>
                    <a:pt x="624364" y="600646"/>
                  </a:lnTo>
                  <a:cubicBezTo>
                    <a:pt x="623983" y="579501"/>
                    <a:pt x="613696" y="559403"/>
                    <a:pt x="572928" y="559403"/>
                  </a:cubicBezTo>
                  <a:lnTo>
                    <a:pt x="529494" y="559403"/>
                  </a:lnTo>
                  <a:cubicBezTo>
                    <a:pt x="497777" y="559403"/>
                    <a:pt x="471868" y="533495"/>
                    <a:pt x="471868" y="501777"/>
                  </a:cubicBezTo>
                  <a:lnTo>
                    <a:pt x="471868" y="481774"/>
                  </a:lnTo>
                  <a:cubicBezTo>
                    <a:pt x="471868" y="450056"/>
                    <a:pt x="497777" y="424148"/>
                    <a:pt x="529494" y="424148"/>
                  </a:cubicBezTo>
                  <a:cubicBezTo>
                    <a:pt x="649034" y="424148"/>
                    <a:pt x="767810" y="423100"/>
                    <a:pt x="888302" y="423100"/>
                  </a:cubicBezTo>
                  <a:cubicBezTo>
                    <a:pt x="920019" y="423100"/>
                    <a:pt x="945928" y="397192"/>
                    <a:pt x="945928" y="365474"/>
                  </a:cubicBezTo>
                  <a:lnTo>
                    <a:pt x="945928" y="208312"/>
                  </a:lnTo>
                  <a:cubicBezTo>
                    <a:pt x="945928" y="205359"/>
                    <a:pt x="945928" y="202501"/>
                    <a:pt x="945452" y="202025"/>
                  </a:cubicBezTo>
                  <a:lnTo>
                    <a:pt x="945452" y="0"/>
                  </a:lnTo>
                  <a:lnTo>
                    <a:pt x="857726" y="0"/>
                  </a:lnTo>
                  <a:cubicBezTo>
                    <a:pt x="831818" y="0"/>
                    <a:pt x="809720" y="17431"/>
                    <a:pt x="802577" y="41053"/>
                  </a:cubicBezTo>
                  <a:lnTo>
                    <a:pt x="802577" y="83058"/>
                  </a:lnTo>
                  <a:cubicBezTo>
                    <a:pt x="802577" y="114681"/>
                    <a:pt x="776668" y="140684"/>
                    <a:pt x="744950" y="140684"/>
                  </a:cubicBezTo>
                  <a:lnTo>
                    <a:pt x="635508" y="140684"/>
                  </a:lnTo>
                  <a:lnTo>
                    <a:pt x="635508" y="230505"/>
                  </a:lnTo>
                  <a:cubicBezTo>
                    <a:pt x="635508" y="262128"/>
                    <a:pt x="609600" y="288131"/>
                    <a:pt x="577882" y="288131"/>
                  </a:cubicBezTo>
                  <a:lnTo>
                    <a:pt x="168402" y="288131"/>
                  </a:lnTo>
                  <a:close/>
                  <a:moveTo>
                    <a:pt x="165640" y="812483"/>
                  </a:moveTo>
                  <a:lnTo>
                    <a:pt x="165640" y="812483"/>
                  </a:lnTo>
                  <a:lnTo>
                    <a:pt x="165640" y="812483"/>
                  </a:lnTo>
                  <a:lnTo>
                    <a:pt x="165640" y="812483"/>
                  </a:lnTo>
                  <a:close/>
                  <a:moveTo>
                    <a:pt x="0" y="664083"/>
                  </a:moveTo>
                  <a:lnTo>
                    <a:pt x="0" y="664083"/>
                  </a:lnTo>
                  <a:lnTo>
                    <a:pt x="0" y="664083"/>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97" name="Freeform: Shape 196">
              <a:extLst>
                <a:ext uri="{FF2B5EF4-FFF2-40B4-BE49-F238E27FC236}">
                  <a16:creationId xmlns:a16="http://schemas.microsoft.com/office/drawing/2014/main" id="{8689E83A-946B-4ABB-8201-E09BE6568FDA}"/>
                </a:ext>
              </a:extLst>
            </p:cNvPr>
            <p:cNvSpPr/>
            <p:nvPr/>
          </p:nvSpPr>
          <p:spPr>
            <a:xfrm>
              <a:off x="5763689" y="4552457"/>
              <a:ext cx="678846" cy="1020508"/>
            </a:xfrm>
            <a:custGeom>
              <a:avLst/>
              <a:gdLst>
                <a:gd name="connsiteX0" fmla="*/ 374332 w 678846"/>
                <a:gd name="connsiteY0" fmla="*/ 1020509 h 1020508"/>
                <a:gd name="connsiteX1" fmla="*/ 678847 w 678846"/>
                <a:gd name="connsiteY1" fmla="*/ 1020509 h 1020508"/>
                <a:gd name="connsiteX2" fmla="*/ 678847 w 678846"/>
                <a:gd name="connsiteY2" fmla="*/ 0 h 1020508"/>
                <a:gd name="connsiteX3" fmla="*/ 544925 w 678846"/>
                <a:gd name="connsiteY3" fmla="*/ 0 h 1020508"/>
                <a:gd name="connsiteX4" fmla="*/ 474916 w 678846"/>
                <a:gd name="connsiteY4" fmla="*/ 70009 h 1020508"/>
                <a:gd name="connsiteX5" fmla="*/ 474916 w 678846"/>
                <a:gd name="connsiteY5" fmla="*/ 153258 h 1020508"/>
                <a:gd name="connsiteX6" fmla="*/ 234410 w 678846"/>
                <a:gd name="connsiteY6" fmla="*/ 153258 h 1020508"/>
                <a:gd name="connsiteX7" fmla="*/ 164402 w 678846"/>
                <a:gd name="connsiteY7" fmla="*/ 223266 h 1020508"/>
                <a:gd name="connsiteX8" fmla="*/ 164402 w 678846"/>
                <a:gd name="connsiteY8" fmla="*/ 284893 h 1020508"/>
                <a:gd name="connsiteX9" fmla="*/ 70009 w 678846"/>
                <a:gd name="connsiteY9" fmla="*/ 284893 h 1020508"/>
                <a:gd name="connsiteX10" fmla="*/ 0 w 678846"/>
                <a:gd name="connsiteY10" fmla="*/ 354902 h 1020508"/>
                <a:gd name="connsiteX11" fmla="*/ 0 w 678846"/>
                <a:gd name="connsiteY11" fmla="*/ 662845 h 1020508"/>
                <a:gd name="connsiteX12" fmla="*/ 70009 w 678846"/>
                <a:gd name="connsiteY12" fmla="*/ 732854 h 1020508"/>
                <a:gd name="connsiteX13" fmla="*/ 122682 w 678846"/>
                <a:gd name="connsiteY13" fmla="*/ 732854 h 1020508"/>
                <a:gd name="connsiteX14" fmla="*/ 164402 w 678846"/>
                <a:gd name="connsiteY14" fmla="*/ 777145 h 1020508"/>
                <a:gd name="connsiteX15" fmla="*/ 164402 w 678846"/>
                <a:gd name="connsiteY15" fmla="*/ 806292 h 1020508"/>
                <a:gd name="connsiteX16" fmla="*/ 234410 w 678846"/>
                <a:gd name="connsiteY16" fmla="*/ 876300 h 1020508"/>
                <a:gd name="connsiteX17" fmla="*/ 316706 w 678846"/>
                <a:gd name="connsiteY17" fmla="*/ 876300 h 1020508"/>
                <a:gd name="connsiteX18" fmla="*/ 316706 w 678846"/>
                <a:gd name="connsiteY18" fmla="*/ 962692 h 1020508"/>
                <a:gd name="connsiteX19" fmla="*/ 374332 w 678846"/>
                <a:gd name="connsiteY19" fmla="*/ 1020509 h 1020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8846" h="1020508">
                  <a:moveTo>
                    <a:pt x="374332" y="1020509"/>
                  </a:moveTo>
                  <a:lnTo>
                    <a:pt x="678847" y="1020509"/>
                  </a:lnTo>
                  <a:lnTo>
                    <a:pt x="678847" y="0"/>
                  </a:lnTo>
                  <a:lnTo>
                    <a:pt x="544925" y="0"/>
                  </a:lnTo>
                  <a:cubicBezTo>
                    <a:pt x="506444" y="0"/>
                    <a:pt x="474916" y="31528"/>
                    <a:pt x="474916" y="70009"/>
                  </a:cubicBezTo>
                  <a:lnTo>
                    <a:pt x="474916" y="153258"/>
                  </a:lnTo>
                  <a:lnTo>
                    <a:pt x="234410" y="153258"/>
                  </a:lnTo>
                  <a:cubicBezTo>
                    <a:pt x="195929" y="153258"/>
                    <a:pt x="164402" y="184785"/>
                    <a:pt x="164402" y="223266"/>
                  </a:cubicBezTo>
                  <a:lnTo>
                    <a:pt x="164402" y="284893"/>
                  </a:lnTo>
                  <a:lnTo>
                    <a:pt x="70009" y="284893"/>
                  </a:lnTo>
                  <a:cubicBezTo>
                    <a:pt x="31528" y="284893"/>
                    <a:pt x="0" y="316421"/>
                    <a:pt x="0" y="354902"/>
                  </a:cubicBezTo>
                  <a:lnTo>
                    <a:pt x="0" y="662845"/>
                  </a:lnTo>
                  <a:cubicBezTo>
                    <a:pt x="0" y="701326"/>
                    <a:pt x="31528" y="732854"/>
                    <a:pt x="70009" y="732854"/>
                  </a:cubicBezTo>
                  <a:lnTo>
                    <a:pt x="122682" y="732854"/>
                  </a:lnTo>
                  <a:cubicBezTo>
                    <a:pt x="149066" y="734854"/>
                    <a:pt x="165545" y="754475"/>
                    <a:pt x="164402" y="777145"/>
                  </a:cubicBezTo>
                  <a:lnTo>
                    <a:pt x="164402" y="806292"/>
                  </a:lnTo>
                  <a:cubicBezTo>
                    <a:pt x="164402" y="844772"/>
                    <a:pt x="195929" y="876300"/>
                    <a:pt x="234410" y="876300"/>
                  </a:cubicBezTo>
                  <a:lnTo>
                    <a:pt x="316706" y="876300"/>
                  </a:lnTo>
                  <a:lnTo>
                    <a:pt x="316706" y="962692"/>
                  </a:lnTo>
                  <a:cubicBezTo>
                    <a:pt x="316706" y="994600"/>
                    <a:pt x="342615" y="1020509"/>
                    <a:pt x="374332" y="1020509"/>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98" name="Freeform: Shape 197">
              <a:extLst>
                <a:ext uri="{FF2B5EF4-FFF2-40B4-BE49-F238E27FC236}">
                  <a16:creationId xmlns:a16="http://schemas.microsoft.com/office/drawing/2014/main" id="{DC63CD5D-D5F2-4A34-8958-0A5B571439E7}"/>
                </a:ext>
              </a:extLst>
            </p:cNvPr>
            <p:cNvSpPr/>
            <p:nvPr/>
          </p:nvSpPr>
          <p:spPr>
            <a:xfrm>
              <a:off x="5282867" y="4139834"/>
              <a:ext cx="864774" cy="563117"/>
            </a:xfrm>
            <a:custGeom>
              <a:avLst/>
              <a:gdLst>
                <a:gd name="connsiteX0" fmla="*/ 0 w 864774"/>
                <a:gd name="connsiteY0" fmla="*/ 208979 h 563117"/>
                <a:gd name="connsiteX1" fmla="*/ 0 w 864774"/>
                <a:gd name="connsiteY1" fmla="*/ 563118 h 563117"/>
                <a:gd name="connsiteX2" fmla="*/ 101251 w 864774"/>
                <a:gd name="connsiteY2" fmla="*/ 563118 h 563117"/>
                <a:gd name="connsiteX3" fmla="*/ 158877 w 864774"/>
                <a:gd name="connsiteY3" fmla="*/ 505492 h 563117"/>
                <a:gd name="connsiteX4" fmla="*/ 158877 w 864774"/>
                <a:gd name="connsiteY4" fmla="*/ 415671 h 563117"/>
                <a:gd name="connsiteX5" fmla="*/ 268319 w 864774"/>
                <a:gd name="connsiteY5" fmla="*/ 415671 h 563117"/>
                <a:gd name="connsiteX6" fmla="*/ 325945 w 864774"/>
                <a:gd name="connsiteY6" fmla="*/ 358045 h 563117"/>
                <a:gd name="connsiteX7" fmla="*/ 325945 w 864774"/>
                <a:gd name="connsiteY7" fmla="*/ 321564 h 563117"/>
                <a:gd name="connsiteX8" fmla="*/ 381095 w 864774"/>
                <a:gd name="connsiteY8" fmla="*/ 280511 h 563117"/>
                <a:gd name="connsiteX9" fmla="*/ 864775 w 864774"/>
                <a:gd name="connsiteY9" fmla="*/ 280416 h 563117"/>
                <a:gd name="connsiteX10" fmla="*/ 864775 w 864774"/>
                <a:gd name="connsiteY10" fmla="*/ 278416 h 563117"/>
                <a:gd name="connsiteX11" fmla="*/ 856679 w 864774"/>
                <a:gd name="connsiteY11" fmla="*/ 278416 h 563117"/>
                <a:gd name="connsiteX12" fmla="*/ 799052 w 864774"/>
                <a:gd name="connsiteY12" fmla="*/ 220789 h 563117"/>
                <a:gd name="connsiteX13" fmla="*/ 799052 w 864774"/>
                <a:gd name="connsiteY13" fmla="*/ 1143 h 563117"/>
                <a:gd name="connsiteX14" fmla="*/ 786575 w 864774"/>
                <a:gd name="connsiteY14" fmla="*/ 0 h 563117"/>
                <a:gd name="connsiteX15" fmla="*/ 453580 w 864774"/>
                <a:gd name="connsiteY15" fmla="*/ 0 h 563117"/>
                <a:gd name="connsiteX16" fmla="*/ 404050 w 864774"/>
                <a:gd name="connsiteY16" fmla="*/ 0 h 563117"/>
                <a:gd name="connsiteX17" fmla="*/ 288703 w 864774"/>
                <a:gd name="connsiteY17" fmla="*/ 0 h 563117"/>
                <a:gd name="connsiteX18" fmla="*/ 218884 w 864774"/>
                <a:gd name="connsiteY18" fmla="*/ 64389 h 563117"/>
                <a:gd name="connsiteX19" fmla="*/ 138113 w 864774"/>
                <a:gd name="connsiteY19" fmla="*/ 138874 h 563117"/>
                <a:gd name="connsiteX20" fmla="*/ 69913 w 864774"/>
                <a:gd name="connsiteY20" fmla="*/ 138874 h 563117"/>
                <a:gd name="connsiteX21" fmla="*/ 0 w 864774"/>
                <a:gd name="connsiteY21" fmla="*/ 208979 h 56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4774" h="563117">
                  <a:moveTo>
                    <a:pt x="0" y="208979"/>
                  </a:moveTo>
                  <a:lnTo>
                    <a:pt x="0" y="563118"/>
                  </a:lnTo>
                  <a:lnTo>
                    <a:pt x="101251" y="563118"/>
                  </a:lnTo>
                  <a:cubicBezTo>
                    <a:pt x="132969" y="563118"/>
                    <a:pt x="158877" y="537210"/>
                    <a:pt x="158877" y="505492"/>
                  </a:cubicBezTo>
                  <a:lnTo>
                    <a:pt x="158877" y="415671"/>
                  </a:lnTo>
                  <a:lnTo>
                    <a:pt x="268319" y="415671"/>
                  </a:lnTo>
                  <a:cubicBezTo>
                    <a:pt x="300038" y="415671"/>
                    <a:pt x="325945" y="389763"/>
                    <a:pt x="325945" y="358045"/>
                  </a:cubicBezTo>
                  <a:lnTo>
                    <a:pt x="325945" y="321564"/>
                  </a:lnTo>
                  <a:cubicBezTo>
                    <a:pt x="333089" y="297847"/>
                    <a:pt x="355187" y="280511"/>
                    <a:pt x="381095" y="280511"/>
                  </a:cubicBezTo>
                  <a:cubicBezTo>
                    <a:pt x="546449" y="280511"/>
                    <a:pt x="390430" y="280416"/>
                    <a:pt x="864775" y="280416"/>
                  </a:cubicBezTo>
                  <a:lnTo>
                    <a:pt x="864775" y="278416"/>
                  </a:lnTo>
                  <a:lnTo>
                    <a:pt x="856679" y="278416"/>
                  </a:lnTo>
                  <a:cubicBezTo>
                    <a:pt x="825055" y="278416"/>
                    <a:pt x="799052" y="252508"/>
                    <a:pt x="799052" y="220789"/>
                  </a:cubicBezTo>
                  <a:lnTo>
                    <a:pt x="799052" y="1143"/>
                  </a:lnTo>
                  <a:cubicBezTo>
                    <a:pt x="795052" y="381"/>
                    <a:pt x="790860" y="0"/>
                    <a:pt x="786575" y="0"/>
                  </a:cubicBezTo>
                  <a:lnTo>
                    <a:pt x="453580" y="0"/>
                  </a:lnTo>
                  <a:lnTo>
                    <a:pt x="404050" y="0"/>
                  </a:lnTo>
                  <a:lnTo>
                    <a:pt x="288703" y="0"/>
                  </a:lnTo>
                  <a:cubicBezTo>
                    <a:pt x="252126" y="0"/>
                    <a:pt x="221742" y="28480"/>
                    <a:pt x="218884" y="64389"/>
                  </a:cubicBezTo>
                  <a:cubicBezTo>
                    <a:pt x="215551" y="106585"/>
                    <a:pt x="180499" y="138874"/>
                    <a:pt x="138113" y="138874"/>
                  </a:cubicBezTo>
                  <a:lnTo>
                    <a:pt x="69913" y="138874"/>
                  </a:lnTo>
                  <a:cubicBezTo>
                    <a:pt x="31528" y="138970"/>
                    <a:pt x="0" y="170497"/>
                    <a:pt x="0" y="208979"/>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99" name="Freeform: Shape 198">
              <a:extLst>
                <a:ext uri="{FF2B5EF4-FFF2-40B4-BE49-F238E27FC236}">
                  <a16:creationId xmlns:a16="http://schemas.microsoft.com/office/drawing/2014/main" id="{3AE89A28-1388-4F7E-883A-191A136A889D}"/>
                </a:ext>
              </a:extLst>
            </p:cNvPr>
            <p:cNvSpPr/>
            <p:nvPr/>
          </p:nvSpPr>
          <p:spPr>
            <a:xfrm>
              <a:off x="4017848" y="3391550"/>
              <a:ext cx="1149861" cy="437387"/>
            </a:xfrm>
            <a:custGeom>
              <a:avLst/>
              <a:gdLst>
                <a:gd name="connsiteX0" fmla="*/ 16292 w 1149861"/>
                <a:gd name="connsiteY0" fmla="*/ 437388 h 437387"/>
                <a:gd name="connsiteX1" fmla="*/ 927834 w 1149861"/>
                <a:gd name="connsiteY1" fmla="*/ 437388 h 437387"/>
                <a:gd name="connsiteX2" fmla="*/ 985460 w 1149861"/>
                <a:gd name="connsiteY2" fmla="*/ 379762 h 437387"/>
                <a:gd name="connsiteX3" fmla="*/ 985460 w 1149861"/>
                <a:gd name="connsiteY3" fmla="*/ 216217 h 437387"/>
                <a:gd name="connsiteX4" fmla="*/ 1066423 w 1149861"/>
                <a:gd name="connsiteY4" fmla="*/ 135255 h 437387"/>
                <a:gd name="connsiteX5" fmla="*/ 1092236 w 1149861"/>
                <a:gd name="connsiteY5" fmla="*/ 135255 h 437387"/>
                <a:gd name="connsiteX6" fmla="*/ 1149862 w 1149861"/>
                <a:gd name="connsiteY6" fmla="*/ 77629 h 437387"/>
                <a:gd name="connsiteX7" fmla="*/ 1149862 w 1149861"/>
                <a:gd name="connsiteY7" fmla="*/ 57626 h 437387"/>
                <a:gd name="connsiteX8" fmla="*/ 1092236 w 1149861"/>
                <a:gd name="connsiteY8" fmla="*/ 0 h 437387"/>
                <a:gd name="connsiteX9" fmla="*/ 927834 w 1149861"/>
                <a:gd name="connsiteY9" fmla="*/ 0 h 437387"/>
                <a:gd name="connsiteX10" fmla="*/ 698662 w 1149861"/>
                <a:gd name="connsiteY10" fmla="*/ 0 h 437387"/>
                <a:gd name="connsiteX11" fmla="*/ 641322 w 1149861"/>
                <a:gd name="connsiteY11" fmla="*/ 71056 h 437387"/>
                <a:gd name="connsiteX12" fmla="*/ 571504 w 1149861"/>
                <a:gd name="connsiteY12" fmla="*/ 135446 h 437387"/>
                <a:gd name="connsiteX13" fmla="*/ 456156 w 1149861"/>
                <a:gd name="connsiteY13" fmla="*/ 135446 h 437387"/>
                <a:gd name="connsiteX14" fmla="*/ 406626 w 1149861"/>
                <a:gd name="connsiteY14" fmla="*/ 135446 h 437387"/>
                <a:gd name="connsiteX15" fmla="*/ 165262 w 1149861"/>
                <a:gd name="connsiteY15" fmla="*/ 135446 h 437387"/>
                <a:gd name="connsiteX16" fmla="*/ 165262 w 1149861"/>
                <a:gd name="connsiteY16" fmla="*/ 232696 h 437387"/>
                <a:gd name="connsiteX17" fmla="*/ 107636 w 1149861"/>
                <a:gd name="connsiteY17" fmla="*/ 290322 h 437387"/>
                <a:gd name="connsiteX18" fmla="*/ 72775 w 1149861"/>
                <a:gd name="connsiteY18" fmla="*/ 290322 h 437387"/>
                <a:gd name="connsiteX19" fmla="*/ 99 w 1149861"/>
                <a:gd name="connsiteY19" fmla="*/ 366998 h 437387"/>
                <a:gd name="connsiteX20" fmla="*/ 99 w 1149861"/>
                <a:gd name="connsiteY20" fmla="*/ 435007 h 437387"/>
                <a:gd name="connsiteX21" fmla="*/ 16292 w 1149861"/>
                <a:gd name="connsiteY21" fmla="*/ 437388 h 4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49861" h="437387">
                  <a:moveTo>
                    <a:pt x="16292" y="437388"/>
                  </a:moveTo>
                  <a:lnTo>
                    <a:pt x="927834" y="437388"/>
                  </a:lnTo>
                  <a:cubicBezTo>
                    <a:pt x="959552" y="437388"/>
                    <a:pt x="985460" y="411480"/>
                    <a:pt x="985460" y="379762"/>
                  </a:cubicBezTo>
                  <a:lnTo>
                    <a:pt x="985460" y="216217"/>
                  </a:lnTo>
                  <a:cubicBezTo>
                    <a:pt x="985460" y="171640"/>
                    <a:pt x="1021846" y="135255"/>
                    <a:pt x="1066423" y="135255"/>
                  </a:cubicBezTo>
                  <a:lnTo>
                    <a:pt x="1092236" y="135255"/>
                  </a:lnTo>
                  <a:cubicBezTo>
                    <a:pt x="1123954" y="135255"/>
                    <a:pt x="1149862" y="109347"/>
                    <a:pt x="1149862" y="77629"/>
                  </a:cubicBezTo>
                  <a:lnTo>
                    <a:pt x="1149862" y="57626"/>
                  </a:lnTo>
                  <a:cubicBezTo>
                    <a:pt x="1149862" y="25908"/>
                    <a:pt x="1123954" y="0"/>
                    <a:pt x="1092236" y="0"/>
                  </a:cubicBezTo>
                  <a:lnTo>
                    <a:pt x="927834" y="0"/>
                  </a:lnTo>
                  <a:lnTo>
                    <a:pt x="698662" y="0"/>
                  </a:lnTo>
                  <a:cubicBezTo>
                    <a:pt x="667420" y="9334"/>
                    <a:pt x="644084" y="36957"/>
                    <a:pt x="641322" y="71056"/>
                  </a:cubicBezTo>
                  <a:cubicBezTo>
                    <a:pt x="638465" y="106966"/>
                    <a:pt x="608175" y="135446"/>
                    <a:pt x="571504" y="135446"/>
                  </a:cubicBezTo>
                  <a:lnTo>
                    <a:pt x="456156" y="135446"/>
                  </a:lnTo>
                  <a:lnTo>
                    <a:pt x="406626" y="135446"/>
                  </a:lnTo>
                  <a:lnTo>
                    <a:pt x="165262" y="135446"/>
                  </a:lnTo>
                  <a:lnTo>
                    <a:pt x="165262" y="232696"/>
                  </a:lnTo>
                  <a:cubicBezTo>
                    <a:pt x="165262" y="264414"/>
                    <a:pt x="139354" y="290322"/>
                    <a:pt x="107636" y="290322"/>
                  </a:cubicBezTo>
                  <a:lnTo>
                    <a:pt x="72775" y="290322"/>
                  </a:lnTo>
                  <a:cubicBezTo>
                    <a:pt x="16482" y="290322"/>
                    <a:pt x="-1520" y="345376"/>
                    <a:pt x="99" y="366998"/>
                  </a:cubicBezTo>
                  <a:lnTo>
                    <a:pt x="99" y="435007"/>
                  </a:lnTo>
                  <a:cubicBezTo>
                    <a:pt x="5338" y="436626"/>
                    <a:pt x="10672" y="437388"/>
                    <a:pt x="16292" y="437388"/>
                  </a:cubicBez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00" name="Freeform: Shape 199">
              <a:extLst>
                <a:ext uri="{FF2B5EF4-FFF2-40B4-BE49-F238E27FC236}">
                  <a16:creationId xmlns:a16="http://schemas.microsoft.com/office/drawing/2014/main" id="{F50403AD-6617-4BA1-BC4B-2589D5F0A0BF}"/>
                </a:ext>
              </a:extLst>
            </p:cNvPr>
            <p:cNvSpPr/>
            <p:nvPr/>
          </p:nvSpPr>
          <p:spPr>
            <a:xfrm>
              <a:off x="4975781" y="4445015"/>
              <a:ext cx="307848" cy="259556"/>
            </a:xfrm>
            <a:custGeom>
              <a:avLst/>
              <a:gdLst>
                <a:gd name="connsiteX0" fmla="*/ 115157 w 307848"/>
                <a:gd name="connsiteY0" fmla="*/ 0 h 259556"/>
                <a:gd name="connsiteX1" fmla="*/ 0 w 307848"/>
                <a:gd name="connsiteY1" fmla="*/ 114300 h 259556"/>
                <a:gd name="connsiteX2" fmla="*/ 0 w 307848"/>
                <a:gd name="connsiteY2" fmla="*/ 259556 h 259556"/>
                <a:gd name="connsiteX3" fmla="*/ 115157 w 307848"/>
                <a:gd name="connsiteY3" fmla="*/ 259556 h 259556"/>
                <a:gd name="connsiteX4" fmla="*/ 154305 w 307848"/>
                <a:gd name="connsiteY4" fmla="*/ 259556 h 259556"/>
                <a:gd name="connsiteX5" fmla="*/ 307848 w 307848"/>
                <a:gd name="connsiteY5" fmla="*/ 259556 h 259556"/>
                <a:gd name="connsiteX6" fmla="*/ 307848 w 307848"/>
                <a:gd name="connsiteY6" fmla="*/ 0 h 259556"/>
                <a:gd name="connsiteX7" fmla="*/ 115157 w 307848"/>
                <a:gd name="connsiteY7" fmla="*/ 0 h 25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848" h="259556">
                  <a:moveTo>
                    <a:pt x="115157" y="0"/>
                  </a:moveTo>
                  <a:cubicBezTo>
                    <a:pt x="51816" y="0"/>
                    <a:pt x="0" y="51435"/>
                    <a:pt x="0" y="114300"/>
                  </a:cubicBezTo>
                  <a:lnTo>
                    <a:pt x="0" y="259556"/>
                  </a:lnTo>
                  <a:lnTo>
                    <a:pt x="115157" y="259556"/>
                  </a:lnTo>
                  <a:lnTo>
                    <a:pt x="154305" y="259556"/>
                  </a:lnTo>
                  <a:lnTo>
                    <a:pt x="307848" y="259556"/>
                  </a:lnTo>
                  <a:lnTo>
                    <a:pt x="307848" y="0"/>
                  </a:lnTo>
                  <a:lnTo>
                    <a:pt x="115157"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01" name="Freeform: Shape 200">
              <a:extLst>
                <a:ext uri="{FF2B5EF4-FFF2-40B4-BE49-F238E27FC236}">
                  <a16:creationId xmlns:a16="http://schemas.microsoft.com/office/drawing/2014/main" id="{BA34FA4D-9EFF-4AEB-B417-247C1C1C3D6D}"/>
                </a:ext>
              </a:extLst>
            </p:cNvPr>
            <p:cNvSpPr/>
            <p:nvPr/>
          </p:nvSpPr>
          <p:spPr>
            <a:xfrm>
              <a:off x="4180063" y="3970003"/>
              <a:ext cx="470820" cy="419195"/>
            </a:xfrm>
            <a:custGeom>
              <a:avLst/>
              <a:gdLst>
                <a:gd name="connsiteX0" fmla="*/ 57626 w 470820"/>
                <a:gd name="connsiteY0" fmla="*/ 571 h 419195"/>
                <a:gd name="connsiteX1" fmla="*/ 0 w 470820"/>
                <a:gd name="connsiteY1" fmla="*/ 58198 h 419195"/>
                <a:gd name="connsiteX2" fmla="*/ 0 w 470820"/>
                <a:gd name="connsiteY2" fmla="*/ 78200 h 419195"/>
                <a:gd name="connsiteX3" fmla="*/ 57626 w 470820"/>
                <a:gd name="connsiteY3" fmla="*/ 135827 h 419195"/>
                <a:gd name="connsiteX4" fmla="*/ 72771 w 470820"/>
                <a:gd name="connsiteY4" fmla="*/ 135827 h 419195"/>
                <a:gd name="connsiteX5" fmla="*/ 155353 w 470820"/>
                <a:gd name="connsiteY5" fmla="*/ 205073 h 419195"/>
                <a:gd name="connsiteX6" fmla="*/ 157448 w 470820"/>
                <a:gd name="connsiteY6" fmla="*/ 319945 h 419195"/>
                <a:gd name="connsiteX7" fmla="*/ 158877 w 470820"/>
                <a:gd name="connsiteY7" fmla="*/ 325946 h 419195"/>
                <a:gd name="connsiteX8" fmla="*/ 158877 w 470820"/>
                <a:gd name="connsiteY8" fmla="*/ 347853 h 419195"/>
                <a:gd name="connsiteX9" fmla="*/ 230219 w 470820"/>
                <a:gd name="connsiteY9" fmla="*/ 419195 h 419195"/>
                <a:gd name="connsiteX10" fmla="*/ 293275 w 470820"/>
                <a:gd name="connsiteY10" fmla="*/ 419195 h 419195"/>
                <a:gd name="connsiteX11" fmla="*/ 293275 w 470820"/>
                <a:gd name="connsiteY11" fmla="*/ 418338 h 419195"/>
                <a:gd name="connsiteX12" fmla="*/ 382714 w 470820"/>
                <a:gd name="connsiteY12" fmla="*/ 418338 h 419195"/>
                <a:gd name="connsiteX13" fmla="*/ 470821 w 470820"/>
                <a:gd name="connsiteY13" fmla="*/ 330232 h 419195"/>
                <a:gd name="connsiteX14" fmla="*/ 470821 w 470820"/>
                <a:gd name="connsiteY14" fmla="*/ 0 h 419195"/>
                <a:gd name="connsiteX15" fmla="*/ 57626 w 470820"/>
                <a:gd name="connsiteY15" fmla="*/ 571 h 41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0820" h="419195">
                  <a:moveTo>
                    <a:pt x="57626" y="571"/>
                  </a:moveTo>
                  <a:cubicBezTo>
                    <a:pt x="25908" y="571"/>
                    <a:pt x="0" y="26479"/>
                    <a:pt x="0" y="58198"/>
                  </a:cubicBezTo>
                  <a:lnTo>
                    <a:pt x="0" y="78200"/>
                  </a:lnTo>
                  <a:cubicBezTo>
                    <a:pt x="0" y="109919"/>
                    <a:pt x="25908" y="135827"/>
                    <a:pt x="57626" y="135827"/>
                  </a:cubicBezTo>
                  <a:lnTo>
                    <a:pt x="72771" y="135827"/>
                  </a:lnTo>
                  <a:cubicBezTo>
                    <a:pt x="88011" y="136303"/>
                    <a:pt x="154114" y="133160"/>
                    <a:pt x="155353" y="205073"/>
                  </a:cubicBezTo>
                  <a:lnTo>
                    <a:pt x="157448" y="319945"/>
                  </a:lnTo>
                  <a:cubicBezTo>
                    <a:pt x="158020" y="321850"/>
                    <a:pt x="158496" y="323850"/>
                    <a:pt x="158877" y="325946"/>
                  </a:cubicBezTo>
                  <a:lnTo>
                    <a:pt x="158877" y="347853"/>
                  </a:lnTo>
                  <a:cubicBezTo>
                    <a:pt x="158877" y="387096"/>
                    <a:pt x="190976" y="419195"/>
                    <a:pt x="230219" y="419195"/>
                  </a:cubicBezTo>
                  <a:lnTo>
                    <a:pt x="293275" y="419195"/>
                  </a:lnTo>
                  <a:lnTo>
                    <a:pt x="293275" y="418338"/>
                  </a:lnTo>
                  <a:lnTo>
                    <a:pt x="382714" y="418338"/>
                  </a:lnTo>
                  <a:cubicBezTo>
                    <a:pt x="431197" y="418338"/>
                    <a:pt x="470821" y="378714"/>
                    <a:pt x="470821" y="330232"/>
                  </a:cubicBezTo>
                  <a:lnTo>
                    <a:pt x="470821" y="0"/>
                  </a:lnTo>
                  <a:lnTo>
                    <a:pt x="57626" y="571"/>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02" name="Freeform: Shape 201">
              <a:extLst>
                <a:ext uri="{FF2B5EF4-FFF2-40B4-BE49-F238E27FC236}">
                  <a16:creationId xmlns:a16="http://schemas.microsoft.com/office/drawing/2014/main" id="{53289D53-DB1C-467C-A726-63E1101D03BE}"/>
                </a:ext>
              </a:extLst>
            </p:cNvPr>
            <p:cNvSpPr/>
            <p:nvPr/>
          </p:nvSpPr>
          <p:spPr>
            <a:xfrm>
              <a:off x="5003118" y="3381263"/>
              <a:ext cx="1432559" cy="951547"/>
            </a:xfrm>
            <a:custGeom>
              <a:avLst/>
              <a:gdLst>
                <a:gd name="connsiteX0" fmla="*/ 1331309 w 1432559"/>
                <a:gd name="connsiteY0" fmla="*/ 122872 h 951547"/>
                <a:gd name="connsiteX1" fmla="*/ 1217009 w 1432559"/>
                <a:gd name="connsiteY1" fmla="*/ 8572 h 951547"/>
                <a:gd name="connsiteX2" fmla="*/ 1217009 w 1432559"/>
                <a:gd name="connsiteY2" fmla="*/ 0 h 951547"/>
                <a:gd name="connsiteX3" fmla="*/ 508921 w 1432559"/>
                <a:gd name="connsiteY3" fmla="*/ 0 h 951547"/>
                <a:gd name="connsiteX4" fmla="*/ 459391 w 1432559"/>
                <a:gd name="connsiteY4" fmla="*/ 0 h 951547"/>
                <a:gd name="connsiteX5" fmla="*/ 344043 w 1432559"/>
                <a:gd name="connsiteY5" fmla="*/ 0 h 951547"/>
                <a:gd name="connsiteX6" fmla="*/ 274225 w 1432559"/>
                <a:gd name="connsiteY6" fmla="*/ 64389 h 951547"/>
                <a:gd name="connsiteX7" fmla="*/ 193453 w 1432559"/>
                <a:gd name="connsiteY7" fmla="*/ 138875 h 951547"/>
                <a:gd name="connsiteX8" fmla="*/ 70009 w 1432559"/>
                <a:gd name="connsiteY8" fmla="*/ 138875 h 951547"/>
                <a:gd name="connsiteX9" fmla="*/ 0 w 1432559"/>
                <a:gd name="connsiteY9" fmla="*/ 208883 h 951547"/>
                <a:gd name="connsiteX10" fmla="*/ 0 w 1432559"/>
                <a:gd name="connsiteY10" fmla="*/ 447008 h 951547"/>
                <a:gd name="connsiteX11" fmla="*/ 222980 w 1432559"/>
                <a:gd name="connsiteY11" fmla="*/ 447008 h 951547"/>
                <a:gd name="connsiteX12" fmla="*/ 281749 w 1432559"/>
                <a:gd name="connsiteY12" fmla="*/ 505778 h 951547"/>
                <a:gd name="connsiteX13" fmla="*/ 281749 w 1432559"/>
                <a:gd name="connsiteY13" fmla="*/ 542258 h 951547"/>
                <a:gd name="connsiteX14" fmla="*/ 281749 w 1432559"/>
                <a:gd name="connsiteY14" fmla="*/ 951547 h 951547"/>
                <a:gd name="connsiteX15" fmla="*/ 349853 w 1432559"/>
                <a:gd name="connsiteY15" fmla="*/ 897446 h 951547"/>
                <a:gd name="connsiteX16" fmla="*/ 418052 w 1432559"/>
                <a:gd name="connsiteY16" fmla="*/ 897446 h 951547"/>
                <a:gd name="connsiteX17" fmla="*/ 498824 w 1432559"/>
                <a:gd name="connsiteY17" fmla="*/ 822960 h 951547"/>
                <a:gd name="connsiteX18" fmla="*/ 568643 w 1432559"/>
                <a:gd name="connsiteY18" fmla="*/ 758571 h 951547"/>
                <a:gd name="connsiteX19" fmla="*/ 683990 w 1432559"/>
                <a:gd name="connsiteY19" fmla="*/ 758571 h 951547"/>
                <a:gd name="connsiteX20" fmla="*/ 733520 w 1432559"/>
                <a:gd name="connsiteY20" fmla="*/ 758571 h 951547"/>
                <a:gd name="connsiteX21" fmla="*/ 1066514 w 1432559"/>
                <a:gd name="connsiteY21" fmla="*/ 758571 h 951547"/>
                <a:gd name="connsiteX22" fmla="*/ 1078992 w 1432559"/>
                <a:gd name="connsiteY22" fmla="*/ 759714 h 951547"/>
                <a:gd name="connsiteX23" fmla="*/ 1078992 w 1432559"/>
                <a:gd name="connsiteY23" fmla="*/ 617506 h 951547"/>
                <a:gd name="connsiteX24" fmla="*/ 1136618 w 1432559"/>
                <a:gd name="connsiteY24" fmla="*/ 559880 h 951547"/>
                <a:gd name="connsiteX25" fmla="*/ 1156621 w 1432559"/>
                <a:gd name="connsiteY25" fmla="*/ 559880 h 951547"/>
                <a:gd name="connsiteX26" fmla="*/ 1158335 w 1432559"/>
                <a:gd name="connsiteY26" fmla="*/ 559880 h 951547"/>
                <a:gd name="connsiteX27" fmla="*/ 1209199 w 1432559"/>
                <a:gd name="connsiteY27" fmla="*/ 559880 h 951547"/>
                <a:gd name="connsiteX28" fmla="*/ 1266825 w 1432559"/>
                <a:gd name="connsiteY28" fmla="*/ 502253 h 951547"/>
                <a:gd name="connsiteX29" fmla="*/ 1266825 w 1432559"/>
                <a:gd name="connsiteY29" fmla="*/ 425768 h 951547"/>
                <a:gd name="connsiteX30" fmla="*/ 1349121 w 1432559"/>
                <a:gd name="connsiteY30" fmla="*/ 425768 h 951547"/>
                <a:gd name="connsiteX31" fmla="*/ 1432560 w 1432559"/>
                <a:gd name="connsiteY31" fmla="*/ 342329 h 951547"/>
                <a:gd name="connsiteX32" fmla="*/ 1432560 w 1432559"/>
                <a:gd name="connsiteY32" fmla="*/ 122777 h 951547"/>
                <a:gd name="connsiteX33" fmla="*/ 1331309 w 1432559"/>
                <a:gd name="connsiteY33" fmla="*/ 122777 h 95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32559" h="951547">
                  <a:moveTo>
                    <a:pt x="1331309" y="122872"/>
                  </a:moveTo>
                  <a:cubicBezTo>
                    <a:pt x="1268444" y="122872"/>
                    <a:pt x="1217009" y="71438"/>
                    <a:pt x="1217009" y="8572"/>
                  </a:cubicBezTo>
                  <a:lnTo>
                    <a:pt x="1217009" y="0"/>
                  </a:lnTo>
                  <a:lnTo>
                    <a:pt x="508921" y="0"/>
                  </a:lnTo>
                  <a:lnTo>
                    <a:pt x="459391" y="0"/>
                  </a:lnTo>
                  <a:lnTo>
                    <a:pt x="344043" y="0"/>
                  </a:lnTo>
                  <a:cubicBezTo>
                    <a:pt x="307467" y="0"/>
                    <a:pt x="277082" y="28480"/>
                    <a:pt x="274225" y="64389"/>
                  </a:cubicBezTo>
                  <a:cubicBezTo>
                    <a:pt x="270891" y="106585"/>
                    <a:pt x="235839" y="138875"/>
                    <a:pt x="193453" y="138875"/>
                  </a:cubicBezTo>
                  <a:lnTo>
                    <a:pt x="70009" y="138875"/>
                  </a:lnTo>
                  <a:cubicBezTo>
                    <a:pt x="31528" y="138875"/>
                    <a:pt x="0" y="170497"/>
                    <a:pt x="0" y="208883"/>
                  </a:cubicBezTo>
                  <a:lnTo>
                    <a:pt x="0" y="447008"/>
                  </a:lnTo>
                  <a:lnTo>
                    <a:pt x="222980" y="447008"/>
                  </a:lnTo>
                  <a:cubicBezTo>
                    <a:pt x="255270" y="447008"/>
                    <a:pt x="281749" y="473488"/>
                    <a:pt x="281749" y="505778"/>
                  </a:cubicBezTo>
                  <a:lnTo>
                    <a:pt x="281749" y="542258"/>
                  </a:lnTo>
                  <a:lnTo>
                    <a:pt x="281749" y="951547"/>
                  </a:lnTo>
                  <a:cubicBezTo>
                    <a:pt x="288988" y="920687"/>
                    <a:pt x="316896" y="897446"/>
                    <a:pt x="349853" y="897446"/>
                  </a:cubicBezTo>
                  <a:lnTo>
                    <a:pt x="418052" y="897446"/>
                  </a:lnTo>
                  <a:cubicBezTo>
                    <a:pt x="460343" y="897446"/>
                    <a:pt x="495395" y="865156"/>
                    <a:pt x="498824" y="822960"/>
                  </a:cubicBezTo>
                  <a:cubicBezTo>
                    <a:pt x="501682" y="787051"/>
                    <a:pt x="532066" y="758571"/>
                    <a:pt x="568643" y="758571"/>
                  </a:cubicBezTo>
                  <a:lnTo>
                    <a:pt x="683990" y="758571"/>
                  </a:lnTo>
                  <a:lnTo>
                    <a:pt x="733520" y="758571"/>
                  </a:lnTo>
                  <a:lnTo>
                    <a:pt x="1066514" y="758571"/>
                  </a:lnTo>
                  <a:cubicBezTo>
                    <a:pt x="1070800" y="758571"/>
                    <a:pt x="1074896" y="758952"/>
                    <a:pt x="1078992" y="759714"/>
                  </a:cubicBezTo>
                  <a:lnTo>
                    <a:pt x="1078992" y="617506"/>
                  </a:lnTo>
                  <a:cubicBezTo>
                    <a:pt x="1078992" y="585788"/>
                    <a:pt x="1104900" y="559880"/>
                    <a:pt x="1136618" y="559880"/>
                  </a:cubicBezTo>
                  <a:lnTo>
                    <a:pt x="1156621" y="559880"/>
                  </a:lnTo>
                  <a:cubicBezTo>
                    <a:pt x="1157192" y="559880"/>
                    <a:pt x="1157764" y="559880"/>
                    <a:pt x="1158335" y="559880"/>
                  </a:cubicBezTo>
                  <a:lnTo>
                    <a:pt x="1209199" y="559880"/>
                  </a:lnTo>
                  <a:cubicBezTo>
                    <a:pt x="1240917" y="559880"/>
                    <a:pt x="1266825" y="533972"/>
                    <a:pt x="1266825" y="502253"/>
                  </a:cubicBezTo>
                  <a:lnTo>
                    <a:pt x="1266825" y="425768"/>
                  </a:lnTo>
                  <a:lnTo>
                    <a:pt x="1349121" y="425768"/>
                  </a:lnTo>
                  <a:cubicBezTo>
                    <a:pt x="1395031" y="425768"/>
                    <a:pt x="1432560" y="388239"/>
                    <a:pt x="1432560" y="342329"/>
                  </a:cubicBezTo>
                  <a:lnTo>
                    <a:pt x="1432560" y="122777"/>
                  </a:lnTo>
                  <a:lnTo>
                    <a:pt x="1331309" y="122777"/>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03" name="Freeform: Shape 202">
              <a:extLst>
                <a:ext uri="{FF2B5EF4-FFF2-40B4-BE49-F238E27FC236}">
                  <a16:creationId xmlns:a16="http://schemas.microsoft.com/office/drawing/2014/main" id="{7C5C6DD8-D050-4F38-9E63-4C0199D6DC1D}"/>
                </a:ext>
              </a:extLst>
            </p:cNvPr>
            <p:cNvSpPr/>
            <p:nvPr/>
          </p:nvSpPr>
          <p:spPr>
            <a:xfrm>
              <a:off x="3245469" y="381555"/>
              <a:ext cx="1149858" cy="1834229"/>
            </a:xfrm>
            <a:custGeom>
              <a:avLst/>
              <a:gdLst>
                <a:gd name="connsiteX0" fmla="*/ 935450 w 1149858"/>
                <a:gd name="connsiteY0" fmla="*/ 0 h 1834229"/>
                <a:gd name="connsiteX1" fmla="*/ 644367 w 1149858"/>
                <a:gd name="connsiteY1" fmla="*/ 0 h 1834229"/>
                <a:gd name="connsiteX2" fmla="*/ 436912 w 1149858"/>
                <a:gd name="connsiteY2" fmla="*/ 0 h 1834229"/>
                <a:gd name="connsiteX3" fmla="*/ 340043 w 1149858"/>
                <a:gd name="connsiteY3" fmla="*/ 96869 h 1834229"/>
                <a:gd name="connsiteX4" fmla="*/ 340043 w 1149858"/>
                <a:gd name="connsiteY4" fmla="*/ 393764 h 1834229"/>
                <a:gd name="connsiteX5" fmla="*/ 98774 w 1149858"/>
                <a:gd name="connsiteY5" fmla="*/ 393764 h 1834229"/>
                <a:gd name="connsiteX6" fmla="*/ 1905 w 1149858"/>
                <a:gd name="connsiteY6" fmla="*/ 490633 h 1834229"/>
                <a:gd name="connsiteX7" fmla="*/ 1905 w 1149858"/>
                <a:gd name="connsiteY7" fmla="*/ 659606 h 1834229"/>
                <a:gd name="connsiteX8" fmla="*/ 0 w 1149858"/>
                <a:gd name="connsiteY8" fmla="*/ 659892 h 1834229"/>
                <a:gd name="connsiteX9" fmla="*/ 0 w 1149858"/>
                <a:gd name="connsiteY9" fmla="*/ 916305 h 1834229"/>
                <a:gd name="connsiteX10" fmla="*/ 0 w 1149858"/>
                <a:gd name="connsiteY10" fmla="*/ 998410 h 1834229"/>
                <a:gd name="connsiteX11" fmla="*/ 0 w 1149858"/>
                <a:gd name="connsiteY11" fmla="*/ 1315593 h 1834229"/>
                <a:gd name="connsiteX12" fmla="*/ 78486 w 1149858"/>
                <a:gd name="connsiteY12" fmla="*/ 1398842 h 1834229"/>
                <a:gd name="connsiteX13" fmla="*/ 154686 w 1149858"/>
                <a:gd name="connsiteY13" fmla="*/ 1479709 h 1834229"/>
                <a:gd name="connsiteX14" fmla="*/ 154686 w 1149858"/>
                <a:gd name="connsiteY14" fmla="*/ 1601343 h 1834229"/>
                <a:gd name="connsiteX15" fmla="*/ 234506 w 1149858"/>
                <a:gd name="connsiteY15" fmla="*/ 1684687 h 1834229"/>
                <a:gd name="connsiteX16" fmla="*/ 312039 w 1149858"/>
                <a:gd name="connsiteY16" fmla="*/ 1765649 h 1834229"/>
                <a:gd name="connsiteX17" fmla="*/ 312039 w 1149858"/>
                <a:gd name="connsiteY17" fmla="*/ 1776603 h 1834229"/>
                <a:gd name="connsiteX18" fmla="*/ 369665 w 1149858"/>
                <a:gd name="connsiteY18" fmla="*/ 1834229 h 1834229"/>
                <a:gd name="connsiteX19" fmla="*/ 389668 w 1149858"/>
                <a:gd name="connsiteY19" fmla="*/ 1834229 h 1834229"/>
                <a:gd name="connsiteX20" fmla="*/ 447294 w 1149858"/>
                <a:gd name="connsiteY20" fmla="*/ 1776603 h 1834229"/>
                <a:gd name="connsiteX21" fmla="*/ 447294 w 1149858"/>
                <a:gd name="connsiteY21" fmla="*/ 1765745 h 1834229"/>
                <a:gd name="connsiteX22" fmla="*/ 528257 w 1149858"/>
                <a:gd name="connsiteY22" fmla="*/ 1684782 h 1834229"/>
                <a:gd name="connsiteX23" fmla="*/ 681323 w 1149858"/>
                <a:gd name="connsiteY23" fmla="*/ 1684782 h 1834229"/>
                <a:gd name="connsiteX24" fmla="*/ 764762 w 1149858"/>
                <a:gd name="connsiteY24" fmla="*/ 1601343 h 1834229"/>
                <a:gd name="connsiteX25" fmla="*/ 764762 w 1149858"/>
                <a:gd name="connsiteY25" fmla="*/ 1348835 h 1834229"/>
                <a:gd name="connsiteX26" fmla="*/ 681323 w 1149858"/>
                <a:gd name="connsiteY26" fmla="*/ 1265396 h 1834229"/>
                <a:gd name="connsiteX27" fmla="*/ 602171 w 1149858"/>
                <a:gd name="connsiteY27" fmla="*/ 1186910 h 1834229"/>
                <a:gd name="connsiteX28" fmla="*/ 683133 w 1149858"/>
                <a:gd name="connsiteY28" fmla="*/ 1105948 h 1834229"/>
                <a:gd name="connsiteX29" fmla="*/ 860870 w 1149858"/>
                <a:gd name="connsiteY29" fmla="*/ 1105948 h 1834229"/>
                <a:gd name="connsiteX30" fmla="*/ 918496 w 1149858"/>
                <a:gd name="connsiteY30" fmla="*/ 1048322 h 1834229"/>
                <a:gd name="connsiteX31" fmla="*/ 918496 w 1149858"/>
                <a:gd name="connsiteY31" fmla="*/ 1028319 h 1834229"/>
                <a:gd name="connsiteX32" fmla="*/ 860870 w 1149858"/>
                <a:gd name="connsiteY32" fmla="*/ 970693 h 1834229"/>
                <a:gd name="connsiteX33" fmla="*/ 845725 w 1149858"/>
                <a:gd name="connsiteY33" fmla="*/ 970693 h 1834229"/>
                <a:gd name="connsiteX34" fmla="*/ 764762 w 1149858"/>
                <a:gd name="connsiteY34" fmla="*/ 889730 h 1834229"/>
                <a:gd name="connsiteX35" fmla="*/ 764762 w 1149858"/>
                <a:gd name="connsiteY35" fmla="*/ 759047 h 1834229"/>
                <a:gd name="connsiteX36" fmla="*/ 763905 w 1149858"/>
                <a:gd name="connsiteY36" fmla="*/ 730282 h 1834229"/>
                <a:gd name="connsiteX37" fmla="*/ 798862 w 1149858"/>
                <a:gd name="connsiteY37" fmla="*/ 730282 h 1834229"/>
                <a:gd name="connsiteX38" fmla="*/ 935355 w 1149858"/>
                <a:gd name="connsiteY38" fmla="*/ 640937 h 1834229"/>
                <a:gd name="connsiteX39" fmla="*/ 935355 w 1149858"/>
                <a:gd name="connsiteY39" fmla="*/ 636556 h 1834229"/>
                <a:gd name="connsiteX40" fmla="*/ 935355 w 1149858"/>
                <a:gd name="connsiteY40" fmla="*/ 626555 h 1834229"/>
                <a:gd name="connsiteX41" fmla="*/ 1006221 w 1149858"/>
                <a:gd name="connsiteY41" fmla="*/ 626555 h 1834229"/>
                <a:gd name="connsiteX42" fmla="*/ 1149858 w 1149858"/>
                <a:gd name="connsiteY42" fmla="*/ 490061 h 1834229"/>
                <a:gd name="connsiteX43" fmla="*/ 1149858 w 1149858"/>
                <a:gd name="connsiteY43" fmla="*/ 0 h 1834229"/>
                <a:gd name="connsiteX44" fmla="*/ 935450 w 1149858"/>
                <a:gd name="connsiteY44" fmla="*/ 0 h 183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149858" h="1834229">
                  <a:moveTo>
                    <a:pt x="935450" y="0"/>
                  </a:moveTo>
                  <a:lnTo>
                    <a:pt x="644367" y="0"/>
                  </a:lnTo>
                  <a:lnTo>
                    <a:pt x="436912" y="0"/>
                  </a:lnTo>
                  <a:cubicBezTo>
                    <a:pt x="383477" y="0"/>
                    <a:pt x="340043" y="43339"/>
                    <a:pt x="340043" y="96869"/>
                  </a:cubicBezTo>
                  <a:lnTo>
                    <a:pt x="340043" y="393764"/>
                  </a:lnTo>
                  <a:lnTo>
                    <a:pt x="98774" y="393764"/>
                  </a:lnTo>
                  <a:cubicBezTo>
                    <a:pt x="45339" y="393764"/>
                    <a:pt x="1905" y="437102"/>
                    <a:pt x="1905" y="490633"/>
                  </a:cubicBezTo>
                  <a:lnTo>
                    <a:pt x="1905" y="659606"/>
                  </a:lnTo>
                  <a:lnTo>
                    <a:pt x="0" y="659892"/>
                  </a:lnTo>
                  <a:lnTo>
                    <a:pt x="0" y="916305"/>
                  </a:lnTo>
                  <a:lnTo>
                    <a:pt x="0" y="998410"/>
                  </a:lnTo>
                  <a:lnTo>
                    <a:pt x="0" y="1315593"/>
                  </a:lnTo>
                  <a:cubicBezTo>
                    <a:pt x="0" y="1359789"/>
                    <a:pt x="34862" y="1396270"/>
                    <a:pt x="78486" y="1398842"/>
                  </a:cubicBezTo>
                  <a:cubicBezTo>
                    <a:pt x="121349" y="1401413"/>
                    <a:pt x="154686" y="1436751"/>
                    <a:pt x="154686" y="1479709"/>
                  </a:cubicBezTo>
                  <a:lnTo>
                    <a:pt x="154686" y="1601343"/>
                  </a:lnTo>
                  <a:cubicBezTo>
                    <a:pt x="154686" y="1646015"/>
                    <a:pt x="190310" y="1682782"/>
                    <a:pt x="234506" y="1684687"/>
                  </a:cubicBezTo>
                  <a:cubicBezTo>
                    <a:pt x="277844" y="1686592"/>
                    <a:pt x="312039" y="1722215"/>
                    <a:pt x="312039" y="1765649"/>
                  </a:cubicBezTo>
                  <a:lnTo>
                    <a:pt x="312039" y="1776603"/>
                  </a:lnTo>
                  <a:cubicBezTo>
                    <a:pt x="312039" y="1808321"/>
                    <a:pt x="337947" y="1834229"/>
                    <a:pt x="369665" y="1834229"/>
                  </a:cubicBezTo>
                  <a:lnTo>
                    <a:pt x="389668" y="1834229"/>
                  </a:lnTo>
                  <a:cubicBezTo>
                    <a:pt x="421386" y="1834229"/>
                    <a:pt x="447294" y="1808321"/>
                    <a:pt x="447294" y="1776603"/>
                  </a:cubicBezTo>
                  <a:lnTo>
                    <a:pt x="447294" y="1765745"/>
                  </a:lnTo>
                  <a:cubicBezTo>
                    <a:pt x="447294" y="1721168"/>
                    <a:pt x="483680" y="1684782"/>
                    <a:pt x="528257" y="1684782"/>
                  </a:cubicBezTo>
                  <a:lnTo>
                    <a:pt x="681323" y="1684782"/>
                  </a:lnTo>
                  <a:cubicBezTo>
                    <a:pt x="727234" y="1684782"/>
                    <a:pt x="764762" y="1647254"/>
                    <a:pt x="764762" y="1601343"/>
                  </a:cubicBezTo>
                  <a:lnTo>
                    <a:pt x="764762" y="1348835"/>
                  </a:lnTo>
                  <a:cubicBezTo>
                    <a:pt x="764762" y="1302925"/>
                    <a:pt x="726662" y="1258253"/>
                    <a:pt x="681323" y="1265396"/>
                  </a:cubicBezTo>
                  <a:cubicBezTo>
                    <a:pt x="633508" y="1272921"/>
                    <a:pt x="601028" y="1256348"/>
                    <a:pt x="602171" y="1186910"/>
                  </a:cubicBezTo>
                  <a:cubicBezTo>
                    <a:pt x="602933" y="1142333"/>
                    <a:pt x="638556" y="1105948"/>
                    <a:pt x="683133" y="1105948"/>
                  </a:cubicBezTo>
                  <a:lnTo>
                    <a:pt x="860870" y="1105948"/>
                  </a:lnTo>
                  <a:cubicBezTo>
                    <a:pt x="892588" y="1105948"/>
                    <a:pt x="918496" y="1080040"/>
                    <a:pt x="918496" y="1048322"/>
                  </a:cubicBezTo>
                  <a:lnTo>
                    <a:pt x="918496" y="1028319"/>
                  </a:lnTo>
                  <a:cubicBezTo>
                    <a:pt x="918496" y="996601"/>
                    <a:pt x="892588" y="970693"/>
                    <a:pt x="860870" y="970693"/>
                  </a:cubicBezTo>
                  <a:lnTo>
                    <a:pt x="845725" y="970693"/>
                  </a:lnTo>
                  <a:cubicBezTo>
                    <a:pt x="801148" y="970693"/>
                    <a:pt x="764762" y="934307"/>
                    <a:pt x="764762" y="889730"/>
                  </a:cubicBezTo>
                  <a:lnTo>
                    <a:pt x="764762" y="759047"/>
                  </a:lnTo>
                  <a:cubicBezTo>
                    <a:pt x="764762" y="748951"/>
                    <a:pt x="764381" y="740950"/>
                    <a:pt x="763905" y="730282"/>
                  </a:cubicBezTo>
                  <a:lnTo>
                    <a:pt x="798862" y="730282"/>
                  </a:lnTo>
                  <a:cubicBezTo>
                    <a:pt x="874300" y="730282"/>
                    <a:pt x="935355" y="716375"/>
                    <a:pt x="935355" y="640937"/>
                  </a:cubicBezTo>
                  <a:lnTo>
                    <a:pt x="935355" y="636556"/>
                  </a:lnTo>
                  <a:lnTo>
                    <a:pt x="935355" y="626555"/>
                  </a:lnTo>
                  <a:lnTo>
                    <a:pt x="1006221" y="626555"/>
                  </a:lnTo>
                  <a:cubicBezTo>
                    <a:pt x="1081659" y="626555"/>
                    <a:pt x="1149858" y="565404"/>
                    <a:pt x="1149858" y="490061"/>
                  </a:cubicBezTo>
                  <a:lnTo>
                    <a:pt x="1149858" y="0"/>
                  </a:lnTo>
                  <a:lnTo>
                    <a:pt x="935450"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04" name="Freeform: Shape 203">
              <a:extLst>
                <a:ext uri="{FF2B5EF4-FFF2-40B4-BE49-F238E27FC236}">
                  <a16:creationId xmlns:a16="http://schemas.microsoft.com/office/drawing/2014/main" id="{7650D9E6-1C8E-4631-96B8-25B14CA16043}"/>
                </a:ext>
              </a:extLst>
            </p:cNvPr>
            <p:cNvSpPr/>
            <p:nvPr/>
          </p:nvSpPr>
          <p:spPr>
            <a:xfrm>
              <a:off x="4395518" y="260683"/>
              <a:ext cx="1290351" cy="1074229"/>
            </a:xfrm>
            <a:custGeom>
              <a:avLst/>
              <a:gdLst>
                <a:gd name="connsiteX0" fmla="*/ 1290352 w 1290351"/>
                <a:gd name="connsiteY0" fmla="*/ 314516 h 1074229"/>
                <a:gd name="connsiteX1" fmla="*/ 626555 w 1290351"/>
                <a:gd name="connsiteY1" fmla="*/ 314516 h 1074229"/>
                <a:gd name="connsiteX2" fmla="*/ 626555 w 1290351"/>
                <a:gd name="connsiteY2" fmla="*/ 136493 h 1074229"/>
                <a:gd name="connsiteX3" fmla="*/ 490061 w 1290351"/>
                <a:gd name="connsiteY3" fmla="*/ 0 h 1074229"/>
                <a:gd name="connsiteX4" fmla="*/ 407765 w 1290351"/>
                <a:gd name="connsiteY4" fmla="*/ 0 h 1074229"/>
                <a:gd name="connsiteX5" fmla="*/ 407765 w 1290351"/>
                <a:gd name="connsiteY5" fmla="*/ 286 h 1074229"/>
                <a:gd name="connsiteX6" fmla="*/ 248983 w 1290351"/>
                <a:gd name="connsiteY6" fmla="*/ 286 h 1074229"/>
                <a:gd name="connsiteX7" fmla="*/ 248983 w 1290351"/>
                <a:gd name="connsiteY7" fmla="*/ 28861 h 1074229"/>
                <a:gd name="connsiteX8" fmla="*/ 156877 w 1290351"/>
                <a:gd name="connsiteY8" fmla="*/ 120967 h 1074229"/>
                <a:gd name="connsiteX9" fmla="*/ 0 w 1290351"/>
                <a:gd name="connsiteY9" fmla="*/ 120967 h 1074229"/>
                <a:gd name="connsiteX10" fmla="*/ 0 w 1290351"/>
                <a:gd name="connsiteY10" fmla="*/ 595408 h 1074229"/>
                <a:gd name="connsiteX11" fmla="*/ 270986 w 1290351"/>
                <a:gd name="connsiteY11" fmla="*/ 595408 h 1074229"/>
                <a:gd name="connsiteX12" fmla="*/ 270986 w 1290351"/>
                <a:gd name="connsiteY12" fmla="*/ 990791 h 1074229"/>
                <a:gd name="connsiteX13" fmla="*/ 354425 w 1290351"/>
                <a:gd name="connsiteY13" fmla="*/ 1074230 h 1074229"/>
                <a:gd name="connsiteX14" fmla="*/ 954500 w 1290351"/>
                <a:gd name="connsiteY14" fmla="*/ 1074230 h 1074229"/>
                <a:gd name="connsiteX15" fmla="*/ 1034415 w 1290351"/>
                <a:gd name="connsiteY15" fmla="*/ 1074230 h 1074229"/>
                <a:gd name="connsiteX16" fmla="*/ 1034701 w 1290351"/>
                <a:gd name="connsiteY16" fmla="*/ 1004602 h 1074229"/>
                <a:gd name="connsiteX17" fmla="*/ 1113186 w 1290351"/>
                <a:gd name="connsiteY17" fmla="*/ 932974 h 1074229"/>
                <a:gd name="connsiteX18" fmla="*/ 1189386 w 1290351"/>
                <a:gd name="connsiteY18" fmla="*/ 863251 h 1074229"/>
                <a:gd name="connsiteX19" fmla="*/ 1272064 w 1290351"/>
                <a:gd name="connsiteY19" fmla="*/ 791337 h 1074229"/>
                <a:gd name="connsiteX20" fmla="*/ 1287780 w 1290351"/>
                <a:gd name="connsiteY20" fmla="*/ 791337 h 1074229"/>
                <a:gd name="connsiteX21" fmla="*/ 1290352 w 1290351"/>
                <a:gd name="connsiteY21" fmla="*/ 314516 h 107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90351" h="1074229">
                  <a:moveTo>
                    <a:pt x="1290352" y="314516"/>
                  </a:moveTo>
                  <a:lnTo>
                    <a:pt x="626555" y="314516"/>
                  </a:lnTo>
                  <a:lnTo>
                    <a:pt x="626555" y="136493"/>
                  </a:lnTo>
                  <a:cubicBezTo>
                    <a:pt x="626555" y="61055"/>
                    <a:pt x="565404" y="0"/>
                    <a:pt x="490061" y="0"/>
                  </a:cubicBezTo>
                  <a:lnTo>
                    <a:pt x="407765" y="0"/>
                  </a:lnTo>
                  <a:lnTo>
                    <a:pt x="407765" y="286"/>
                  </a:lnTo>
                  <a:lnTo>
                    <a:pt x="248983" y="286"/>
                  </a:lnTo>
                  <a:lnTo>
                    <a:pt x="248983" y="28861"/>
                  </a:lnTo>
                  <a:cubicBezTo>
                    <a:pt x="248983" y="79724"/>
                    <a:pt x="207740" y="120967"/>
                    <a:pt x="156877" y="120967"/>
                  </a:cubicBezTo>
                  <a:lnTo>
                    <a:pt x="0" y="120967"/>
                  </a:lnTo>
                  <a:lnTo>
                    <a:pt x="0" y="595408"/>
                  </a:lnTo>
                  <a:lnTo>
                    <a:pt x="270986" y="595408"/>
                  </a:lnTo>
                  <a:lnTo>
                    <a:pt x="270986" y="990791"/>
                  </a:lnTo>
                  <a:cubicBezTo>
                    <a:pt x="270986" y="1036701"/>
                    <a:pt x="308515" y="1074230"/>
                    <a:pt x="354425" y="1074230"/>
                  </a:cubicBezTo>
                  <a:lnTo>
                    <a:pt x="954500" y="1074230"/>
                  </a:lnTo>
                  <a:lnTo>
                    <a:pt x="1034415" y="1074230"/>
                  </a:lnTo>
                  <a:lnTo>
                    <a:pt x="1034701" y="1004602"/>
                  </a:lnTo>
                  <a:cubicBezTo>
                    <a:pt x="1034891" y="965168"/>
                    <a:pt x="1073087" y="934879"/>
                    <a:pt x="1113186" y="932974"/>
                  </a:cubicBezTo>
                  <a:cubicBezTo>
                    <a:pt x="1152430" y="931069"/>
                    <a:pt x="1183958" y="902113"/>
                    <a:pt x="1189386" y="863251"/>
                  </a:cubicBezTo>
                  <a:cubicBezTo>
                    <a:pt x="1195006" y="822770"/>
                    <a:pt x="1230058" y="791337"/>
                    <a:pt x="1272064" y="791337"/>
                  </a:cubicBezTo>
                  <a:lnTo>
                    <a:pt x="1287780" y="791337"/>
                  </a:lnTo>
                  <a:cubicBezTo>
                    <a:pt x="1287208" y="673227"/>
                    <a:pt x="1290352" y="511397"/>
                    <a:pt x="1290352" y="314516"/>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05" name="Freeform: Shape 204">
              <a:extLst>
                <a:ext uri="{FF2B5EF4-FFF2-40B4-BE49-F238E27FC236}">
                  <a16:creationId xmlns:a16="http://schemas.microsoft.com/office/drawing/2014/main" id="{FBF9121E-EF86-4F7A-9BCB-15FCED4340BD}"/>
                </a:ext>
              </a:extLst>
            </p:cNvPr>
            <p:cNvSpPr/>
            <p:nvPr/>
          </p:nvSpPr>
          <p:spPr>
            <a:xfrm>
              <a:off x="2456609" y="-24876"/>
              <a:ext cx="2346960" cy="1813083"/>
            </a:xfrm>
            <a:custGeom>
              <a:avLst/>
              <a:gdLst>
                <a:gd name="connsiteX0" fmla="*/ 862298 w 2346960"/>
                <a:gd name="connsiteY0" fmla="*/ 0 h 1813083"/>
                <a:gd name="connsiteX1" fmla="*/ 654368 w 2346960"/>
                <a:gd name="connsiteY1" fmla="*/ 207931 h 1813083"/>
                <a:gd name="connsiteX2" fmla="*/ 654368 w 2346960"/>
                <a:gd name="connsiteY2" fmla="*/ 444437 h 1813083"/>
                <a:gd name="connsiteX3" fmla="*/ 513112 w 2346960"/>
                <a:gd name="connsiteY3" fmla="*/ 444437 h 1813083"/>
                <a:gd name="connsiteX4" fmla="*/ 305181 w 2346960"/>
                <a:gd name="connsiteY4" fmla="*/ 652367 h 1813083"/>
                <a:gd name="connsiteX5" fmla="*/ 305181 w 2346960"/>
                <a:gd name="connsiteY5" fmla="*/ 1066514 h 1813083"/>
                <a:gd name="connsiteX6" fmla="*/ 268319 w 2346960"/>
                <a:gd name="connsiteY6" fmla="*/ 1078135 h 1813083"/>
                <a:gd name="connsiteX7" fmla="*/ 235458 w 2346960"/>
                <a:gd name="connsiteY7" fmla="*/ 1090327 h 1813083"/>
                <a:gd name="connsiteX8" fmla="*/ 162497 w 2346960"/>
                <a:gd name="connsiteY8" fmla="*/ 1173099 h 1813083"/>
                <a:gd name="connsiteX9" fmla="*/ 162497 w 2346960"/>
                <a:gd name="connsiteY9" fmla="*/ 1441228 h 1813083"/>
                <a:gd name="connsiteX10" fmla="*/ 81915 w 2346960"/>
                <a:gd name="connsiteY10" fmla="*/ 1522190 h 1813083"/>
                <a:gd name="connsiteX11" fmla="*/ 0 w 2346960"/>
                <a:gd name="connsiteY11" fmla="*/ 1605629 h 1813083"/>
                <a:gd name="connsiteX12" fmla="*/ 0 w 2346960"/>
                <a:gd name="connsiteY12" fmla="*/ 1729645 h 1813083"/>
                <a:gd name="connsiteX13" fmla="*/ 83439 w 2346960"/>
                <a:gd name="connsiteY13" fmla="*/ 1813084 h 1813083"/>
                <a:gd name="connsiteX14" fmla="*/ 364141 w 2346960"/>
                <a:gd name="connsiteY14" fmla="*/ 1813084 h 1813083"/>
                <a:gd name="connsiteX15" fmla="*/ 447484 w 2346960"/>
                <a:gd name="connsiteY15" fmla="*/ 1733264 h 1813083"/>
                <a:gd name="connsiteX16" fmla="*/ 527590 w 2346960"/>
                <a:gd name="connsiteY16" fmla="*/ 1655731 h 1813083"/>
                <a:gd name="connsiteX17" fmla="*/ 609600 w 2346960"/>
                <a:gd name="connsiteY17" fmla="*/ 1581817 h 1813083"/>
                <a:gd name="connsiteX18" fmla="*/ 687896 w 2346960"/>
                <a:gd name="connsiteY18" fmla="*/ 1508951 h 1813083"/>
                <a:gd name="connsiteX19" fmla="*/ 708184 w 2346960"/>
                <a:gd name="connsiteY19" fmla="*/ 1508951 h 1813083"/>
                <a:gd name="connsiteX20" fmla="*/ 789146 w 2346960"/>
                <a:gd name="connsiteY20" fmla="*/ 1589913 h 1813083"/>
                <a:gd name="connsiteX21" fmla="*/ 789146 w 2346960"/>
                <a:gd name="connsiteY21" fmla="*/ 1404557 h 1813083"/>
                <a:gd name="connsiteX22" fmla="*/ 789146 w 2346960"/>
                <a:gd name="connsiteY22" fmla="*/ 1322451 h 1813083"/>
                <a:gd name="connsiteX23" fmla="*/ 789146 w 2346960"/>
                <a:gd name="connsiteY23" fmla="*/ 1066038 h 1813083"/>
                <a:gd name="connsiteX24" fmla="*/ 787908 w 2346960"/>
                <a:gd name="connsiteY24" fmla="*/ 1066038 h 1813083"/>
                <a:gd name="connsiteX25" fmla="*/ 787908 w 2346960"/>
                <a:gd name="connsiteY25" fmla="*/ 876300 h 1813083"/>
                <a:gd name="connsiteX26" fmla="*/ 793337 w 2346960"/>
                <a:gd name="connsiteY26" fmla="*/ 876300 h 1813083"/>
                <a:gd name="connsiteX27" fmla="*/ 887921 w 2346960"/>
                <a:gd name="connsiteY27" fmla="*/ 800100 h 1813083"/>
                <a:gd name="connsiteX28" fmla="*/ 1129189 w 2346960"/>
                <a:gd name="connsiteY28" fmla="*/ 800100 h 1813083"/>
                <a:gd name="connsiteX29" fmla="*/ 1129189 w 2346960"/>
                <a:gd name="connsiteY29" fmla="*/ 503301 h 1813083"/>
                <a:gd name="connsiteX30" fmla="*/ 1226058 w 2346960"/>
                <a:gd name="connsiteY30" fmla="*/ 406432 h 1813083"/>
                <a:gd name="connsiteX31" fmla="*/ 1433513 w 2346960"/>
                <a:gd name="connsiteY31" fmla="*/ 406432 h 1813083"/>
                <a:gd name="connsiteX32" fmla="*/ 1724597 w 2346960"/>
                <a:gd name="connsiteY32" fmla="*/ 406432 h 1813083"/>
                <a:gd name="connsiteX33" fmla="*/ 2096072 w 2346960"/>
                <a:gd name="connsiteY33" fmla="*/ 406432 h 1813083"/>
                <a:gd name="connsiteX34" fmla="*/ 2188178 w 2346960"/>
                <a:gd name="connsiteY34" fmla="*/ 314325 h 1813083"/>
                <a:gd name="connsiteX35" fmla="*/ 2188178 w 2346960"/>
                <a:gd name="connsiteY35" fmla="*/ 285750 h 1813083"/>
                <a:gd name="connsiteX36" fmla="*/ 2346960 w 2346960"/>
                <a:gd name="connsiteY36" fmla="*/ 285750 h 1813083"/>
                <a:gd name="connsiteX37" fmla="*/ 2346960 w 2346960"/>
                <a:gd name="connsiteY37" fmla="*/ 0 h 1813083"/>
                <a:gd name="connsiteX38" fmla="*/ 862298 w 2346960"/>
                <a:gd name="connsiteY38" fmla="*/ 0 h 181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46960" h="1813083">
                  <a:moveTo>
                    <a:pt x="862298" y="0"/>
                  </a:moveTo>
                  <a:cubicBezTo>
                    <a:pt x="747427" y="0"/>
                    <a:pt x="654368" y="93155"/>
                    <a:pt x="654368" y="207931"/>
                  </a:cubicBezTo>
                  <a:lnTo>
                    <a:pt x="654368" y="444437"/>
                  </a:lnTo>
                  <a:lnTo>
                    <a:pt x="513112" y="444437"/>
                  </a:lnTo>
                  <a:cubicBezTo>
                    <a:pt x="398240" y="444437"/>
                    <a:pt x="305181" y="537591"/>
                    <a:pt x="305181" y="652367"/>
                  </a:cubicBezTo>
                  <a:lnTo>
                    <a:pt x="305181" y="1066514"/>
                  </a:lnTo>
                  <a:cubicBezTo>
                    <a:pt x="291846" y="1067562"/>
                    <a:pt x="279273" y="1071563"/>
                    <a:pt x="268319" y="1078135"/>
                  </a:cubicBezTo>
                  <a:cubicBezTo>
                    <a:pt x="258223" y="1084231"/>
                    <a:pt x="247174" y="1088803"/>
                    <a:pt x="235458" y="1090327"/>
                  </a:cubicBezTo>
                  <a:cubicBezTo>
                    <a:pt x="194405" y="1095470"/>
                    <a:pt x="162497" y="1130713"/>
                    <a:pt x="162497" y="1173099"/>
                  </a:cubicBezTo>
                  <a:lnTo>
                    <a:pt x="162497" y="1441228"/>
                  </a:lnTo>
                  <a:cubicBezTo>
                    <a:pt x="162497" y="1485519"/>
                    <a:pt x="126206" y="1521428"/>
                    <a:pt x="81915" y="1522190"/>
                  </a:cubicBezTo>
                  <a:cubicBezTo>
                    <a:pt x="36671" y="1522952"/>
                    <a:pt x="0" y="1560195"/>
                    <a:pt x="0" y="1605629"/>
                  </a:cubicBezTo>
                  <a:lnTo>
                    <a:pt x="0" y="1729645"/>
                  </a:lnTo>
                  <a:cubicBezTo>
                    <a:pt x="0" y="1775555"/>
                    <a:pt x="37529" y="1813084"/>
                    <a:pt x="83439" y="1813084"/>
                  </a:cubicBezTo>
                  <a:lnTo>
                    <a:pt x="364141" y="1813084"/>
                  </a:lnTo>
                  <a:cubicBezTo>
                    <a:pt x="408813" y="1813084"/>
                    <a:pt x="445580" y="1777460"/>
                    <a:pt x="447484" y="1733264"/>
                  </a:cubicBezTo>
                  <a:cubicBezTo>
                    <a:pt x="449390" y="1690211"/>
                    <a:pt x="484442" y="1656207"/>
                    <a:pt x="527590" y="1655731"/>
                  </a:cubicBezTo>
                  <a:cubicBezTo>
                    <a:pt x="569881" y="1655255"/>
                    <a:pt x="604838" y="1622965"/>
                    <a:pt x="609600" y="1581817"/>
                  </a:cubicBezTo>
                  <a:cubicBezTo>
                    <a:pt x="614267" y="1540859"/>
                    <a:pt x="646748" y="1508951"/>
                    <a:pt x="687896" y="1508951"/>
                  </a:cubicBezTo>
                  <a:lnTo>
                    <a:pt x="708184" y="1508951"/>
                  </a:lnTo>
                  <a:cubicBezTo>
                    <a:pt x="752761" y="1508951"/>
                    <a:pt x="789146" y="1545336"/>
                    <a:pt x="789146" y="1589913"/>
                  </a:cubicBezTo>
                  <a:lnTo>
                    <a:pt x="789146" y="1404557"/>
                  </a:lnTo>
                  <a:lnTo>
                    <a:pt x="789146" y="1322451"/>
                  </a:lnTo>
                  <a:lnTo>
                    <a:pt x="789146" y="1066038"/>
                  </a:lnTo>
                  <a:lnTo>
                    <a:pt x="787908" y="1066038"/>
                  </a:lnTo>
                  <a:lnTo>
                    <a:pt x="787908" y="876300"/>
                  </a:lnTo>
                  <a:lnTo>
                    <a:pt x="793337" y="876300"/>
                  </a:lnTo>
                  <a:cubicBezTo>
                    <a:pt x="802767" y="832771"/>
                    <a:pt x="841534" y="800100"/>
                    <a:pt x="887921" y="800100"/>
                  </a:cubicBezTo>
                  <a:lnTo>
                    <a:pt x="1129189" y="800100"/>
                  </a:lnTo>
                  <a:lnTo>
                    <a:pt x="1129189" y="503301"/>
                  </a:lnTo>
                  <a:cubicBezTo>
                    <a:pt x="1129189" y="449866"/>
                    <a:pt x="1172527" y="406432"/>
                    <a:pt x="1226058" y="406432"/>
                  </a:cubicBezTo>
                  <a:lnTo>
                    <a:pt x="1433513" y="406432"/>
                  </a:lnTo>
                  <a:lnTo>
                    <a:pt x="1724597" y="406432"/>
                  </a:lnTo>
                  <a:lnTo>
                    <a:pt x="2096072" y="406432"/>
                  </a:lnTo>
                  <a:cubicBezTo>
                    <a:pt x="2146935" y="406432"/>
                    <a:pt x="2188178" y="365189"/>
                    <a:pt x="2188178" y="314325"/>
                  </a:cubicBezTo>
                  <a:lnTo>
                    <a:pt x="2188178" y="285750"/>
                  </a:lnTo>
                  <a:lnTo>
                    <a:pt x="2346960" y="285750"/>
                  </a:lnTo>
                  <a:lnTo>
                    <a:pt x="2346960" y="0"/>
                  </a:lnTo>
                  <a:lnTo>
                    <a:pt x="862298"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06" name="Freeform: Shape 205">
              <a:extLst>
                <a:ext uri="{FF2B5EF4-FFF2-40B4-BE49-F238E27FC236}">
                  <a16:creationId xmlns:a16="http://schemas.microsoft.com/office/drawing/2014/main" id="{7997A310-2F48-4B8C-BA5A-FDFE924A1D01}"/>
                </a:ext>
              </a:extLst>
            </p:cNvPr>
            <p:cNvSpPr/>
            <p:nvPr/>
          </p:nvSpPr>
          <p:spPr>
            <a:xfrm>
              <a:off x="4963684" y="2644504"/>
              <a:ext cx="1471421" cy="875728"/>
            </a:xfrm>
            <a:custGeom>
              <a:avLst/>
              <a:gdLst>
                <a:gd name="connsiteX0" fmla="*/ 157829 w 1471421"/>
                <a:gd name="connsiteY0" fmla="*/ 0 h 875728"/>
                <a:gd name="connsiteX1" fmla="*/ 157829 w 1471421"/>
                <a:gd name="connsiteY1" fmla="*/ 53245 h 875728"/>
                <a:gd name="connsiteX2" fmla="*/ 157829 w 1471421"/>
                <a:gd name="connsiteY2" fmla="*/ 105632 h 875728"/>
                <a:gd name="connsiteX3" fmla="*/ 200406 w 1471421"/>
                <a:gd name="connsiteY3" fmla="*/ 163354 h 875728"/>
                <a:gd name="connsiteX4" fmla="*/ 218313 w 1471421"/>
                <a:gd name="connsiteY4" fmla="*/ 166116 h 875728"/>
                <a:gd name="connsiteX5" fmla="*/ 312515 w 1471421"/>
                <a:gd name="connsiteY5" fmla="*/ 166116 h 875728"/>
                <a:gd name="connsiteX6" fmla="*/ 314134 w 1471421"/>
                <a:gd name="connsiteY6" fmla="*/ 166116 h 875728"/>
                <a:gd name="connsiteX7" fmla="*/ 314801 w 1471421"/>
                <a:gd name="connsiteY7" fmla="*/ 442722 h 875728"/>
                <a:gd name="connsiteX8" fmla="*/ 314801 w 1471421"/>
                <a:gd name="connsiteY8" fmla="*/ 444913 h 875728"/>
                <a:gd name="connsiteX9" fmla="*/ 314801 w 1471421"/>
                <a:gd name="connsiteY9" fmla="*/ 444913 h 875728"/>
                <a:gd name="connsiteX10" fmla="*/ 232982 w 1471421"/>
                <a:gd name="connsiteY10" fmla="*/ 444913 h 875728"/>
                <a:gd name="connsiteX11" fmla="*/ 162020 w 1471421"/>
                <a:gd name="connsiteY11" fmla="*/ 498538 h 875728"/>
                <a:gd name="connsiteX12" fmla="*/ 160401 w 1471421"/>
                <a:gd name="connsiteY12" fmla="*/ 512540 h 875728"/>
                <a:gd name="connsiteX13" fmla="*/ 160211 w 1471421"/>
                <a:gd name="connsiteY13" fmla="*/ 543497 h 875728"/>
                <a:gd name="connsiteX14" fmla="*/ 99726 w 1471421"/>
                <a:gd name="connsiteY14" fmla="*/ 603980 h 875728"/>
                <a:gd name="connsiteX15" fmla="*/ 381 w 1471421"/>
                <a:gd name="connsiteY15" fmla="*/ 603980 h 875728"/>
                <a:gd name="connsiteX16" fmla="*/ 381 w 1471421"/>
                <a:gd name="connsiteY16" fmla="*/ 743712 h 875728"/>
                <a:gd name="connsiteX17" fmla="*/ 0 w 1471421"/>
                <a:gd name="connsiteY17" fmla="*/ 743712 h 875728"/>
                <a:gd name="connsiteX18" fmla="*/ 0 w 1471421"/>
                <a:gd name="connsiteY18" fmla="*/ 747141 h 875728"/>
                <a:gd name="connsiteX19" fmla="*/ 146114 w 1471421"/>
                <a:gd name="connsiteY19" fmla="*/ 747141 h 875728"/>
                <a:gd name="connsiteX20" fmla="*/ 203740 w 1471421"/>
                <a:gd name="connsiteY20" fmla="*/ 804767 h 875728"/>
                <a:gd name="connsiteX21" fmla="*/ 203740 w 1471421"/>
                <a:gd name="connsiteY21" fmla="*/ 824770 h 875728"/>
                <a:gd name="connsiteX22" fmla="*/ 172879 w 1471421"/>
                <a:gd name="connsiteY22" fmla="*/ 875729 h 875728"/>
                <a:gd name="connsiteX23" fmla="*/ 232600 w 1471421"/>
                <a:gd name="connsiteY23" fmla="*/ 875729 h 875728"/>
                <a:gd name="connsiteX24" fmla="*/ 313373 w 1471421"/>
                <a:gd name="connsiteY24" fmla="*/ 801243 h 875728"/>
                <a:gd name="connsiteX25" fmla="*/ 383191 w 1471421"/>
                <a:gd name="connsiteY25" fmla="*/ 736854 h 875728"/>
                <a:gd name="connsiteX26" fmla="*/ 498539 w 1471421"/>
                <a:gd name="connsiteY26" fmla="*/ 736854 h 875728"/>
                <a:gd name="connsiteX27" fmla="*/ 548068 w 1471421"/>
                <a:gd name="connsiteY27" fmla="*/ 736854 h 875728"/>
                <a:gd name="connsiteX28" fmla="*/ 1256157 w 1471421"/>
                <a:gd name="connsiteY28" fmla="*/ 736854 h 875728"/>
                <a:gd name="connsiteX29" fmla="*/ 1256157 w 1471421"/>
                <a:gd name="connsiteY29" fmla="*/ 745427 h 875728"/>
                <a:gd name="connsiteX30" fmla="*/ 1370457 w 1471421"/>
                <a:gd name="connsiteY30" fmla="*/ 859727 h 875728"/>
                <a:gd name="connsiteX31" fmla="*/ 1471422 w 1471421"/>
                <a:gd name="connsiteY31" fmla="*/ 859727 h 875728"/>
                <a:gd name="connsiteX32" fmla="*/ 1471422 w 1471421"/>
                <a:gd name="connsiteY32" fmla="*/ 843439 h 875728"/>
                <a:gd name="connsiteX33" fmla="*/ 1471422 w 1471421"/>
                <a:gd name="connsiteY33" fmla="*/ 390620 h 875728"/>
                <a:gd name="connsiteX34" fmla="*/ 1471422 w 1471421"/>
                <a:gd name="connsiteY34" fmla="*/ 191 h 875728"/>
                <a:gd name="connsiteX35" fmla="*/ 157829 w 1471421"/>
                <a:gd name="connsiteY35" fmla="*/ 191 h 875728"/>
                <a:gd name="connsiteX36" fmla="*/ 1255395 w 1471421"/>
                <a:gd name="connsiteY36" fmla="*/ 736663 h 875728"/>
                <a:gd name="connsiteX37" fmla="*/ 947452 w 1471421"/>
                <a:gd name="connsiteY37" fmla="*/ 736663 h 875728"/>
                <a:gd name="connsiteX38" fmla="*/ 947452 w 1471421"/>
                <a:gd name="connsiteY38" fmla="*/ 496157 h 875728"/>
                <a:gd name="connsiteX39" fmla="*/ 1062609 w 1471421"/>
                <a:gd name="connsiteY39" fmla="*/ 381857 h 875728"/>
                <a:gd name="connsiteX40" fmla="*/ 1255395 w 1471421"/>
                <a:gd name="connsiteY40" fmla="*/ 381857 h 875728"/>
                <a:gd name="connsiteX41" fmla="*/ 1255395 w 1471421"/>
                <a:gd name="connsiteY41" fmla="*/ 736663 h 87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71421" h="875728">
                  <a:moveTo>
                    <a:pt x="157829" y="0"/>
                  </a:moveTo>
                  <a:lnTo>
                    <a:pt x="157829" y="53245"/>
                  </a:lnTo>
                  <a:lnTo>
                    <a:pt x="157829" y="105632"/>
                  </a:lnTo>
                  <a:cubicBezTo>
                    <a:pt x="157829" y="132683"/>
                    <a:pt x="175832" y="155638"/>
                    <a:pt x="200406" y="163354"/>
                  </a:cubicBezTo>
                  <a:cubicBezTo>
                    <a:pt x="206121" y="165163"/>
                    <a:pt x="212122" y="166116"/>
                    <a:pt x="218313" y="166116"/>
                  </a:cubicBezTo>
                  <a:lnTo>
                    <a:pt x="312515" y="166116"/>
                  </a:lnTo>
                  <a:lnTo>
                    <a:pt x="314134" y="166116"/>
                  </a:lnTo>
                  <a:lnTo>
                    <a:pt x="314801" y="442722"/>
                  </a:lnTo>
                  <a:lnTo>
                    <a:pt x="314801" y="444913"/>
                  </a:lnTo>
                  <a:lnTo>
                    <a:pt x="314801" y="444913"/>
                  </a:lnTo>
                  <a:lnTo>
                    <a:pt x="232982" y="444913"/>
                  </a:lnTo>
                  <a:cubicBezTo>
                    <a:pt x="199263" y="444913"/>
                    <a:pt x="169164" y="467201"/>
                    <a:pt x="162020" y="498538"/>
                  </a:cubicBezTo>
                  <a:cubicBezTo>
                    <a:pt x="160973" y="503015"/>
                    <a:pt x="160496" y="507683"/>
                    <a:pt x="160401" y="512540"/>
                  </a:cubicBezTo>
                  <a:lnTo>
                    <a:pt x="160211" y="543497"/>
                  </a:lnTo>
                  <a:cubicBezTo>
                    <a:pt x="160020" y="576739"/>
                    <a:pt x="132969" y="603980"/>
                    <a:pt x="99726" y="603980"/>
                  </a:cubicBezTo>
                  <a:lnTo>
                    <a:pt x="381" y="603980"/>
                  </a:lnTo>
                  <a:lnTo>
                    <a:pt x="381" y="743712"/>
                  </a:lnTo>
                  <a:lnTo>
                    <a:pt x="0" y="743712"/>
                  </a:lnTo>
                  <a:lnTo>
                    <a:pt x="0" y="747141"/>
                  </a:lnTo>
                  <a:lnTo>
                    <a:pt x="146114" y="747141"/>
                  </a:lnTo>
                  <a:cubicBezTo>
                    <a:pt x="177832" y="747141"/>
                    <a:pt x="203740" y="773049"/>
                    <a:pt x="203740" y="804767"/>
                  </a:cubicBezTo>
                  <a:lnTo>
                    <a:pt x="203740" y="824770"/>
                  </a:lnTo>
                  <a:cubicBezTo>
                    <a:pt x="203740" y="846773"/>
                    <a:pt x="191167" y="866013"/>
                    <a:pt x="172879" y="875729"/>
                  </a:cubicBezTo>
                  <a:lnTo>
                    <a:pt x="232600" y="875729"/>
                  </a:lnTo>
                  <a:cubicBezTo>
                    <a:pt x="274891" y="875729"/>
                    <a:pt x="309943" y="843439"/>
                    <a:pt x="313373" y="801243"/>
                  </a:cubicBezTo>
                  <a:cubicBezTo>
                    <a:pt x="316230" y="765334"/>
                    <a:pt x="346615" y="736854"/>
                    <a:pt x="383191" y="736854"/>
                  </a:cubicBezTo>
                  <a:lnTo>
                    <a:pt x="498539" y="736854"/>
                  </a:lnTo>
                  <a:lnTo>
                    <a:pt x="548068" y="736854"/>
                  </a:lnTo>
                  <a:lnTo>
                    <a:pt x="1256157" y="736854"/>
                  </a:lnTo>
                  <a:lnTo>
                    <a:pt x="1256157" y="745427"/>
                  </a:lnTo>
                  <a:cubicBezTo>
                    <a:pt x="1256157" y="808292"/>
                    <a:pt x="1307592" y="859727"/>
                    <a:pt x="1370457" y="859727"/>
                  </a:cubicBezTo>
                  <a:lnTo>
                    <a:pt x="1471422" y="859727"/>
                  </a:lnTo>
                  <a:lnTo>
                    <a:pt x="1471422" y="843439"/>
                  </a:lnTo>
                  <a:lnTo>
                    <a:pt x="1471422" y="390620"/>
                  </a:lnTo>
                  <a:lnTo>
                    <a:pt x="1471422" y="191"/>
                  </a:lnTo>
                  <a:lnTo>
                    <a:pt x="157829" y="191"/>
                  </a:lnTo>
                  <a:close/>
                  <a:moveTo>
                    <a:pt x="1255395" y="736663"/>
                  </a:moveTo>
                  <a:lnTo>
                    <a:pt x="947452" y="736663"/>
                  </a:lnTo>
                  <a:lnTo>
                    <a:pt x="947452" y="496157"/>
                  </a:lnTo>
                  <a:cubicBezTo>
                    <a:pt x="947452" y="433292"/>
                    <a:pt x="999268" y="381857"/>
                    <a:pt x="1062609" y="381857"/>
                  </a:cubicBezTo>
                  <a:lnTo>
                    <a:pt x="1255395" y="381857"/>
                  </a:lnTo>
                  <a:lnTo>
                    <a:pt x="1255395" y="736663"/>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07" name="Freeform: Shape 206">
              <a:extLst>
                <a:ext uri="{FF2B5EF4-FFF2-40B4-BE49-F238E27FC236}">
                  <a16:creationId xmlns:a16="http://schemas.microsoft.com/office/drawing/2014/main" id="{9D6DE197-1962-4681-BB29-003127D8E663}"/>
                </a:ext>
              </a:extLst>
            </p:cNvPr>
            <p:cNvSpPr/>
            <p:nvPr/>
          </p:nvSpPr>
          <p:spPr>
            <a:xfrm>
              <a:off x="5911136" y="3026362"/>
              <a:ext cx="307943" cy="354806"/>
            </a:xfrm>
            <a:custGeom>
              <a:avLst/>
              <a:gdLst>
                <a:gd name="connsiteX0" fmla="*/ 115158 w 307943"/>
                <a:gd name="connsiteY0" fmla="*/ 0 h 354806"/>
                <a:gd name="connsiteX1" fmla="*/ 0 w 307943"/>
                <a:gd name="connsiteY1" fmla="*/ 114300 h 354806"/>
                <a:gd name="connsiteX2" fmla="*/ 0 w 307943"/>
                <a:gd name="connsiteY2" fmla="*/ 354806 h 354806"/>
                <a:gd name="connsiteX3" fmla="*/ 307943 w 307943"/>
                <a:gd name="connsiteY3" fmla="*/ 354806 h 354806"/>
                <a:gd name="connsiteX4" fmla="*/ 307943 w 307943"/>
                <a:gd name="connsiteY4" fmla="*/ 0 h 354806"/>
                <a:gd name="connsiteX5" fmla="*/ 115158 w 307943"/>
                <a:gd name="connsiteY5" fmla="*/ 0 h 35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943" h="354806">
                  <a:moveTo>
                    <a:pt x="115158" y="0"/>
                  </a:moveTo>
                  <a:cubicBezTo>
                    <a:pt x="51816" y="0"/>
                    <a:pt x="0" y="51435"/>
                    <a:pt x="0" y="114300"/>
                  </a:cubicBezTo>
                  <a:lnTo>
                    <a:pt x="0" y="354806"/>
                  </a:lnTo>
                  <a:lnTo>
                    <a:pt x="307943" y="354806"/>
                  </a:lnTo>
                  <a:lnTo>
                    <a:pt x="307943" y="0"/>
                  </a:lnTo>
                  <a:lnTo>
                    <a:pt x="115158"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08" name="Freeform: Shape 207">
              <a:extLst>
                <a:ext uri="{FF2B5EF4-FFF2-40B4-BE49-F238E27FC236}">
                  <a16:creationId xmlns:a16="http://schemas.microsoft.com/office/drawing/2014/main" id="{7FD5173B-D8BE-43D7-B44F-51ED959ED84A}"/>
                </a:ext>
              </a:extLst>
            </p:cNvPr>
            <p:cNvSpPr/>
            <p:nvPr/>
          </p:nvSpPr>
          <p:spPr>
            <a:xfrm>
              <a:off x="4803283" y="-24876"/>
              <a:ext cx="1632204" cy="2667095"/>
            </a:xfrm>
            <a:custGeom>
              <a:avLst/>
              <a:gdLst>
                <a:gd name="connsiteX0" fmla="*/ 1496949 w 1632204"/>
                <a:gd name="connsiteY0" fmla="*/ 1233678 h 2667095"/>
                <a:gd name="connsiteX1" fmla="*/ 1436942 w 1632204"/>
                <a:gd name="connsiteY1" fmla="*/ 1173671 h 2667095"/>
                <a:gd name="connsiteX2" fmla="*/ 1436942 w 1632204"/>
                <a:gd name="connsiteY2" fmla="*/ 1152811 h 2667095"/>
                <a:gd name="connsiteX3" fmla="*/ 1496949 w 1632204"/>
                <a:gd name="connsiteY3" fmla="*/ 1092803 h 2667095"/>
                <a:gd name="connsiteX4" fmla="*/ 1629346 w 1632204"/>
                <a:gd name="connsiteY4" fmla="*/ 1092803 h 2667095"/>
                <a:gd name="connsiteX5" fmla="*/ 1629823 w 1632204"/>
                <a:gd name="connsiteY5" fmla="*/ 596932 h 2667095"/>
                <a:gd name="connsiteX6" fmla="*/ 1264444 w 1632204"/>
                <a:gd name="connsiteY6" fmla="*/ 596932 h 2667095"/>
                <a:gd name="connsiteX7" fmla="*/ 1264444 w 1632204"/>
                <a:gd name="connsiteY7" fmla="*/ 96869 h 2667095"/>
                <a:gd name="connsiteX8" fmla="*/ 1167574 w 1632204"/>
                <a:gd name="connsiteY8" fmla="*/ 0 h 2667095"/>
                <a:gd name="connsiteX9" fmla="*/ 0 w 1632204"/>
                <a:gd name="connsiteY9" fmla="*/ 0 h 2667095"/>
                <a:gd name="connsiteX10" fmla="*/ 0 w 1632204"/>
                <a:gd name="connsiteY10" fmla="*/ 285464 h 2667095"/>
                <a:gd name="connsiteX11" fmla="*/ 82296 w 1632204"/>
                <a:gd name="connsiteY11" fmla="*/ 285464 h 2667095"/>
                <a:gd name="connsiteX12" fmla="*/ 218789 w 1632204"/>
                <a:gd name="connsiteY12" fmla="*/ 421958 h 2667095"/>
                <a:gd name="connsiteX13" fmla="*/ 218789 w 1632204"/>
                <a:gd name="connsiteY13" fmla="*/ 599980 h 2667095"/>
                <a:gd name="connsiteX14" fmla="*/ 882587 w 1632204"/>
                <a:gd name="connsiteY14" fmla="*/ 599980 h 2667095"/>
                <a:gd name="connsiteX15" fmla="*/ 879919 w 1632204"/>
                <a:gd name="connsiteY15" fmla="*/ 1064324 h 2667095"/>
                <a:gd name="connsiteX16" fmla="*/ 879919 w 1632204"/>
                <a:gd name="connsiteY16" fmla="*/ 1076516 h 2667095"/>
                <a:gd name="connsiteX17" fmla="*/ 872966 w 1632204"/>
                <a:gd name="connsiteY17" fmla="*/ 1076516 h 2667095"/>
                <a:gd name="connsiteX18" fmla="*/ 864203 w 1632204"/>
                <a:gd name="connsiteY18" fmla="*/ 1076516 h 2667095"/>
                <a:gd name="connsiteX19" fmla="*/ 856011 w 1632204"/>
                <a:gd name="connsiteY19" fmla="*/ 1076897 h 2667095"/>
                <a:gd name="connsiteX20" fmla="*/ 853440 w 1632204"/>
                <a:gd name="connsiteY20" fmla="*/ 1077278 h 2667095"/>
                <a:gd name="connsiteX21" fmla="*/ 848106 w 1632204"/>
                <a:gd name="connsiteY21" fmla="*/ 1078135 h 2667095"/>
                <a:gd name="connsiteX22" fmla="*/ 847439 w 1632204"/>
                <a:gd name="connsiteY22" fmla="*/ 1078325 h 2667095"/>
                <a:gd name="connsiteX23" fmla="*/ 845153 w 1632204"/>
                <a:gd name="connsiteY23" fmla="*/ 1078897 h 2667095"/>
                <a:gd name="connsiteX24" fmla="*/ 840486 w 1632204"/>
                <a:gd name="connsiteY24" fmla="*/ 1080135 h 2667095"/>
                <a:gd name="connsiteX25" fmla="*/ 837438 w 1632204"/>
                <a:gd name="connsiteY25" fmla="*/ 1081183 h 2667095"/>
                <a:gd name="connsiteX26" fmla="*/ 833056 w 1632204"/>
                <a:gd name="connsiteY26" fmla="*/ 1082802 h 2667095"/>
                <a:gd name="connsiteX27" fmla="*/ 830104 w 1632204"/>
                <a:gd name="connsiteY27" fmla="*/ 1084136 h 2667095"/>
                <a:gd name="connsiteX28" fmla="*/ 826008 w 1632204"/>
                <a:gd name="connsiteY28" fmla="*/ 1086136 h 2667095"/>
                <a:gd name="connsiteX29" fmla="*/ 824484 w 1632204"/>
                <a:gd name="connsiteY29" fmla="*/ 1086993 h 2667095"/>
                <a:gd name="connsiteX30" fmla="*/ 823055 w 1632204"/>
                <a:gd name="connsiteY30" fmla="*/ 1087755 h 2667095"/>
                <a:gd name="connsiteX31" fmla="*/ 819150 w 1632204"/>
                <a:gd name="connsiteY31" fmla="*/ 1090136 h 2667095"/>
                <a:gd name="connsiteX32" fmla="*/ 818674 w 1632204"/>
                <a:gd name="connsiteY32" fmla="*/ 1090422 h 2667095"/>
                <a:gd name="connsiteX33" fmla="*/ 816483 w 1632204"/>
                <a:gd name="connsiteY33" fmla="*/ 1091946 h 2667095"/>
                <a:gd name="connsiteX34" fmla="*/ 812768 w 1632204"/>
                <a:gd name="connsiteY34" fmla="*/ 1094708 h 2667095"/>
                <a:gd name="connsiteX35" fmla="*/ 810292 w 1632204"/>
                <a:gd name="connsiteY35" fmla="*/ 1096709 h 2667095"/>
                <a:gd name="connsiteX36" fmla="*/ 806767 w 1632204"/>
                <a:gd name="connsiteY36" fmla="*/ 1099852 h 2667095"/>
                <a:gd name="connsiteX37" fmla="*/ 804577 w 1632204"/>
                <a:gd name="connsiteY37" fmla="*/ 1101947 h 2667095"/>
                <a:gd name="connsiteX38" fmla="*/ 801148 w 1632204"/>
                <a:gd name="connsiteY38" fmla="*/ 1105662 h 2667095"/>
                <a:gd name="connsiteX39" fmla="*/ 799434 w 1632204"/>
                <a:gd name="connsiteY39" fmla="*/ 1107662 h 2667095"/>
                <a:gd name="connsiteX40" fmla="*/ 795909 w 1632204"/>
                <a:gd name="connsiteY40" fmla="*/ 1112330 h 2667095"/>
                <a:gd name="connsiteX41" fmla="*/ 795814 w 1632204"/>
                <a:gd name="connsiteY41" fmla="*/ 1112520 h 2667095"/>
                <a:gd name="connsiteX42" fmla="*/ 794861 w 1632204"/>
                <a:gd name="connsiteY42" fmla="*/ 1113854 h 2667095"/>
                <a:gd name="connsiteX43" fmla="*/ 790765 w 1632204"/>
                <a:gd name="connsiteY43" fmla="*/ 1120521 h 2667095"/>
                <a:gd name="connsiteX44" fmla="*/ 790480 w 1632204"/>
                <a:gd name="connsiteY44" fmla="*/ 1121093 h 2667095"/>
                <a:gd name="connsiteX45" fmla="*/ 787337 w 1632204"/>
                <a:gd name="connsiteY45" fmla="*/ 1127570 h 2667095"/>
                <a:gd name="connsiteX46" fmla="*/ 786479 w 1632204"/>
                <a:gd name="connsiteY46" fmla="*/ 1129951 h 2667095"/>
                <a:gd name="connsiteX47" fmla="*/ 784669 w 1632204"/>
                <a:gd name="connsiteY47" fmla="*/ 1134904 h 2667095"/>
                <a:gd name="connsiteX48" fmla="*/ 783908 w 1632204"/>
                <a:gd name="connsiteY48" fmla="*/ 1137666 h 2667095"/>
                <a:gd name="connsiteX49" fmla="*/ 783908 w 1632204"/>
                <a:gd name="connsiteY49" fmla="*/ 1137857 h 2667095"/>
                <a:gd name="connsiteX50" fmla="*/ 782669 w 1632204"/>
                <a:gd name="connsiteY50" fmla="*/ 1142524 h 2667095"/>
                <a:gd name="connsiteX51" fmla="*/ 782574 w 1632204"/>
                <a:gd name="connsiteY51" fmla="*/ 1143000 h 2667095"/>
                <a:gd name="connsiteX52" fmla="*/ 782098 w 1632204"/>
                <a:gd name="connsiteY52" fmla="*/ 1145762 h 2667095"/>
                <a:gd name="connsiteX53" fmla="*/ 780764 w 1632204"/>
                <a:gd name="connsiteY53" fmla="*/ 1160336 h 2667095"/>
                <a:gd name="connsiteX54" fmla="*/ 709517 w 1632204"/>
                <a:gd name="connsiteY54" fmla="*/ 1218438 h 2667095"/>
                <a:gd name="connsiteX55" fmla="*/ 702850 w 1632204"/>
                <a:gd name="connsiteY55" fmla="*/ 1218819 h 2667095"/>
                <a:gd name="connsiteX56" fmla="*/ 700754 w 1632204"/>
                <a:gd name="connsiteY56" fmla="*/ 1219010 h 2667095"/>
                <a:gd name="connsiteX57" fmla="*/ 699802 w 1632204"/>
                <a:gd name="connsiteY57" fmla="*/ 1219105 h 2667095"/>
                <a:gd name="connsiteX58" fmla="*/ 693801 w 1632204"/>
                <a:gd name="connsiteY58" fmla="*/ 1220057 h 2667095"/>
                <a:gd name="connsiteX59" fmla="*/ 692563 w 1632204"/>
                <a:gd name="connsiteY59" fmla="*/ 1220248 h 2667095"/>
                <a:gd name="connsiteX60" fmla="*/ 627031 w 1632204"/>
                <a:gd name="connsiteY60" fmla="*/ 1290923 h 2667095"/>
                <a:gd name="connsiteX61" fmla="*/ 626745 w 1632204"/>
                <a:gd name="connsiteY61" fmla="*/ 1359884 h 2667095"/>
                <a:gd name="connsiteX62" fmla="*/ 626174 w 1632204"/>
                <a:gd name="connsiteY62" fmla="*/ 1359884 h 2667095"/>
                <a:gd name="connsiteX63" fmla="*/ 626174 w 1632204"/>
                <a:gd name="connsiteY63" fmla="*/ 1359884 h 2667095"/>
                <a:gd name="connsiteX64" fmla="*/ 887349 w 1632204"/>
                <a:gd name="connsiteY64" fmla="*/ 1359884 h 2667095"/>
                <a:gd name="connsiteX65" fmla="*/ 957358 w 1632204"/>
                <a:gd name="connsiteY65" fmla="*/ 1429893 h 2667095"/>
                <a:gd name="connsiteX66" fmla="*/ 957358 w 1632204"/>
                <a:gd name="connsiteY66" fmla="*/ 1454277 h 2667095"/>
                <a:gd name="connsiteX67" fmla="*/ 887349 w 1632204"/>
                <a:gd name="connsiteY67" fmla="*/ 1524286 h 2667095"/>
                <a:gd name="connsiteX68" fmla="*/ 626174 w 1632204"/>
                <a:gd name="connsiteY68" fmla="*/ 1524286 h 2667095"/>
                <a:gd name="connsiteX69" fmla="*/ 626174 w 1632204"/>
                <a:gd name="connsiteY69" fmla="*/ 1814417 h 2667095"/>
                <a:gd name="connsiteX70" fmla="*/ 626174 w 1632204"/>
                <a:gd name="connsiteY70" fmla="*/ 1959959 h 2667095"/>
                <a:gd name="connsiteX71" fmla="*/ 1134046 w 1632204"/>
                <a:gd name="connsiteY71" fmla="*/ 1959959 h 2667095"/>
                <a:gd name="connsiteX72" fmla="*/ 1249204 w 1632204"/>
                <a:gd name="connsiteY72" fmla="*/ 2074259 h 2667095"/>
                <a:gd name="connsiteX73" fmla="*/ 1249204 w 1632204"/>
                <a:gd name="connsiteY73" fmla="*/ 2667095 h 2667095"/>
                <a:gd name="connsiteX74" fmla="*/ 1632204 w 1632204"/>
                <a:gd name="connsiteY74" fmla="*/ 2667095 h 2667095"/>
                <a:gd name="connsiteX75" fmla="*/ 1632204 w 1632204"/>
                <a:gd name="connsiteY75" fmla="*/ 1233678 h 2667095"/>
                <a:gd name="connsiteX76" fmla="*/ 1496949 w 1632204"/>
                <a:gd name="connsiteY76" fmla="*/ 1233678 h 2667095"/>
                <a:gd name="connsiteX77" fmla="*/ 1277398 w 1632204"/>
                <a:gd name="connsiteY77" fmla="*/ 1311974 h 2667095"/>
                <a:gd name="connsiteX78" fmla="*/ 1217390 w 1632204"/>
                <a:gd name="connsiteY78" fmla="*/ 1371981 h 2667095"/>
                <a:gd name="connsiteX79" fmla="*/ 1196530 w 1632204"/>
                <a:gd name="connsiteY79" fmla="*/ 1371981 h 2667095"/>
                <a:gd name="connsiteX80" fmla="*/ 1136523 w 1632204"/>
                <a:gd name="connsiteY80" fmla="*/ 1313117 h 2667095"/>
                <a:gd name="connsiteX81" fmla="*/ 1055560 w 1632204"/>
                <a:gd name="connsiteY81" fmla="*/ 1233583 h 2667095"/>
                <a:gd name="connsiteX82" fmla="*/ 1016222 w 1632204"/>
                <a:gd name="connsiteY82" fmla="*/ 1233583 h 2667095"/>
                <a:gd name="connsiteX83" fmla="*/ 956215 w 1632204"/>
                <a:gd name="connsiteY83" fmla="*/ 1173575 h 2667095"/>
                <a:gd name="connsiteX84" fmla="*/ 956215 w 1632204"/>
                <a:gd name="connsiteY84" fmla="*/ 1152716 h 2667095"/>
                <a:gd name="connsiteX85" fmla="*/ 1016222 w 1632204"/>
                <a:gd name="connsiteY85" fmla="*/ 1092708 h 2667095"/>
                <a:gd name="connsiteX86" fmla="*/ 1181005 w 1632204"/>
                <a:gd name="connsiteY86" fmla="*/ 1092708 h 2667095"/>
                <a:gd name="connsiteX87" fmla="*/ 1189959 w 1632204"/>
                <a:gd name="connsiteY87" fmla="*/ 1092232 h 2667095"/>
                <a:gd name="connsiteX88" fmla="*/ 1196530 w 1632204"/>
                <a:gd name="connsiteY88" fmla="*/ 1091851 h 2667095"/>
                <a:gd name="connsiteX89" fmla="*/ 1217390 w 1632204"/>
                <a:gd name="connsiteY89" fmla="*/ 1091851 h 2667095"/>
                <a:gd name="connsiteX90" fmla="*/ 1277398 w 1632204"/>
                <a:gd name="connsiteY90" fmla="*/ 1151858 h 2667095"/>
                <a:gd name="connsiteX91" fmla="*/ 1277398 w 1632204"/>
                <a:gd name="connsiteY91" fmla="*/ 1311974 h 266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632204" h="2667095">
                  <a:moveTo>
                    <a:pt x="1496949" y="1233678"/>
                  </a:moveTo>
                  <a:cubicBezTo>
                    <a:pt x="1463992" y="1233678"/>
                    <a:pt x="1436942" y="1206627"/>
                    <a:pt x="1436942" y="1173671"/>
                  </a:cubicBezTo>
                  <a:lnTo>
                    <a:pt x="1436942" y="1152811"/>
                  </a:lnTo>
                  <a:cubicBezTo>
                    <a:pt x="1436942" y="1119854"/>
                    <a:pt x="1463897" y="1092803"/>
                    <a:pt x="1496949" y="1092803"/>
                  </a:cubicBezTo>
                  <a:lnTo>
                    <a:pt x="1629346" y="1092803"/>
                  </a:lnTo>
                  <a:lnTo>
                    <a:pt x="1629823" y="596932"/>
                  </a:lnTo>
                  <a:lnTo>
                    <a:pt x="1264444" y="596932"/>
                  </a:lnTo>
                  <a:lnTo>
                    <a:pt x="1264444" y="96869"/>
                  </a:lnTo>
                  <a:cubicBezTo>
                    <a:pt x="1264444" y="43434"/>
                    <a:pt x="1221105" y="0"/>
                    <a:pt x="1167574" y="0"/>
                  </a:cubicBezTo>
                  <a:lnTo>
                    <a:pt x="0" y="0"/>
                  </a:lnTo>
                  <a:lnTo>
                    <a:pt x="0" y="285464"/>
                  </a:lnTo>
                  <a:lnTo>
                    <a:pt x="82296" y="285464"/>
                  </a:lnTo>
                  <a:cubicBezTo>
                    <a:pt x="157734" y="285464"/>
                    <a:pt x="218789" y="346615"/>
                    <a:pt x="218789" y="421958"/>
                  </a:cubicBezTo>
                  <a:lnTo>
                    <a:pt x="218789" y="599980"/>
                  </a:lnTo>
                  <a:lnTo>
                    <a:pt x="882587" y="599980"/>
                  </a:lnTo>
                  <a:cubicBezTo>
                    <a:pt x="882587" y="790861"/>
                    <a:pt x="879634" y="920306"/>
                    <a:pt x="879919" y="1064324"/>
                  </a:cubicBezTo>
                  <a:cubicBezTo>
                    <a:pt x="880967" y="1072229"/>
                    <a:pt x="881062" y="1076516"/>
                    <a:pt x="879919" y="1076516"/>
                  </a:cubicBezTo>
                  <a:lnTo>
                    <a:pt x="872966" y="1076516"/>
                  </a:lnTo>
                  <a:cubicBezTo>
                    <a:pt x="869537" y="1076611"/>
                    <a:pt x="866489" y="1076516"/>
                    <a:pt x="864203" y="1076516"/>
                  </a:cubicBezTo>
                  <a:cubicBezTo>
                    <a:pt x="861441" y="1076516"/>
                    <a:pt x="858679" y="1076706"/>
                    <a:pt x="856011" y="1076897"/>
                  </a:cubicBezTo>
                  <a:cubicBezTo>
                    <a:pt x="855155" y="1076992"/>
                    <a:pt x="854297" y="1077182"/>
                    <a:pt x="853440" y="1077278"/>
                  </a:cubicBezTo>
                  <a:cubicBezTo>
                    <a:pt x="851630" y="1077468"/>
                    <a:pt x="849821" y="1077754"/>
                    <a:pt x="848106" y="1078135"/>
                  </a:cubicBezTo>
                  <a:cubicBezTo>
                    <a:pt x="847915" y="1078135"/>
                    <a:pt x="847630" y="1078230"/>
                    <a:pt x="847439" y="1078325"/>
                  </a:cubicBezTo>
                  <a:cubicBezTo>
                    <a:pt x="846677" y="1078516"/>
                    <a:pt x="845915" y="1078706"/>
                    <a:pt x="845153" y="1078897"/>
                  </a:cubicBezTo>
                  <a:cubicBezTo>
                    <a:pt x="843534" y="1079278"/>
                    <a:pt x="842010" y="1079659"/>
                    <a:pt x="840486" y="1080135"/>
                  </a:cubicBezTo>
                  <a:cubicBezTo>
                    <a:pt x="839438" y="1080421"/>
                    <a:pt x="838486" y="1080802"/>
                    <a:pt x="837438" y="1081183"/>
                  </a:cubicBezTo>
                  <a:cubicBezTo>
                    <a:pt x="836009" y="1081659"/>
                    <a:pt x="834485" y="1082231"/>
                    <a:pt x="833056" y="1082802"/>
                  </a:cubicBezTo>
                  <a:cubicBezTo>
                    <a:pt x="832009" y="1083183"/>
                    <a:pt x="831056" y="1083659"/>
                    <a:pt x="830104" y="1084136"/>
                  </a:cubicBezTo>
                  <a:cubicBezTo>
                    <a:pt x="828675" y="1084802"/>
                    <a:pt x="827342" y="1085374"/>
                    <a:pt x="826008" y="1086136"/>
                  </a:cubicBezTo>
                  <a:cubicBezTo>
                    <a:pt x="825532" y="1086422"/>
                    <a:pt x="825055" y="1086707"/>
                    <a:pt x="824484" y="1086993"/>
                  </a:cubicBezTo>
                  <a:cubicBezTo>
                    <a:pt x="824008" y="1087279"/>
                    <a:pt x="823531" y="1087469"/>
                    <a:pt x="823055" y="1087755"/>
                  </a:cubicBezTo>
                  <a:cubicBezTo>
                    <a:pt x="821722" y="1088517"/>
                    <a:pt x="820483" y="1089279"/>
                    <a:pt x="819150" y="1090136"/>
                  </a:cubicBezTo>
                  <a:cubicBezTo>
                    <a:pt x="818960" y="1090232"/>
                    <a:pt x="818864" y="1090327"/>
                    <a:pt x="818674" y="1090422"/>
                  </a:cubicBezTo>
                  <a:cubicBezTo>
                    <a:pt x="817911" y="1090898"/>
                    <a:pt x="817150" y="1091375"/>
                    <a:pt x="816483" y="1091946"/>
                  </a:cubicBezTo>
                  <a:cubicBezTo>
                    <a:pt x="815245" y="1092803"/>
                    <a:pt x="814006" y="1093756"/>
                    <a:pt x="812768" y="1094708"/>
                  </a:cubicBezTo>
                  <a:cubicBezTo>
                    <a:pt x="811911" y="1095375"/>
                    <a:pt x="811149" y="1095947"/>
                    <a:pt x="810292" y="1096709"/>
                  </a:cubicBezTo>
                  <a:cubicBezTo>
                    <a:pt x="809053" y="1097756"/>
                    <a:pt x="807910" y="1098804"/>
                    <a:pt x="806767" y="1099852"/>
                  </a:cubicBezTo>
                  <a:cubicBezTo>
                    <a:pt x="806005" y="1100519"/>
                    <a:pt x="805339" y="1101185"/>
                    <a:pt x="804577" y="1101947"/>
                  </a:cubicBezTo>
                  <a:cubicBezTo>
                    <a:pt x="803434" y="1103186"/>
                    <a:pt x="802291" y="1104424"/>
                    <a:pt x="801148" y="1105662"/>
                  </a:cubicBezTo>
                  <a:cubicBezTo>
                    <a:pt x="800576" y="1106329"/>
                    <a:pt x="799910" y="1106996"/>
                    <a:pt x="799434" y="1107662"/>
                  </a:cubicBezTo>
                  <a:cubicBezTo>
                    <a:pt x="798195" y="1109186"/>
                    <a:pt x="797052" y="1110710"/>
                    <a:pt x="795909" y="1112330"/>
                  </a:cubicBezTo>
                  <a:cubicBezTo>
                    <a:pt x="795909" y="1112425"/>
                    <a:pt x="795814" y="1112425"/>
                    <a:pt x="795814" y="1112520"/>
                  </a:cubicBezTo>
                  <a:cubicBezTo>
                    <a:pt x="795528" y="1112996"/>
                    <a:pt x="795147" y="1113377"/>
                    <a:pt x="794861" y="1113854"/>
                  </a:cubicBezTo>
                  <a:cubicBezTo>
                    <a:pt x="793433" y="1116044"/>
                    <a:pt x="792004" y="1118235"/>
                    <a:pt x="790765" y="1120521"/>
                  </a:cubicBezTo>
                  <a:cubicBezTo>
                    <a:pt x="790670" y="1120712"/>
                    <a:pt x="790575" y="1120902"/>
                    <a:pt x="790480" y="1121093"/>
                  </a:cubicBezTo>
                  <a:cubicBezTo>
                    <a:pt x="789336" y="1123188"/>
                    <a:pt x="788289" y="1125379"/>
                    <a:pt x="787337" y="1127570"/>
                  </a:cubicBezTo>
                  <a:cubicBezTo>
                    <a:pt x="787051" y="1128332"/>
                    <a:pt x="786765" y="1129094"/>
                    <a:pt x="786479" y="1129951"/>
                  </a:cubicBezTo>
                  <a:cubicBezTo>
                    <a:pt x="785812" y="1131570"/>
                    <a:pt x="785146" y="1133285"/>
                    <a:pt x="784669" y="1134904"/>
                  </a:cubicBezTo>
                  <a:cubicBezTo>
                    <a:pt x="784384" y="1135856"/>
                    <a:pt x="784098" y="1136714"/>
                    <a:pt x="783908" y="1137666"/>
                  </a:cubicBezTo>
                  <a:cubicBezTo>
                    <a:pt x="783908" y="1137761"/>
                    <a:pt x="783908" y="1137761"/>
                    <a:pt x="783908" y="1137857"/>
                  </a:cubicBezTo>
                  <a:cubicBezTo>
                    <a:pt x="783431" y="1139381"/>
                    <a:pt x="783050" y="1141000"/>
                    <a:pt x="782669" y="1142524"/>
                  </a:cubicBezTo>
                  <a:cubicBezTo>
                    <a:pt x="782669" y="1142714"/>
                    <a:pt x="782574" y="1142905"/>
                    <a:pt x="782574" y="1143000"/>
                  </a:cubicBezTo>
                  <a:cubicBezTo>
                    <a:pt x="782383" y="1143953"/>
                    <a:pt x="782193" y="1144810"/>
                    <a:pt x="782098" y="1145762"/>
                  </a:cubicBezTo>
                  <a:cubicBezTo>
                    <a:pt x="781240" y="1150525"/>
                    <a:pt x="780764" y="1155287"/>
                    <a:pt x="780764" y="1160336"/>
                  </a:cubicBezTo>
                  <a:cubicBezTo>
                    <a:pt x="780288" y="1185863"/>
                    <a:pt x="744760" y="1217771"/>
                    <a:pt x="709517" y="1218438"/>
                  </a:cubicBezTo>
                  <a:cubicBezTo>
                    <a:pt x="707231" y="1218438"/>
                    <a:pt x="705040" y="1218628"/>
                    <a:pt x="702850" y="1218819"/>
                  </a:cubicBezTo>
                  <a:cubicBezTo>
                    <a:pt x="702183" y="1218914"/>
                    <a:pt x="701421" y="1218914"/>
                    <a:pt x="700754" y="1219010"/>
                  </a:cubicBezTo>
                  <a:cubicBezTo>
                    <a:pt x="700469" y="1219010"/>
                    <a:pt x="700087" y="1219105"/>
                    <a:pt x="699802" y="1219105"/>
                  </a:cubicBezTo>
                  <a:cubicBezTo>
                    <a:pt x="697801" y="1219391"/>
                    <a:pt x="695801" y="1219676"/>
                    <a:pt x="693801" y="1220057"/>
                  </a:cubicBezTo>
                  <a:cubicBezTo>
                    <a:pt x="693420" y="1220153"/>
                    <a:pt x="692943" y="1220248"/>
                    <a:pt x="692563" y="1220248"/>
                  </a:cubicBezTo>
                  <a:cubicBezTo>
                    <a:pt x="658273" y="1227487"/>
                    <a:pt x="631698" y="1255871"/>
                    <a:pt x="627031" y="1290923"/>
                  </a:cubicBezTo>
                  <a:lnTo>
                    <a:pt x="626745" y="1359884"/>
                  </a:lnTo>
                  <a:lnTo>
                    <a:pt x="626174" y="1359884"/>
                  </a:lnTo>
                  <a:lnTo>
                    <a:pt x="626174" y="1359884"/>
                  </a:lnTo>
                  <a:lnTo>
                    <a:pt x="887349" y="1359884"/>
                  </a:lnTo>
                  <a:cubicBezTo>
                    <a:pt x="925830" y="1359884"/>
                    <a:pt x="957358" y="1391412"/>
                    <a:pt x="957358" y="1429893"/>
                  </a:cubicBezTo>
                  <a:lnTo>
                    <a:pt x="957358" y="1454277"/>
                  </a:lnTo>
                  <a:cubicBezTo>
                    <a:pt x="957358" y="1492758"/>
                    <a:pt x="925830" y="1524286"/>
                    <a:pt x="887349" y="1524286"/>
                  </a:cubicBezTo>
                  <a:lnTo>
                    <a:pt x="626174" y="1524286"/>
                  </a:lnTo>
                  <a:lnTo>
                    <a:pt x="626174" y="1814417"/>
                  </a:lnTo>
                  <a:lnTo>
                    <a:pt x="626174" y="1959959"/>
                  </a:lnTo>
                  <a:lnTo>
                    <a:pt x="1134046" y="1959959"/>
                  </a:lnTo>
                  <a:cubicBezTo>
                    <a:pt x="1197388" y="1959959"/>
                    <a:pt x="1249204" y="2011394"/>
                    <a:pt x="1249204" y="2074259"/>
                  </a:cubicBezTo>
                  <a:lnTo>
                    <a:pt x="1249204" y="2667095"/>
                  </a:lnTo>
                  <a:lnTo>
                    <a:pt x="1632204" y="2667095"/>
                  </a:lnTo>
                  <a:lnTo>
                    <a:pt x="1632204" y="1233678"/>
                  </a:lnTo>
                  <a:lnTo>
                    <a:pt x="1496949" y="1233678"/>
                  </a:lnTo>
                  <a:close/>
                  <a:moveTo>
                    <a:pt x="1277398" y="1311974"/>
                  </a:moveTo>
                  <a:cubicBezTo>
                    <a:pt x="1277398" y="1344930"/>
                    <a:pt x="1250442" y="1371981"/>
                    <a:pt x="1217390" y="1371981"/>
                  </a:cubicBezTo>
                  <a:lnTo>
                    <a:pt x="1196530" y="1371981"/>
                  </a:lnTo>
                  <a:cubicBezTo>
                    <a:pt x="1163955" y="1371981"/>
                    <a:pt x="1137190" y="1345597"/>
                    <a:pt x="1136523" y="1313117"/>
                  </a:cubicBezTo>
                  <a:cubicBezTo>
                    <a:pt x="1135666" y="1269016"/>
                    <a:pt x="1099661" y="1233583"/>
                    <a:pt x="1055560" y="1233583"/>
                  </a:cubicBezTo>
                  <a:lnTo>
                    <a:pt x="1016222" y="1233583"/>
                  </a:lnTo>
                  <a:cubicBezTo>
                    <a:pt x="983266" y="1233583"/>
                    <a:pt x="956215" y="1206627"/>
                    <a:pt x="956215" y="1173575"/>
                  </a:cubicBezTo>
                  <a:lnTo>
                    <a:pt x="956215" y="1152716"/>
                  </a:lnTo>
                  <a:cubicBezTo>
                    <a:pt x="956215" y="1119759"/>
                    <a:pt x="983171" y="1092708"/>
                    <a:pt x="1016222" y="1092708"/>
                  </a:cubicBezTo>
                  <a:lnTo>
                    <a:pt x="1181005" y="1092708"/>
                  </a:lnTo>
                  <a:cubicBezTo>
                    <a:pt x="1184148" y="1092708"/>
                    <a:pt x="1186815" y="1092518"/>
                    <a:pt x="1189959" y="1092232"/>
                  </a:cubicBezTo>
                  <a:cubicBezTo>
                    <a:pt x="1192149" y="1091946"/>
                    <a:pt x="1194340" y="1091851"/>
                    <a:pt x="1196530" y="1091851"/>
                  </a:cubicBezTo>
                  <a:lnTo>
                    <a:pt x="1217390" y="1091851"/>
                  </a:lnTo>
                  <a:cubicBezTo>
                    <a:pt x="1250347" y="1091851"/>
                    <a:pt x="1277398" y="1118807"/>
                    <a:pt x="1277398" y="1151858"/>
                  </a:cubicBezTo>
                  <a:lnTo>
                    <a:pt x="1277398" y="1311974"/>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09" name="Freeform: Shape 208">
              <a:extLst>
                <a:ext uri="{FF2B5EF4-FFF2-40B4-BE49-F238E27FC236}">
                  <a16:creationId xmlns:a16="http://schemas.microsoft.com/office/drawing/2014/main" id="{E1168188-5084-486D-BD85-EBD8287FA20A}"/>
                </a:ext>
              </a:extLst>
            </p:cNvPr>
            <p:cNvSpPr/>
            <p:nvPr/>
          </p:nvSpPr>
          <p:spPr>
            <a:xfrm>
              <a:off x="5121228" y="1934892"/>
              <a:ext cx="931164" cy="707326"/>
            </a:xfrm>
            <a:custGeom>
              <a:avLst/>
              <a:gdLst>
                <a:gd name="connsiteX0" fmla="*/ 931164 w 931164"/>
                <a:gd name="connsiteY0" fmla="*/ 114300 h 707326"/>
                <a:gd name="connsiteX1" fmla="*/ 816007 w 931164"/>
                <a:gd name="connsiteY1" fmla="*/ 0 h 707326"/>
                <a:gd name="connsiteX2" fmla="*/ 308134 w 931164"/>
                <a:gd name="connsiteY2" fmla="*/ 0 h 707326"/>
                <a:gd name="connsiteX3" fmla="*/ 308134 w 931164"/>
                <a:gd name="connsiteY3" fmla="*/ 143827 h 707326"/>
                <a:gd name="connsiteX4" fmla="*/ 308229 w 931164"/>
                <a:gd name="connsiteY4" fmla="*/ 143827 h 707326"/>
                <a:gd name="connsiteX5" fmla="*/ 308229 w 931164"/>
                <a:gd name="connsiteY5" fmla="*/ 206883 h 707326"/>
                <a:gd name="connsiteX6" fmla="*/ 308229 w 931164"/>
                <a:gd name="connsiteY6" fmla="*/ 219742 h 707326"/>
                <a:gd name="connsiteX7" fmla="*/ 308229 w 931164"/>
                <a:gd name="connsiteY7" fmla="*/ 227933 h 707326"/>
                <a:gd name="connsiteX8" fmla="*/ 308134 w 931164"/>
                <a:gd name="connsiteY8" fmla="*/ 229171 h 707326"/>
                <a:gd name="connsiteX9" fmla="*/ 308134 w 931164"/>
                <a:gd name="connsiteY9" fmla="*/ 230696 h 707326"/>
                <a:gd name="connsiteX10" fmla="*/ 307943 w 931164"/>
                <a:gd name="connsiteY10" fmla="*/ 232410 h 707326"/>
                <a:gd name="connsiteX11" fmla="*/ 307658 w 931164"/>
                <a:gd name="connsiteY11" fmla="*/ 235363 h 707326"/>
                <a:gd name="connsiteX12" fmla="*/ 307181 w 931164"/>
                <a:gd name="connsiteY12" fmla="*/ 238411 h 707326"/>
                <a:gd name="connsiteX13" fmla="*/ 306610 w 931164"/>
                <a:gd name="connsiteY13" fmla="*/ 241268 h 707326"/>
                <a:gd name="connsiteX14" fmla="*/ 305848 w 931164"/>
                <a:gd name="connsiteY14" fmla="*/ 244221 h 707326"/>
                <a:gd name="connsiteX15" fmla="*/ 304991 w 931164"/>
                <a:gd name="connsiteY15" fmla="*/ 246983 h 707326"/>
                <a:gd name="connsiteX16" fmla="*/ 303943 w 931164"/>
                <a:gd name="connsiteY16" fmla="*/ 249746 h 707326"/>
                <a:gd name="connsiteX17" fmla="*/ 302895 w 931164"/>
                <a:gd name="connsiteY17" fmla="*/ 252413 h 707326"/>
                <a:gd name="connsiteX18" fmla="*/ 301657 w 931164"/>
                <a:gd name="connsiteY18" fmla="*/ 254984 h 707326"/>
                <a:gd name="connsiteX19" fmla="*/ 300324 w 931164"/>
                <a:gd name="connsiteY19" fmla="*/ 257556 h 707326"/>
                <a:gd name="connsiteX20" fmla="*/ 298799 w 931164"/>
                <a:gd name="connsiteY20" fmla="*/ 260032 h 707326"/>
                <a:gd name="connsiteX21" fmla="*/ 297275 w 931164"/>
                <a:gd name="connsiteY21" fmla="*/ 262414 h 707326"/>
                <a:gd name="connsiteX22" fmla="*/ 295561 w 931164"/>
                <a:gd name="connsiteY22" fmla="*/ 264700 h 707326"/>
                <a:gd name="connsiteX23" fmla="*/ 293751 w 931164"/>
                <a:gd name="connsiteY23" fmla="*/ 266986 h 707326"/>
                <a:gd name="connsiteX24" fmla="*/ 291846 w 931164"/>
                <a:gd name="connsiteY24" fmla="*/ 269081 h 707326"/>
                <a:gd name="connsiteX25" fmla="*/ 289846 w 931164"/>
                <a:gd name="connsiteY25" fmla="*/ 271177 h 707326"/>
                <a:gd name="connsiteX26" fmla="*/ 287655 w 931164"/>
                <a:gd name="connsiteY26" fmla="*/ 273082 h 707326"/>
                <a:gd name="connsiteX27" fmla="*/ 285560 w 931164"/>
                <a:gd name="connsiteY27" fmla="*/ 274892 h 707326"/>
                <a:gd name="connsiteX28" fmla="*/ 283179 w 931164"/>
                <a:gd name="connsiteY28" fmla="*/ 276606 h 707326"/>
                <a:gd name="connsiteX29" fmla="*/ 280892 w 931164"/>
                <a:gd name="connsiteY29" fmla="*/ 278225 h 707326"/>
                <a:gd name="connsiteX30" fmla="*/ 278321 w 931164"/>
                <a:gd name="connsiteY30" fmla="*/ 279749 h 707326"/>
                <a:gd name="connsiteX31" fmla="*/ 275940 w 931164"/>
                <a:gd name="connsiteY31" fmla="*/ 281178 h 707326"/>
                <a:gd name="connsiteX32" fmla="*/ 273177 w 931164"/>
                <a:gd name="connsiteY32" fmla="*/ 282511 h 707326"/>
                <a:gd name="connsiteX33" fmla="*/ 270701 w 931164"/>
                <a:gd name="connsiteY33" fmla="*/ 283655 h 707326"/>
                <a:gd name="connsiteX34" fmla="*/ 267653 w 931164"/>
                <a:gd name="connsiteY34" fmla="*/ 284797 h 707326"/>
                <a:gd name="connsiteX35" fmla="*/ 265272 w 931164"/>
                <a:gd name="connsiteY35" fmla="*/ 285655 h 707326"/>
                <a:gd name="connsiteX36" fmla="*/ 261938 w 931164"/>
                <a:gd name="connsiteY36" fmla="*/ 286512 h 707326"/>
                <a:gd name="connsiteX37" fmla="*/ 259556 w 931164"/>
                <a:gd name="connsiteY37" fmla="*/ 287084 h 707326"/>
                <a:gd name="connsiteX38" fmla="*/ 255651 w 931164"/>
                <a:gd name="connsiteY38" fmla="*/ 287655 h 707326"/>
                <a:gd name="connsiteX39" fmla="*/ 253651 w 931164"/>
                <a:gd name="connsiteY39" fmla="*/ 287941 h 707326"/>
                <a:gd name="connsiteX40" fmla="*/ 247555 w 931164"/>
                <a:gd name="connsiteY40" fmla="*/ 288226 h 707326"/>
                <a:gd name="connsiteX41" fmla="*/ 157449 w 931164"/>
                <a:gd name="connsiteY41" fmla="*/ 288226 h 707326"/>
                <a:gd name="connsiteX42" fmla="*/ 157449 w 931164"/>
                <a:gd name="connsiteY42" fmla="*/ 363950 h 707326"/>
                <a:gd name="connsiteX43" fmla="*/ 96964 w 931164"/>
                <a:gd name="connsiteY43" fmla="*/ 424434 h 707326"/>
                <a:gd name="connsiteX44" fmla="*/ 0 w 931164"/>
                <a:gd name="connsiteY44" fmla="*/ 424434 h 707326"/>
                <a:gd name="connsiteX45" fmla="*/ 0 w 931164"/>
                <a:gd name="connsiteY45" fmla="*/ 707326 h 707326"/>
                <a:gd name="connsiteX46" fmla="*/ 930879 w 931164"/>
                <a:gd name="connsiteY46" fmla="*/ 707326 h 707326"/>
                <a:gd name="connsiteX47" fmla="*/ 930879 w 931164"/>
                <a:gd name="connsiteY47" fmla="*/ 114300 h 70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31164" h="707326">
                  <a:moveTo>
                    <a:pt x="931164" y="114300"/>
                  </a:moveTo>
                  <a:cubicBezTo>
                    <a:pt x="931164" y="51435"/>
                    <a:pt x="879348" y="0"/>
                    <a:pt x="816007" y="0"/>
                  </a:cubicBezTo>
                  <a:lnTo>
                    <a:pt x="308134" y="0"/>
                  </a:lnTo>
                  <a:lnTo>
                    <a:pt x="308134" y="143827"/>
                  </a:lnTo>
                  <a:lnTo>
                    <a:pt x="308229" y="143827"/>
                  </a:lnTo>
                  <a:lnTo>
                    <a:pt x="308229" y="206883"/>
                  </a:lnTo>
                  <a:lnTo>
                    <a:pt x="308229" y="219742"/>
                  </a:lnTo>
                  <a:lnTo>
                    <a:pt x="308229" y="227933"/>
                  </a:lnTo>
                  <a:cubicBezTo>
                    <a:pt x="308229" y="228314"/>
                    <a:pt x="308134" y="228790"/>
                    <a:pt x="308134" y="229171"/>
                  </a:cubicBezTo>
                  <a:lnTo>
                    <a:pt x="308134" y="230696"/>
                  </a:lnTo>
                  <a:cubicBezTo>
                    <a:pt x="308134" y="231267"/>
                    <a:pt x="308039" y="231838"/>
                    <a:pt x="307943" y="232410"/>
                  </a:cubicBezTo>
                  <a:cubicBezTo>
                    <a:pt x="307848" y="233363"/>
                    <a:pt x="307753" y="234315"/>
                    <a:pt x="307658" y="235363"/>
                  </a:cubicBezTo>
                  <a:cubicBezTo>
                    <a:pt x="307563" y="236410"/>
                    <a:pt x="307372" y="237363"/>
                    <a:pt x="307181" y="238411"/>
                  </a:cubicBezTo>
                  <a:cubicBezTo>
                    <a:pt x="306991" y="239363"/>
                    <a:pt x="306800" y="240316"/>
                    <a:pt x="306610" y="241268"/>
                  </a:cubicBezTo>
                  <a:cubicBezTo>
                    <a:pt x="306420" y="242221"/>
                    <a:pt x="306134" y="243173"/>
                    <a:pt x="305848" y="244221"/>
                  </a:cubicBezTo>
                  <a:cubicBezTo>
                    <a:pt x="305562" y="245173"/>
                    <a:pt x="305371" y="246031"/>
                    <a:pt x="304991" y="246983"/>
                  </a:cubicBezTo>
                  <a:cubicBezTo>
                    <a:pt x="304705" y="247936"/>
                    <a:pt x="304324" y="248793"/>
                    <a:pt x="303943" y="249746"/>
                  </a:cubicBezTo>
                  <a:cubicBezTo>
                    <a:pt x="303562" y="250603"/>
                    <a:pt x="303276" y="251555"/>
                    <a:pt x="302895" y="252413"/>
                  </a:cubicBezTo>
                  <a:cubicBezTo>
                    <a:pt x="302514" y="253270"/>
                    <a:pt x="302038" y="254127"/>
                    <a:pt x="301657" y="254984"/>
                  </a:cubicBezTo>
                  <a:cubicBezTo>
                    <a:pt x="301180" y="255842"/>
                    <a:pt x="300800" y="256699"/>
                    <a:pt x="300324" y="257556"/>
                  </a:cubicBezTo>
                  <a:cubicBezTo>
                    <a:pt x="299847" y="258413"/>
                    <a:pt x="299371" y="259175"/>
                    <a:pt x="298799" y="260032"/>
                  </a:cubicBezTo>
                  <a:cubicBezTo>
                    <a:pt x="298323" y="260794"/>
                    <a:pt x="297752" y="261652"/>
                    <a:pt x="297275" y="262414"/>
                  </a:cubicBezTo>
                  <a:cubicBezTo>
                    <a:pt x="296704" y="263176"/>
                    <a:pt x="296133" y="263938"/>
                    <a:pt x="295561" y="264700"/>
                  </a:cubicBezTo>
                  <a:cubicBezTo>
                    <a:pt x="294990" y="265462"/>
                    <a:pt x="294418" y="266224"/>
                    <a:pt x="293751" y="266986"/>
                  </a:cubicBezTo>
                  <a:cubicBezTo>
                    <a:pt x="293180" y="267748"/>
                    <a:pt x="292513" y="268414"/>
                    <a:pt x="291846" y="269081"/>
                  </a:cubicBezTo>
                  <a:cubicBezTo>
                    <a:pt x="291179" y="269748"/>
                    <a:pt x="290513" y="270510"/>
                    <a:pt x="289846" y="271177"/>
                  </a:cubicBezTo>
                  <a:cubicBezTo>
                    <a:pt x="289179" y="271843"/>
                    <a:pt x="288417" y="272510"/>
                    <a:pt x="287655" y="273082"/>
                  </a:cubicBezTo>
                  <a:cubicBezTo>
                    <a:pt x="286988" y="273748"/>
                    <a:pt x="286227" y="274320"/>
                    <a:pt x="285560" y="274892"/>
                  </a:cubicBezTo>
                  <a:cubicBezTo>
                    <a:pt x="284798" y="275463"/>
                    <a:pt x="284036" y="276034"/>
                    <a:pt x="283179" y="276606"/>
                  </a:cubicBezTo>
                  <a:cubicBezTo>
                    <a:pt x="282416" y="277177"/>
                    <a:pt x="281654" y="277749"/>
                    <a:pt x="280892" y="278225"/>
                  </a:cubicBezTo>
                  <a:cubicBezTo>
                    <a:pt x="280035" y="278797"/>
                    <a:pt x="279178" y="279273"/>
                    <a:pt x="278321" y="279749"/>
                  </a:cubicBezTo>
                  <a:cubicBezTo>
                    <a:pt x="277559" y="280225"/>
                    <a:pt x="276796" y="280702"/>
                    <a:pt x="275940" y="281178"/>
                  </a:cubicBezTo>
                  <a:cubicBezTo>
                    <a:pt x="274987" y="281654"/>
                    <a:pt x="274130" y="282130"/>
                    <a:pt x="273177" y="282511"/>
                  </a:cubicBezTo>
                  <a:cubicBezTo>
                    <a:pt x="272320" y="282892"/>
                    <a:pt x="271558" y="283273"/>
                    <a:pt x="270701" y="283655"/>
                  </a:cubicBezTo>
                  <a:cubicBezTo>
                    <a:pt x="269748" y="284035"/>
                    <a:pt x="268700" y="284417"/>
                    <a:pt x="267653" y="284797"/>
                  </a:cubicBezTo>
                  <a:cubicBezTo>
                    <a:pt x="266891" y="285083"/>
                    <a:pt x="266033" y="285369"/>
                    <a:pt x="265272" y="285655"/>
                  </a:cubicBezTo>
                  <a:cubicBezTo>
                    <a:pt x="264129" y="286036"/>
                    <a:pt x="263080" y="286226"/>
                    <a:pt x="261938" y="286512"/>
                  </a:cubicBezTo>
                  <a:cubicBezTo>
                    <a:pt x="261176" y="286702"/>
                    <a:pt x="260414" y="286988"/>
                    <a:pt x="259556" y="287084"/>
                  </a:cubicBezTo>
                  <a:cubicBezTo>
                    <a:pt x="258223" y="287369"/>
                    <a:pt x="256890" y="287464"/>
                    <a:pt x="255651" y="287655"/>
                  </a:cubicBezTo>
                  <a:cubicBezTo>
                    <a:pt x="254984" y="287750"/>
                    <a:pt x="254318" y="287846"/>
                    <a:pt x="253651" y="287941"/>
                  </a:cubicBezTo>
                  <a:cubicBezTo>
                    <a:pt x="251651" y="288131"/>
                    <a:pt x="249650" y="288226"/>
                    <a:pt x="247555" y="288226"/>
                  </a:cubicBezTo>
                  <a:lnTo>
                    <a:pt x="157449" y="288226"/>
                  </a:lnTo>
                  <a:lnTo>
                    <a:pt x="157449" y="363950"/>
                  </a:lnTo>
                  <a:cubicBezTo>
                    <a:pt x="157449" y="397192"/>
                    <a:pt x="130207" y="424434"/>
                    <a:pt x="96964" y="424434"/>
                  </a:cubicBezTo>
                  <a:lnTo>
                    <a:pt x="0" y="424434"/>
                  </a:lnTo>
                  <a:lnTo>
                    <a:pt x="0" y="707326"/>
                  </a:lnTo>
                  <a:lnTo>
                    <a:pt x="930879" y="707326"/>
                  </a:lnTo>
                  <a:lnTo>
                    <a:pt x="930879" y="11430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10" name="Freeform: Shape 209">
              <a:extLst>
                <a:ext uri="{FF2B5EF4-FFF2-40B4-BE49-F238E27FC236}">
                  <a16:creationId xmlns:a16="http://schemas.microsoft.com/office/drawing/2014/main" id="{1F154C30-B0BC-4216-8E39-C52393F48F52}"/>
                </a:ext>
              </a:extLst>
            </p:cNvPr>
            <p:cNvSpPr/>
            <p:nvPr/>
          </p:nvSpPr>
          <p:spPr>
            <a:xfrm>
              <a:off x="4648978" y="4562649"/>
              <a:ext cx="325278" cy="429958"/>
            </a:xfrm>
            <a:custGeom>
              <a:avLst/>
              <a:gdLst>
                <a:gd name="connsiteX0" fmla="*/ 211741 w 325278"/>
                <a:gd name="connsiteY0" fmla="*/ 95 h 429958"/>
                <a:gd name="connsiteX1" fmla="*/ 172593 w 325278"/>
                <a:gd name="connsiteY1" fmla="*/ 95 h 429958"/>
                <a:gd name="connsiteX2" fmla="*/ 107252 w 325278"/>
                <a:gd name="connsiteY2" fmla="*/ 95 h 429958"/>
                <a:gd name="connsiteX3" fmla="*/ 95155 w 325278"/>
                <a:gd name="connsiteY3" fmla="*/ 95 h 429958"/>
                <a:gd name="connsiteX4" fmla="*/ 0 w 325278"/>
                <a:gd name="connsiteY4" fmla="*/ 95 h 429958"/>
                <a:gd name="connsiteX5" fmla="*/ 11621 w 325278"/>
                <a:gd name="connsiteY5" fmla="*/ 34004 h 429958"/>
                <a:gd name="connsiteX6" fmla="*/ 11049 w 325278"/>
                <a:gd name="connsiteY6" fmla="*/ 232791 h 429958"/>
                <a:gd name="connsiteX7" fmla="*/ 11049 w 325278"/>
                <a:gd name="connsiteY7" fmla="*/ 236315 h 429958"/>
                <a:gd name="connsiteX8" fmla="*/ 11049 w 325278"/>
                <a:gd name="connsiteY8" fmla="*/ 237839 h 429958"/>
                <a:gd name="connsiteX9" fmla="*/ 11049 w 325278"/>
                <a:gd name="connsiteY9" fmla="*/ 237839 h 429958"/>
                <a:gd name="connsiteX10" fmla="*/ 11144 w 325278"/>
                <a:gd name="connsiteY10" fmla="*/ 239268 h 429958"/>
                <a:gd name="connsiteX11" fmla="*/ 11144 w 325278"/>
                <a:gd name="connsiteY11" fmla="*/ 239268 h 429958"/>
                <a:gd name="connsiteX12" fmla="*/ 11239 w 325278"/>
                <a:gd name="connsiteY12" fmla="*/ 240697 h 429958"/>
                <a:gd name="connsiteX13" fmla="*/ 11239 w 325278"/>
                <a:gd name="connsiteY13" fmla="*/ 240697 h 429958"/>
                <a:gd name="connsiteX14" fmla="*/ 11335 w 325278"/>
                <a:gd name="connsiteY14" fmla="*/ 242126 h 429958"/>
                <a:gd name="connsiteX15" fmla="*/ 11335 w 325278"/>
                <a:gd name="connsiteY15" fmla="*/ 242126 h 429958"/>
                <a:gd name="connsiteX16" fmla="*/ 11525 w 325278"/>
                <a:gd name="connsiteY16" fmla="*/ 243554 h 429958"/>
                <a:gd name="connsiteX17" fmla="*/ 11525 w 325278"/>
                <a:gd name="connsiteY17" fmla="*/ 243554 h 429958"/>
                <a:gd name="connsiteX18" fmla="*/ 11716 w 325278"/>
                <a:gd name="connsiteY18" fmla="*/ 244983 h 429958"/>
                <a:gd name="connsiteX19" fmla="*/ 11716 w 325278"/>
                <a:gd name="connsiteY19" fmla="*/ 244983 h 429958"/>
                <a:gd name="connsiteX20" fmla="*/ 12002 w 325278"/>
                <a:gd name="connsiteY20" fmla="*/ 246412 h 429958"/>
                <a:gd name="connsiteX21" fmla="*/ 12002 w 325278"/>
                <a:gd name="connsiteY21" fmla="*/ 246412 h 429958"/>
                <a:gd name="connsiteX22" fmla="*/ 12287 w 325278"/>
                <a:gd name="connsiteY22" fmla="*/ 247841 h 429958"/>
                <a:gd name="connsiteX23" fmla="*/ 12287 w 325278"/>
                <a:gd name="connsiteY23" fmla="*/ 247841 h 429958"/>
                <a:gd name="connsiteX24" fmla="*/ 12573 w 325278"/>
                <a:gd name="connsiteY24" fmla="*/ 249269 h 429958"/>
                <a:gd name="connsiteX25" fmla="*/ 12573 w 325278"/>
                <a:gd name="connsiteY25" fmla="*/ 249269 h 429958"/>
                <a:gd name="connsiteX26" fmla="*/ 12954 w 325278"/>
                <a:gd name="connsiteY26" fmla="*/ 250698 h 429958"/>
                <a:gd name="connsiteX27" fmla="*/ 12954 w 325278"/>
                <a:gd name="connsiteY27" fmla="*/ 250698 h 429958"/>
                <a:gd name="connsiteX28" fmla="*/ 64294 w 325278"/>
                <a:gd name="connsiteY28" fmla="*/ 293751 h 429958"/>
                <a:gd name="connsiteX29" fmla="*/ 64294 w 325278"/>
                <a:gd name="connsiteY29" fmla="*/ 293751 h 429958"/>
                <a:gd name="connsiteX30" fmla="*/ 65722 w 325278"/>
                <a:gd name="connsiteY30" fmla="*/ 293846 h 429958"/>
                <a:gd name="connsiteX31" fmla="*/ 65722 w 325278"/>
                <a:gd name="connsiteY31" fmla="*/ 293846 h 429958"/>
                <a:gd name="connsiteX32" fmla="*/ 66199 w 325278"/>
                <a:gd name="connsiteY32" fmla="*/ 293846 h 429958"/>
                <a:gd name="connsiteX33" fmla="*/ 69342 w 325278"/>
                <a:gd name="connsiteY33" fmla="*/ 293941 h 429958"/>
                <a:gd name="connsiteX34" fmla="*/ 76771 w 325278"/>
                <a:gd name="connsiteY34" fmla="*/ 293941 h 429958"/>
                <a:gd name="connsiteX35" fmla="*/ 157734 w 325278"/>
                <a:gd name="connsiteY35" fmla="*/ 374904 h 429958"/>
                <a:gd name="connsiteX36" fmla="*/ 157734 w 325278"/>
                <a:gd name="connsiteY36" fmla="*/ 429959 h 429958"/>
                <a:gd name="connsiteX37" fmla="*/ 268510 w 325278"/>
                <a:gd name="connsiteY37" fmla="*/ 429959 h 429958"/>
                <a:gd name="connsiteX38" fmla="*/ 325279 w 325278"/>
                <a:gd name="connsiteY38" fmla="*/ 381476 h 429958"/>
                <a:gd name="connsiteX39" fmla="*/ 325279 w 325278"/>
                <a:gd name="connsiteY39" fmla="*/ 0 h 429958"/>
                <a:gd name="connsiteX40" fmla="*/ 211741 w 325278"/>
                <a:gd name="connsiteY40" fmla="*/ 0 h 42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5278" h="429958">
                  <a:moveTo>
                    <a:pt x="211741" y="95"/>
                  </a:moveTo>
                  <a:lnTo>
                    <a:pt x="172593" y="95"/>
                  </a:lnTo>
                  <a:lnTo>
                    <a:pt x="107252" y="95"/>
                  </a:lnTo>
                  <a:lnTo>
                    <a:pt x="95155" y="95"/>
                  </a:lnTo>
                  <a:lnTo>
                    <a:pt x="0" y="95"/>
                  </a:lnTo>
                  <a:cubicBezTo>
                    <a:pt x="7239" y="7906"/>
                    <a:pt x="11716" y="18764"/>
                    <a:pt x="11621" y="34004"/>
                  </a:cubicBezTo>
                  <a:lnTo>
                    <a:pt x="11049" y="232791"/>
                  </a:lnTo>
                  <a:lnTo>
                    <a:pt x="11049" y="236315"/>
                  </a:lnTo>
                  <a:lnTo>
                    <a:pt x="11049" y="237839"/>
                  </a:lnTo>
                  <a:lnTo>
                    <a:pt x="11049" y="237839"/>
                  </a:lnTo>
                  <a:lnTo>
                    <a:pt x="11144" y="239268"/>
                  </a:lnTo>
                  <a:lnTo>
                    <a:pt x="11144" y="239268"/>
                  </a:lnTo>
                  <a:lnTo>
                    <a:pt x="11239" y="240697"/>
                  </a:lnTo>
                  <a:lnTo>
                    <a:pt x="11239" y="240697"/>
                  </a:lnTo>
                  <a:lnTo>
                    <a:pt x="11335" y="242126"/>
                  </a:lnTo>
                  <a:lnTo>
                    <a:pt x="11335" y="242126"/>
                  </a:lnTo>
                  <a:lnTo>
                    <a:pt x="11525" y="243554"/>
                  </a:lnTo>
                  <a:lnTo>
                    <a:pt x="11525" y="243554"/>
                  </a:lnTo>
                  <a:lnTo>
                    <a:pt x="11716" y="244983"/>
                  </a:lnTo>
                  <a:lnTo>
                    <a:pt x="11716" y="244983"/>
                  </a:lnTo>
                  <a:lnTo>
                    <a:pt x="12002" y="246412"/>
                  </a:lnTo>
                  <a:lnTo>
                    <a:pt x="12002" y="246412"/>
                  </a:lnTo>
                  <a:cubicBezTo>
                    <a:pt x="12097" y="246888"/>
                    <a:pt x="12192" y="247364"/>
                    <a:pt x="12287" y="247841"/>
                  </a:cubicBezTo>
                  <a:lnTo>
                    <a:pt x="12287" y="247841"/>
                  </a:lnTo>
                  <a:lnTo>
                    <a:pt x="12573" y="249269"/>
                  </a:lnTo>
                  <a:lnTo>
                    <a:pt x="12573" y="249269"/>
                  </a:lnTo>
                  <a:lnTo>
                    <a:pt x="12954" y="250698"/>
                  </a:lnTo>
                  <a:lnTo>
                    <a:pt x="12954" y="250698"/>
                  </a:lnTo>
                  <a:cubicBezTo>
                    <a:pt x="19145" y="273844"/>
                    <a:pt x="39434" y="291655"/>
                    <a:pt x="64294" y="293751"/>
                  </a:cubicBezTo>
                  <a:lnTo>
                    <a:pt x="64294" y="293751"/>
                  </a:lnTo>
                  <a:lnTo>
                    <a:pt x="65722" y="293846"/>
                  </a:lnTo>
                  <a:lnTo>
                    <a:pt x="65722" y="293846"/>
                  </a:lnTo>
                  <a:lnTo>
                    <a:pt x="66199" y="293846"/>
                  </a:lnTo>
                  <a:cubicBezTo>
                    <a:pt x="67342" y="293846"/>
                    <a:pt x="68199" y="293941"/>
                    <a:pt x="69342" y="293941"/>
                  </a:cubicBezTo>
                  <a:lnTo>
                    <a:pt x="76771" y="293941"/>
                  </a:lnTo>
                  <a:cubicBezTo>
                    <a:pt x="121349" y="293941"/>
                    <a:pt x="157734" y="330327"/>
                    <a:pt x="157734" y="374904"/>
                  </a:cubicBezTo>
                  <a:lnTo>
                    <a:pt x="157734" y="429959"/>
                  </a:lnTo>
                  <a:lnTo>
                    <a:pt x="268510" y="429959"/>
                  </a:lnTo>
                  <a:cubicBezTo>
                    <a:pt x="297085" y="429959"/>
                    <a:pt x="320898" y="408813"/>
                    <a:pt x="325279" y="381476"/>
                  </a:cubicBezTo>
                  <a:cubicBezTo>
                    <a:pt x="325279" y="381476"/>
                    <a:pt x="325279" y="80201"/>
                    <a:pt x="325279" y="0"/>
                  </a:cubicBezTo>
                  <a:lnTo>
                    <a:pt x="211741"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11" name="Freeform: Shape 210">
              <a:extLst>
                <a:ext uri="{FF2B5EF4-FFF2-40B4-BE49-F238E27FC236}">
                  <a16:creationId xmlns:a16="http://schemas.microsoft.com/office/drawing/2014/main" id="{BEF1A51A-4CDC-4918-922A-8E42BA210951}"/>
                </a:ext>
              </a:extLst>
            </p:cNvPr>
            <p:cNvSpPr/>
            <p:nvPr/>
          </p:nvSpPr>
          <p:spPr>
            <a:xfrm>
              <a:off x="4486386" y="4284043"/>
              <a:ext cx="276796" cy="278606"/>
            </a:xfrm>
            <a:custGeom>
              <a:avLst/>
              <a:gdLst>
                <a:gd name="connsiteX0" fmla="*/ 115158 w 276796"/>
                <a:gd name="connsiteY0" fmla="*/ 95 h 278606"/>
                <a:gd name="connsiteX1" fmla="*/ 0 w 276796"/>
                <a:gd name="connsiteY1" fmla="*/ 114395 h 278606"/>
                <a:gd name="connsiteX2" fmla="*/ 0 w 276796"/>
                <a:gd name="connsiteY2" fmla="*/ 164402 h 278606"/>
                <a:gd name="connsiteX3" fmla="*/ 191 w 276796"/>
                <a:gd name="connsiteY3" fmla="*/ 167545 h 278606"/>
                <a:gd name="connsiteX4" fmla="*/ 0 w 276796"/>
                <a:gd name="connsiteY4" fmla="*/ 170688 h 278606"/>
                <a:gd name="connsiteX5" fmla="*/ 0 w 276796"/>
                <a:gd name="connsiteY5" fmla="*/ 278606 h 278606"/>
                <a:gd name="connsiteX6" fmla="*/ 115158 w 276796"/>
                <a:gd name="connsiteY6" fmla="*/ 278606 h 278606"/>
                <a:gd name="connsiteX7" fmla="*/ 154305 w 276796"/>
                <a:gd name="connsiteY7" fmla="*/ 278606 h 278606"/>
                <a:gd name="connsiteX8" fmla="*/ 276797 w 276796"/>
                <a:gd name="connsiteY8" fmla="*/ 278606 h 278606"/>
                <a:gd name="connsiteX9" fmla="*/ 276797 w 276796"/>
                <a:gd name="connsiteY9" fmla="*/ 0 h 278606"/>
                <a:gd name="connsiteX10" fmla="*/ 115158 w 276796"/>
                <a:gd name="connsiteY10" fmla="*/ 0 h 2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796" h="278606">
                  <a:moveTo>
                    <a:pt x="115158" y="95"/>
                  </a:moveTo>
                  <a:cubicBezTo>
                    <a:pt x="51816" y="95"/>
                    <a:pt x="0" y="51530"/>
                    <a:pt x="0" y="114395"/>
                  </a:cubicBezTo>
                  <a:lnTo>
                    <a:pt x="0" y="164402"/>
                  </a:lnTo>
                  <a:cubicBezTo>
                    <a:pt x="0" y="165449"/>
                    <a:pt x="95" y="166497"/>
                    <a:pt x="191" y="167545"/>
                  </a:cubicBezTo>
                  <a:cubicBezTo>
                    <a:pt x="95" y="168593"/>
                    <a:pt x="0" y="169640"/>
                    <a:pt x="0" y="170688"/>
                  </a:cubicBezTo>
                  <a:lnTo>
                    <a:pt x="0" y="278606"/>
                  </a:lnTo>
                  <a:lnTo>
                    <a:pt x="115158" y="278606"/>
                  </a:lnTo>
                  <a:lnTo>
                    <a:pt x="154305" y="278606"/>
                  </a:lnTo>
                  <a:lnTo>
                    <a:pt x="276797" y="278606"/>
                  </a:lnTo>
                  <a:lnTo>
                    <a:pt x="276797" y="0"/>
                  </a:lnTo>
                  <a:lnTo>
                    <a:pt x="115158"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12" name="Freeform: Shape 211">
              <a:extLst>
                <a:ext uri="{FF2B5EF4-FFF2-40B4-BE49-F238E27FC236}">
                  <a16:creationId xmlns:a16="http://schemas.microsoft.com/office/drawing/2014/main" id="{01478734-0AC6-49AA-BF32-5CA553A98943}"/>
                </a:ext>
              </a:extLst>
            </p:cNvPr>
            <p:cNvSpPr/>
            <p:nvPr/>
          </p:nvSpPr>
          <p:spPr>
            <a:xfrm>
              <a:off x="4651074" y="3828367"/>
              <a:ext cx="633888" cy="734377"/>
            </a:xfrm>
            <a:custGeom>
              <a:avLst/>
              <a:gdLst>
                <a:gd name="connsiteX0" fmla="*/ 575024 w 633888"/>
                <a:gd name="connsiteY0" fmla="*/ 0 h 734377"/>
                <a:gd name="connsiteX1" fmla="*/ 472916 w 633888"/>
                <a:gd name="connsiteY1" fmla="*/ 0 h 734377"/>
                <a:gd name="connsiteX2" fmla="*/ 273463 w 633888"/>
                <a:gd name="connsiteY2" fmla="*/ 0 h 734377"/>
                <a:gd name="connsiteX3" fmla="*/ 247079 w 633888"/>
                <a:gd name="connsiteY3" fmla="*/ 0 h 734377"/>
                <a:gd name="connsiteX4" fmla="*/ 233648 w 633888"/>
                <a:gd name="connsiteY4" fmla="*/ 857 h 734377"/>
                <a:gd name="connsiteX5" fmla="*/ 82487 w 633888"/>
                <a:gd name="connsiteY5" fmla="*/ 1238 h 734377"/>
                <a:gd name="connsiteX6" fmla="*/ 762 w 633888"/>
                <a:gd name="connsiteY6" fmla="*/ 762 h 734377"/>
                <a:gd name="connsiteX7" fmla="*/ 762 w 633888"/>
                <a:gd name="connsiteY7" fmla="*/ 141637 h 734377"/>
                <a:gd name="connsiteX8" fmla="*/ 0 w 633888"/>
                <a:gd name="connsiteY8" fmla="*/ 141637 h 734377"/>
                <a:gd name="connsiteX9" fmla="*/ 0 w 633888"/>
                <a:gd name="connsiteY9" fmla="*/ 455771 h 734377"/>
                <a:gd name="connsiteX10" fmla="*/ 93250 w 633888"/>
                <a:gd name="connsiteY10" fmla="*/ 455771 h 734377"/>
                <a:gd name="connsiteX11" fmla="*/ 105346 w 633888"/>
                <a:gd name="connsiteY11" fmla="*/ 455771 h 734377"/>
                <a:gd name="connsiteX12" fmla="*/ 110776 w 633888"/>
                <a:gd name="connsiteY12" fmla="*/ 455771 h 734377"/>
                <a:gd name="connsiteX13" fmla="*/ 110776 w 633888"/>
                <a:gd name="connsiteY13" fmla="*/ 734378 h 734377"/>
                <a:gd name="connsiteX14" fmla="*/ 182309 w 633888"/>
                <a:gd name="connsiteY14" fmla="*/ 734378 h 734377"/>
                <a:gd name="connsiteX15" fmla="*/ 218504 w 633888"/>
                <a:gd name="connsiteY15" fmla="*/ 734378 h 734377"/>
                <a:gd name="connsiteX16" fmla="*/ 324993 w 633888"/>
                <a:gd name="connsiteY16" fmla="*/ 734378 h 734377"/>
                <a:gd name="connsiteX17" fmla="*/ 324993 w 633888"/>
                <a:gd name="connsiteY17" fmla="*/ 711232 h 734377"/>
                <a:gd name="connsiteX18" fmla="*/ 437674 w 633888"/>
                <a:gd name="connsiteY18" fmla="*/ 615029 h 734377"/>
                <a:gd name="connsiteX19" fmla="*/ 633889 w 633888"/>
                <a:gd name="connsiteY19" fmla="*/ 615029 h 734377"/>
                <a:gd name="connsiteX20" fmla="*/ 633889 w 633888"/>
                <a:gd name="connsiteY20" fmla="*/ 512731 h 734377"/>
                <a:gd name="connsiteX21" fmla="*/ 633889 w 633888"/>
                <a:gd name="connsiteY21" fmla="*/ 232886 h 734377"/>
                <a:gd name="connsiteX22" fmla="*/ 633889 w 633888"/>
                <a:gd name="connsiteY22" fmla="*/ 58769 h 734377"/>
                <a:gd name="connsiteX23" fmla="*/ 575024 w 633888"/>
                <a:gd name="connsiteY23" fmla="*/ 0 h 73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3888" h="734377">
                  <a:moveTo>
                    <a:pt x="575024" y="0"/>
                  </a:moveTo>
                  <a:lnTo>
                    <a:pt x="472916" y="0"/>
                  </a:lnTo>
                  <a:lnTo>
                    <a:pt x="273463" y="0"/>
                  </a:lnTo>
                  <a:lnTo>
                    <a:pt x="247079" y="0"/>
                  </a:lnTo>
                  <a:cubicBezTo>
                    <a:pt x="242506" y="0"/>
                    <a:pt x="238030" y="381"/>
                    <a:pt x="233648" y="857"/>
                  </a:cubicBezTo>
                  <a:lnTo>
                    <a:pt x="82487" y="1238"/>
                  </a:lnTo>
                  <a:lnTo>
                    <a:pt x="762" y="762"/>
                  </a:lnTo>
                  <a:lnTo>
                    <a:pt x="762" y="141637"/>
                  </a:lnTo>
                  <a:lnTo>
                    <a:pt x="0" y="141637"/>
                  </a:lnTo>
                  <a:lnTo>
                    <a:pt x="0" y="455771"/>
                  </a:lnTo>
                  <a:lnTo>
                    <a:pt x="93250" y="455771"/>
                  </a:lnTo>
                  <a:lnTo>
                    <a:pt x="105346" y="455771"/>
                  </a:lnTo>
                  <a:lnTo>
                    <a:pt x="110776" y="455771"/>
                  </a:lnTo>
                  <a:lnTo>
                    <a:pt x="110776" y="734378"/>
                  </a:lnTo>
                  <a:lnTo>
                    <a:pt x="182309" y="734378"/>
                  </a:lnTo>
                  <a:lnTo>
                    <a:pt x="218504" y="734378"/>
                  </a:lnTo>
                  <a:lnTo>
                    <a:pt x="324993" y="734378"/>
                  </a:lnTo>
                  <a:lnTo>
                    <a:pt x="324993" y="711232"/>
                  </a:lnTo>
                  <a:cubicBezTo>
                    <a:pt x="333756" y="656939"/>
                    <a:pt x="381000" y="615029"/>
                    <a:pt x="437674" y="615029"/>
                  </a:cubicBezTo>
                  <a:lnTo>
                    <a:pt x="633889" y="615029"/>
                  </a:lnTo>
                  <a:lnTo>
                    <a:pt x="633889" y="512731"/>
                  </a:lnTo>
                  <a:lnTo>
                    <a:pt x="633889" y="232886"/>
                  </a:lnTo>
                  <a:lnTo>
                    <a:pt x="633889" y="58769"/>
                  </a:lnTo>
                  <a:cubicBezTo>
                    <a:pt x="633699" y="26384"/>
                    <a:pt x="607314" y="0"/>
                    <a:pt x="575024" y="0"/>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grpSp>
      <p:pic>
        <p:nvPicPr>
          <p:cNvPr id="2" name="Picture 1">
            <a:extLst>
              <a:ext uri="{FF2B5EF4-FFF2-40B4-BE49-F238E27FC236}">
                <a16:creationId xmlns:a16="http://schemas.microsoft.com/office/drawing/2014/main" id="{A6D112D6-A813-FB87-F21F-8CAA5A582555}"/>
              </a:ext>
            </a:extLst>
          </p:cNvPr>
          <p:cNvPicPr>
            <a:picLocks noChangeAspect="1"/>
          </p:cNvPicPr>
          <p:nvPr userDrawn="1"/>
        </p:nvPicPr>
        <p:blipFill>
          <a:blip r:embed="rId2"/>
          <a:stretch>
            <a:fillRect/>
          </a:stretch>
        </p:blipFill>
        <p:spPr>
          <a:xfrm>
            <a:off x="252384" y="5137252"/>
            <a:ext cx="1002752" cy="305962"/>
          </a:xfrm>
          <a:prstGeom prst="rect">
            <a:avLst/>
          </a:prstGeom>
        </p:spPr>
      </p:pic>
      <p:pic>
        <p:nvPicPr>
          <p:cNvPr id="3" name="Picture 2">
            <a:extLst>
              <a:ext uri="{FF2B5EF4-FFF2-40B4-BE49-F238E27FC236}">
                <a16:creationId xmlns:a16="http://schemas.microsoft.com/office/drawing/2014/main" id="{7682D630-5EBC-C73D-FC58-22F772140DA6}"/>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365572" y="4216462"/>
            <a:ext cx="816258" cy="529678"/>
          </a:xfrm>
          <a:prstGeom prst="rect">
            <a:avLst/>
          </a:prstGeom>
        </p:spPr>
      </p:pic>
      <p:pic>
        <p:nvPicPr>
          <p:cNvPr id="4" name="Picture 3">
            <a:extLst>
              <a:ext uri="{FF2B5EF4-FFF2-40B4-BE49-F238E27FC236}">
                <a16:creationId xmlns:a16="http://schemas.microsoft.com/office/drawing/2014/main" id="{04411E3E-7A02-53E6-F895-68BFD8EE45E0}"/>
              </a:ext>
            </a:extLst>
          </p:cNvPr>
          <p:cNvPicPr>
            <a:picLocks noChangeAspect="1"/>
          </p:cNvPicPr>
          <p:nvPr userDrawn="1"/>
        </p:nvPicPr>
        <p:blipFill>
          <a:blip r:embed="rId4"/>
          <a:srcRect/>
          <a:stretch/>
        </p:blipFill>
        <p:spPr>
          <a:xfrm>
            <a:off x="390466" y="2421002"/>
            <a:ext cx="824853" cy="322740"/>
          </a:xfrm>
          <a:prstGeom prst="rect">
            <a:avLst/>
          </a:prstGeom>
        </p:spPr>
      </p:pic>
      <p:pic>
        <p:nvPicPr>
          <p:cNvPr id="5" name="Picture 4">
            <a:extLst>
              <a:ext uri="{FF2B5EF4-FFF2-40B4-BE49-F238E27FC236}">
                <a16:creationId xmlns:a16="http://schemas.microsoft.com/office/drawing/2014/main" id="{17D2A04D-A93F-78E9-BAC3-7B9C7612ABDE}"/>
              </a:ext>
            </a:extLst>
          </p:cNvPr>
          <p:cNvPicPr>
            <a:picLocks noChangeAspect="1"/>
          </p:cNvPicPr>
          <p:nvPr userDrawn="1"/>
        </p:nvPicPr>
        <p:blipFill>
          <a:blip r:embed="rId5"/>
          <a:stretch>
            <a:fillRect/>
          </a:stretch>
        </p:blipFill>
        <p:spPr>
          <a:xfrm>
            <a:off x="356254" y="3550937"/>
            <a:ext cx="798402" cy="325052"/>
          </a:xfrm>
          <a:prstGeom prst="rect">
            <a:avLst/>
          </a:prstGeom>
        </p:spPr>
      </p:pic>
      <p:pic>
        <p:nvPicPr>
          <p:cNvPr id="6" name="Picture 12" descr="http://www.ingenieurjobs.de/content/tinybrowser/image/transnetbw_gmbh.jpg">
            <a:extLst>
              <a:ext uri="{FF2B5EF4-FFF2-40B4-BE49-F238E27FC236}">
                <a16:creationId xmlns:a16="http://schemas.microsoft.com/office/drawing/2014/main" id="{AE514E7F-5C63-F529-1A34-E6FBF96286E9}"/>
              </a:ext>
            </a:extLst>
          </p:cNvPr>
          <p:cNvPicPr>
            <a:picLocks noChangeAspect="1" noChangeArrowheads="1"/>
          </p:cNvPicPr>
          <p:nvPr userDrawn="1"/>
        </p:nvPicPr>
        <p:blipFill>
          <a:blip r:embed="rId6" cstate="hqprint">
            <a:extLst>
              <a:ext uri="{28A0092B-C50C-407E-A947-70E740481C1C}">
                <a14:useLocalDpi xmlns:a14="http://schemas.microsoft.com/office/drawing/2010/main" val="0"/>
              </a:ext>
            </a:extLst>
          </a:blip>
          <a:srcRect/>
          <a:stretch>
            <a:fillRect/>
          </a:stretch>
        </p:blipFill>
        <p:spPr bwMode="auto">
          <a:xfrm>
            <a:off x="1233924" y="5392629"/>
            <a:ext cx="1026752" cy="164762"/>
          </a:xfrm>
          <a:prstGeom prst="rect">
            <a:avLst/>
          </a:prstGeom>
          <a:noFill/>
          <a:extLst>
            <a:ext uri="{909E8E84-426E-40dd-AFC4-6F175D3DCCD1}">
              <a14:hiddenFill xmlns=""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67647DF0-36A5-70DA-B150-0758EA2B3B50}"/>
              </a:ext>
            </a:extLst>
          </p:cNvPr>
          <p:cNvPicPr>
            <a:picLocks noChangeAspect="1"/>
          </p:cNvPicPr>
          <p:nvPr userDrawn="1"/>
        </p:nvPicPr>
        <p:blipFill>
          <a:blip r:embed="rId7"/>
          <a:stretch>
            <a:fillRect/>
          </a:stretch>
        </p:blipFill>
        <p:spPr>
          <a:xfrm>
            <a:off x="1403041" y="2147510"/>
            <a:ext cx="745925" cy="379476"/>
          </a:xfrm>
          <a:prstGeom prst="rect">
            <a:avLst/>
          </a:prstGeom>
        </p:spPr>
      </p:pic>
      <p:pic>
        <p:nvPicPr>
          <p:cNvPr id="8" name="Picture 7">
            <a:extLst>
              <a:ext uri="{FF2B5EF4-FFF2-40B4-BE49-F238E27FC236}">
                <a16:creationId xmlns:a16="http://schemas.microsoft.com/office/drawing/2014/main" id="{ECD99829-6E2C-2780-C4C0-2193EBD86EDF}"/>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r="66927"/>
          <a:stretch/>
        </p:blipFill>
        <p:spPr>
          <a:xfrm>
            <a:off x="1395437" y="2752294"/>
            <a:ext cx="776629" cy="253934"/>
          </a:xfrm>
          <a:prstGeom prst="rect">
            <a:avLst/>
          </a:prstGeom>
        </p:spPr>
      </p:pic>
      <p:pic>
        <p:nvPicPr>
          <p:cNvPr id="9" name="Picture 8">
            <a:extLst>
              <a:ext uri="{FF2B5EF4-FFF2-40B4-BE49-F238E27FC236}">
                <a16:creationId xmlns:a16="http://schemas.microsoft.com/office/drawing/2014/main" id="{12FFE579-86BB-4860-4593-BD2F9B7B7B0D}"/>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355568" y="4698332"/>
            <a:ext cx="729644" cy="196596"/>
          </a:xfrm>
          <a:prstGeom prst="rect">
            <a:avLst/>
          </a:prstGeom>
        </p:spPr>
      </p:pic>
      <p:pic>
        <p:nvPicPr>
          <p:cNvPr id="10" name="Picture 9">
            <a:extLst>
              <a:ext uri="{FF2B5EF4-FFF2-40B4-BE49-F238E27FC236}">
                <a16:creationId xmlns:a16="http://schemas.microsoft.com/office/drawing/2014/main" id="{1968CD2C-FB03-C31E-D560-339B5978F7A3}"/>
              </a:ext>
            </a:extLst>
          </p:cNvPr>
          <p:cNvPicPr>
            <a:picLocks noChangeAspect="1"/>
          </p:cNvPicPr>
          <p:nvPr userDrawn="1"/>
        </p:nvPicPr>
        <p:blipFill>
          <a:blip r:embed="rId10"/>
          <a:stretch>
            <a:fillRect/>
          </a:stretch>
        </p:blipFill>
        <p:spPr>
          <a:xfrm>
            <a:off x="354096" y="5476258"/>
            <a:ext cx="780049" cy="396119"/>
          </a:xfrm>
          <a:prstGeom prst="rect">
            <a:avLst/>
          </a:prstGeom>
        </p:spPr>
      </p:pic>
      <p:pic>
        <p:nvPicPr>
          <p:cNvPr id="11" name="Picture 10">
            <a:extLst>
              <a:ext uri="{FF2B5EF4-FFF2-40B4-BE49-F238E27FC236}">
                <a16:creationId xmlns:a16="http://schemas.microsoft.com/office/drawing/2014/main" id="{C6B22475-1BE6-C34D-4D84-3293B11F00F0}"/>
              </a:ext>
            </a:extLst>
          </p:cNvPr>
          <p:cNvPicPr>
            <a:picLocks noChangeAspect="1"/>
          </p:cNvPicPr>
          <p:nvPr userDrawn="1"/>
        </p:nvPicPr>
        <p:blipFill>
          <a:blip r:embed="rId11" cstate="hqprint">
            <a:extLst>
              <a:ext uri="{28A0092B-C50C-407E-A947-70E740481C1C}">
                <a14:useLocalDpi xmlns:a14="http://schemas.microsoft.com/office/drawing/2010/main"/>
              </a:ext>
            </a:extLst>
          </a:blip>
          <a:stretch>
            <a:fillRect/>
          </a:stretch>
        </p:blipFill>
        <p:spPr>
          <a:xfrm>
            <a:off x="1494098" y="3158657"/>
            <a:ext cx="487572" cy="366468"/>
          </a:xfrm>
          <a:prstGeom prst="rect">
            <a:avLst/>
          </a:prstGeom>
        </p:spPr>
      </p:pic>
      <p:pic>
        <p:nvPicPr>
          <p:cNvPr id="12" name="Picture 11">
            <a:extLst>
              <a:ext uri="{FF2B5EF4-FFF2-40B4-BE49-F238E27FC236}">
                <a16:creationId xmlns:a16="http://schemas.microsoft.com/office/drawing/2014/main" id="{20AE1307-D412-5FB8-2E4F-1C94F5880703}"/>
              </a:ext>
            </a:extLst>
          </p:cNvPr>
          <p:cNvPicPr>
            <a:picLocks noChangeAspect="1"/>
          </p:cNvPicPr>
          <p:nvPr userDrawn="1"/>
        </p:nvPicPr>
        <p:blipFill>
          <a:blip r:embed="rId12"/>
          <a:stretch>
            <a:fillRect/>
          </a:stretch>
        </p:blipFill>
        <p:spPr>
          <a:xfrm>
            <a:off x="399791" y="4088566"/>
            <a:ext cx="884747" cy="345045"/>
          </a:xfrm>
          <a:prstGeom prst="rect">
            <a:avLst/>
          </a:prstGeom>
        </p:spPr>
      </p:pic>
      <p:pic>
        <p:nvPicPr>
          <p:cNvPr id="13" name="Picture 12">
            <a:extLst>
              <a:ext uri="{FF2B5EF4-FFF2-40B4-BE49-F238E27FC236}">
                <a16:creationId xmlns:a16="http://schemas.microsoft.com/office/drawing/2014/main" id="{E21E9C43-3E8F-FC12-D30C-FF7E2CEA417C}"/>
              </a:ext>
            </a:extLst>
          </p:cNvPr>
          <p:cNvPicPr>
            <a:picLocks noChangeAspect="1"/>
          </p:cNvPicPr>
          <p:nvPr userDrawn="1"/>
        </p:nvPicPr>
        <p:blipFill>
          <a:blip r:embed="rId13"/>
          <a:stretch>
            <a:fillRect/>
          </a:stretch>
        </p:blipFill>
        <p:spPr>
          <a:xfrm>
            <a:off x="266438" y="2964887"/>
            <a:ext cx="938241" cy="358625"/>
          </a:xfrm>
          <a:prstGeom prst="rect">
            <a:avLst/>
          </a:prstGeom>
        </p:spPr>
      </p:pic>
      <p:pic>
        <p:nvPicPr>
          <p:cNvPr id="14" name="Picture 13">
            <a:extLst>
              <a:ext uri="{FF2B5EF4-FFF2-40B4-BE49-F238E27FC236}">
                <a16:creationId xmlns:a16="http://schemas.microsoft.com/office/drawing/2014/main" id="{809A16A2-C406-D88F-C345-D328F81D2F03}"/>
              </a:ext>
            </a:extLst>
          </p:cNvPr>
          <p:cNvPicPr>
            <a:picLocks noChangeAspect="1"/>
          </p:cNvPicPr>
          <p:nvPr userDrawn="1"/>
        </p:nvPicPr>
        <p:blipFill>
          <a:blip r:embed="rId14"/>
          <a:stretch>
            <a:fillRect/>
          </a:stretch>
        </p:blipFill>
        <p:spPr>
          <a:xfrm>
            <a:off x="252384" y="1981362"/>
            <a:ext cx="1026422" cy="305962"/>
          </a:xfrm>
          <a:prstGeom prst="rect">
            <a:avLst/>
          </a:prstGeom>
        </p:spPr>
      </p:pic>
      <p:pic>
        <p:nvPicPr>
          <p:cNvPr id="17" name="Graphic 16">
            <a:extLst>
              <a:ext uri="{FF2B5EF4-FFF2-40B4-BE49-F238E27FC236}">
                <a16:creationId xmlns:a16="http://schemas.microsoft.com/office/drawing/2014/main" id="{82AAAF54-F688-5FA5-C1AF-F5E574997955}"/>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1243144" y="4959290"/>
            <a:ext cx="1008311" cy="155658"/>
          </a:xfrm>
          <a:prstGeom prst="rect">
            <a:avLst/>
          </a:prstGeom>
        </p:spPr>
      </p:pic>
      <p:pic>
        <p:nvPicPr>
          <p:cNvPr id="18" name="Graphic 17">
            <a:extLst>
              <a:ext uri="{FF2B5EF4-FFF2-40B4-BE49-F238E27FC236}">
                <a16:creationId xmlns:a16="http://schemas.microsoft.com/office/drawing/2014/main" id="{5018C2E6-C376-9EFA-01D9-BDA0DD2A7498}"/>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1373663" y="3678056"/>
            <a:ext cx="745925" cy="233102"/>
          </a:xfrm>
          <a:prstGeom prst="rect">
            <a:avLst/>
          </a:prstGeom>
        </p:spPr>
      </p:pic>
    </p:spTree>
    <p:extLst>
      <p:ext uri="{BB962C8B-B14F-4D97-AF65-F5344CB8AC3E}">
        <p14:creationId xmlns:p14="http://schemas.microsoft.com/office/powerpoint/2010/main" val="323892074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ppendix">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lvl1pPr>
              <a:defRPr b="0" i="0"/>
            </a:lvl1pPr>
          </a:lstStyle>
          <a:p>
            <a:fld id="{F551322C-20B2-48C3-B63D-68158FEBF630}" type="slidenum">
              <a:rPr lang="en-US" smtClean="0"/>
              <a:pPr/>
              <a:t>‹#›</a:t>
            </a:fld>
            <a:endParaRPr lang="en-US"/>
          </a:p>
        </p:txBody>
      </p:sp>
      <p:sp>
        <p:nvSpPr>
          <p:cNvPr id="22" name="Text Placeholder 15"/>
          <p:cNvSpPr>
            <a:spLocks noGrp="1"/>
          </p:cNvSpPr>
          <p:nvPr>
            <p:ph type="body" sz="quarter" idx="12" hasCustomPrompt="1"/>
          </p:nvPr>
        </p:nvSpPr>
        <p:spPr>
          <a:xfrm>
            <a:off x="2372329" y="1792800"/>
            <a:ext cx="9101929" cy="792162"/>
          </a:xfrm>
          <a:prstGeom prst="rect">
            <a:avLst/>
          </a:prstGeom>
        </p:spPr>
        <p:txBody>
          <a:bodyPr vert="horz" wrap="square" lIns="72000" tIns="36000" rIns="72000" bIns="36000" rtlCol="0" anchor="ctr" anchorCtr="0">
            <a:noAutofit/>
          </a:bodyPr>
          <a:lstStyle>
            <a:lvl1pPr>
              <a:defRPr lang="en-US" sz="3000" b="0" i="0" baseline="0" dirty="0">
                <a:solidFill>
                  <a:srgbClr val="3366FF"/>
                </a:solidFill>
              </a:defRPr>
            </a:lvl1pPr>
          </a:lstStyle>
          <a:p>
            <a:pPr lvl="0"/>
            <a:r>
              <a:rPr lang="en-US"/>
              <a:t>Appendix</a:t>
            </a:r>
          </a:p>
        </p:txBody>
      </p:sp>
      <p:pic>
        <p:nvPicPr>
          <p:cNvPr id="2" name="Picture 1">
            <a:extLst>
              <a:ext uri="{FF2B5EF4-FFF2-40B4-BE49-F238E27FC236}">
                <a16:creationId xmlns:a16="http://schemas.microsoft.com/office/drawing/2014/main" id="{325C41A2-B6F8-377B-DB5C-DAD682AA35F7}"/>
              </a:ext>
            </a:extLst>
          </p:cNvPr>
          <p:cNvPicPr>
            <a:picLocks noChangeAspect="1"/>
          </p:cNvPicPr>
          <p:nvPr userDrawn="1"/>
        </p:nvPicPr>
        <p:blipFill>
          <a:blip r:embed="rId2"/>
          <a:stretch>
            <a:fillRect/>
          </a:stretch>
        </p:blipFill>
        <p:spPr>
          <a:xfrm>
            <a:off x="252384" y="5137252"/>
            <a:ext cx="1002752" cy="305962"/>
          </a:xfrm>
          <a:prstGeom prst="rect">
            <a:avLst/>
          </a:prstGeom>
        </p:spPr>
      </p:pic>
      <p:pic>
        <p:nvPicPr>
          <p:cNvPr id="3" name="Picture 2">
            <a:extLst>
              <a:ext uri="{FF2B5EF4-FFF2-40B4-BE49-F238E27FC236}">
                <a16:creationId xmlns:a16="http://schemas.microsoft.com/office/drawing/2014/main" id="{76268EF1-6454-6563-7B7E-07AC6C55E94B}"/>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365572" y="4216462"/>
            <a:ext cx="816258" cy="529678"/>
          </a:xfrm>
          <a:prstGeom prst="rect">
            <a:avLst/>
          </a:prstGeom>
        </p:spPr>
      </p:pic>
      <p:pic>
        <p:nvPicPr>
          <p:cNvPr id="5" name="Picture 4">
            <a:extLst>
              <a:ext uri="{FF2B5EF4-FFF2-40B4-BE49-F238E27FC236}">
                <a16:creationId xmlns:a16="http://schemas.microsoft.com/office/drawing/2014/main" id="{F826556A-C928-97B2-91C2-93233EDDD7A3}"/>
              </a:ext>
            </a:extLst>
          </p:cNvPr>
          <p:cNvPicPr>
            <a:picLocks noChangeAspect="1"/>
          </p:cNvPicPr>
          <p:nvPr userDrawn="1"/>
        </p:nvPicPr>
        <p:blipFill>
          <a:blip r:embed="rId4"/>
          <a:srcRect/>
          <a:stretch/>
        </p:blipFill>
        <p:spPr>
          <a:xfrm>
            <a:off x="390466" y="2421002"/>
            <a:ext cx="824853" cy="322740"/>
          </a:xfrm>
          <a:prstGeom prst="rect">
            <a:avLst/>
          </a:prstGeom>
        </p:spPr>
      </p:pic>
      <p:pic>
        <p:nvPicPr>
          <p:cNvPr id="6" name="Picture 5">
            <a:extLst>
              <a:ext uri="{FF2B5EF4-FFF2-40B4-BE49-F238E27FC236}">
                <a16:creationId xmlns:a16="http://schemas.microsoft.com/office/drawing/2014/main" id="{B1A3737A-0FA9-3E2D-C6CA-7140C88E3E46}"/>
              </a:ext>
            </a:extLst>
          </p:cNvPr>
          <p:cNvPicPr>
            <a:picLocks noChangeAspect="1"/>
          </p:cNvPicPr>
          <p:nvPr userDrawn="1"/>
        </p:nvPicPr>
        <p:blipFill>
          <a:blip r:embed="rId5"/>
          <a:stretch>
            <a:fillRect/>
          </a:stretch>
        </p:blipFill>
        <p:spPr>
          <a:xfrm>
            <a:off x="356254" y="3550937"/>
            <a:ext cx="798402" cy="325052"/>
          </a:xfrm>
          <a:prstGeom prst="rect">
            <a:avLst/>
          </a:prstGeom>
        </p:spPr>
      </p:pic>
      <p:pic>
        <p:nvPicPr>
          <p:cNvPr id="7" name="Picture 12" descr="http://www.ingenieurjobs.de/content/tinybrowser/image/transnetbw_gmbh.jpg">
            <a:extLst>
              <a:ext uri="{FF2B5EF4-FFF2-40B4-BE49-F238E27FC236}">
                <a16:creationId xmlns:a16="http://schemas.microsoft.com/office/drawing/2014/main" id="{A6E60D26-1B81-F5D4-FE28-D6D97533E569}"/>
              </a:ext>
            </a:extLst>
          </p:cNvPr>
          <p:cNvPicPr>
            <a:picLocks noChangeAspect="1" noChangeArrowheads="1"/>
          </p:cNvPicPr>
          <p:nvPr userDrawn="1"/>
        </p:nvPicPr>
        <p:blipFill>
          <a:blip r:embed="rId6" cstate="hqprint">
            <a:extLst>
              <a:ext uri="{28A0092B-C50C-407E-A947-70E740481C1C}">
                <a14:useLocalDpi xmlns:a14="http://schemas.microsoft.com/office/drawing/2010/main" val="0"/>
              </a:ext>
            </a:extLst>
          </a:blip>
          <a:srcRect/>
          <a:stretch>
            <a:fillRect/>
          </a:stretch>
        </p:blipFill>
        <p:spPr bwMode="auto">
          <a:xfrm>
            <a:off x="1233924" y="5392629"/>
            <a:ext cx="1026752" cy="164762"/>
          </a:xfrm>
          <a:prstGeom prst="rect">
            <a:avLst/>
          </a:prstGeom>
          <a:noFill/>
          <a:extLst>
            <a:ext uri="{909E8E84-426E-40dd-AFC4-6F175D3DCCD1}">
              <a14:hiddenFill xmlns=""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4075FC07-0253-87A8-8F69-CAD895057822}"/>
              </a:ext>
            </a:extLst>
          </p:cNvPr>
          <p:cNvPicPr>
            <a:picLocks noChangeAspect="1"/>
          </p:cNvPicPr>
          <p:nvPr userDrawn="1"/>
        </p:nvPicPr>
        <p:blipFill>
          <a:blip r:embed="rId7"/>
          <a:stretch>
            <a:fillRect/>
          </a:stretch>
        </p:blipFill>
        <p:spPr>
          <a:xfrm>
            <a:off x="1403041" y="2147510"/>
            <a:ext cx="745925" cy="379476"/>
          </a:xfrm>
          <a:prstGeom prst="rect">
            <a:avLst/>
          </a:prstGeom>
        </p:spPr>
      </p:pic>
      <p:pic>
        <p:nvPicPr>
          <p:cNvPr id="9" name="Picture 8">
            <a:extLst>
              <a:ext uri="{FF2B5EF4-FFF2-40B4-BE49-F238E27FC236}">
                <a16:creationId xmlns:a16="http://schemas.microsoft.com/office/drawing/2014/main" id="{80F01602-0FDE-9107-B106-A07336B782D6}"/>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r="66927"/>
          <a:stretch/>
        </p:blipFill>
        <p:spPr>
          <a:xfrm>
            <a:off x="1395437" y="2752294"/>
            <a:ext cx="776629" cy="253934"/>
          </a:xfrm>
          <a:prstGeom prst="rect">
            <a:avLst/>
          </a:prstGeom>
        </p:spPr>
      </p:pic>
      <p:pic>
        <p:nvPicPr>
          <p:cNvPr id="10" name="Picture 9">
            <a:extLst>
              <a:ext uri="{FF2B5EF4-FFF2-40B4-BE49-F238E27FC236}">
                <a16:creationId xmlns:a16="http://schemas.microsoft.com/office/drawing/2014/main" id="{2002D97F-F4DC-5A09-5C71-F8665E0198E0}"/>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355568" y="4698332"/>
            <a:ext cx="729644" cy="196596"/>
          </a:xfrm>
          <a:prstGeom prst="rect">
            <a:avLst/>
          </a:prstGeom>
        </p:spPr>
      </p:pic>
      <p:pic>
        <p:nvPicPr>
          <p:cNvPr id="11" name="Picture 10">
            <a:extLst>
              <a:ext uri="{FF2B5EF4-FFF2-40B4-BE49-F238E27FC236}">
                <a16:creationId xmlns:a16="http://schemas.microsoft.com/office/drawing/2014/main" id="{7E1628E0-AB32-FDD2-0F65-701B90EB477A}"/>
              </a:ext>
            </a:extLst>
          </p:cNvPr>
          <p:cNvPicPr>
            <a:picLocks noChangeAspect="1"/>
          </p:cNvPicPr>
          <p:nvPr userDrawn="1"/>
        </p:nvPicPr>
        <p:blipFill>
          <a:blip r:embed="rId10"/>
          <a:stretch>
            <a:fillRect/>
          </a:stretch>
        </p:blipFill>
        <p:spPr>
          <a:xfrm>
            <a:off x="354096" y="5476258"/>
            <a:ext cx="780049" cy="396119"/>
          </a:xfrm>
          <a:prstGeom prst="rect">
            <a:avLst/>
          </a:prstGeom>
        </p:spPr>
      </p:pic>
      <p:pic>
        <p:nvPicPr>
          <p:cNvPr id="12" name="Picture 11">
            <a:extLst>
              <a:ext uri="{FF2B5EF4-FFF2-40B4-BE49-F238E27FC236}">
                <a16:creationId xmlns:a16="http://schemas.microsoft.com/office/drawing/2014/main" id="{15A20B66-9805-AB3F-37B0-44DE9E82FA0A}"/>
              </a:ext>
            </a:extLst>
          </p:cNvPr>
          <p:cNvPicPr>
            <a:picLocks noChangeAspect="1"/>
          </p:cNvPicPr>
          <p:nvPr userDrawn="1"/>
        </p:nvPicPr>
        <p:blipFill>
          <a:blip r:embed="rId11" cstate="hqprint">
            <a:extLst>
              <a:ext uri="{28A0092B-C50C-407E-A947-70E740481C1C}">
                <a14:useLocalDpi xmlns:a14="http://schemas.microsoft.com/office/drawing/2010/main"/>
              </a:ext>
            </a:extLst>
          </a:blip>
          <a:stretch>
            <a:fillRect/>
          </a:stretch>
        </p:blipFill>
        <p:spPr>
          <a:xfrm>
            <a:off x="1494098" y="3158657"/>
            <a:ext cx="487572" cy="366468"/>
          </a:xfrm>
          <a:prstGeom prst="rect">
            <a:avLst/>
          </a:prstGeom>
        </p:spPr>
      </p:pic>
      <p:pic>
        <p:nvPicPr>
          <p:cNvPr id="13" name="Picture 12">
            <a:extLst>
              <a:ext uri="{FF2B5EF4-FFF2-40B4-BE49-F238E27FC236}">
                <a16:creationId xmlns:a16="http://schemas.microsoft.com/office/drawing/2014/main" id="{467CC714-B58B-8D03-1ACD-30BD514CD792}"/>
              </a:ext>
            </a:extLst>
          </p:cNvPr>
          <p:cNvPicPr>
            <a:picLocks noChangeAspect="1"/>
          </p:cNvPicPr>
          <p:nvPr userDrawn="1"/>
        </p:nvPicPr>
        <p:blipFill>
          <a:blip r:embed="rId12"/>
          <a:stretch>
            <a:fillRect/>
          </a:stretch>
        </p:blipFill>
        <p:spPr>
          <a:xfrm>
            <a:off x="399791" y="4088566"/>
            <a:ext cx="884747" cy="345045"/>
          </a:xfrm>
          <a:prstGeom prst="rect">
            <a:avLst/>
          </a:prstGeom>
        </p:spPr>
      </p:pic>
      <p:pic>
        <p:nvPicPr>
          <p:cNvPr id="14" name="Picture 13">
            <a:extLst>
              <a:ext uri="{FF2B5EF4-FFF2-40B4-BE49-F238E27FC236}">
                <a16:creationId xmlns:a16="http://schemas.microsoft.com/office/drawing/2014/main" id="{5B7DB686-2F71-3E7B-6CF0-A57FD01D7922}"/>
              </a:ext>
            </a:extLst>
          </p:cNvPr>
          <p:cNvPicPr>
            <a:picLocks noChangeAspect="1"/>
          </p:cNvPicPr>
          <p:nvPr userDrawn="1"/>
        </p:nvPicPr>
        <p:blipFill>
          <a:blip r:embed="rId13"/>
          <a:stretch>
            <a:fillRect/>
          </a:stretch>
        </p:blipFill>
        <p:spPr>
          <a:xfrm>
            <a:off x="266438" y="2964887"/>
            <a:ext cx="938241" cy="358625"/>
          </a:xfrm>
          <a:prstGeom prst="rect">
            <a:avLst/>
          </a:prstGeom>
        </p:spPr>
      </p:pic>
      <p:pic>
        <p:nvPicPr>
          <p:cNvPr id="15" name="Picture 14">
            <a:extLst>
              <a:ext uri="{FF2B5EF4-FFF2-40B4-BE49-F238E27FC236}">
                <a16:creationId xmlns:a16="http://schemas.microsoft.com/office/drawing/2014/main" id="{3CAE3B7D-71C2-686A-801D-1F320FF25815}"/>
              </a:ext>
            </a:extLst>
          </p:cNvPr>
          <p:cNvPicPr>
            <a:picLocks noChangeAspect="1"/>
          </p:cNvPicPr>
          <p:nvPr userDrawn="1"/>
        </p:nvPicPr>
        <p:blipFill>
          <a:blip r:embed="rId14"/>
          <a:stretch>
            <a:fillRect/>
          </a:stretch>
        </p:blipFill>
        <p:spPr>
          <a:xfrm>
            <a:off x="252384" y="1981362"/>
            <a:ext cx="1026422" cy="305962"/>
          </a:xfrm>
          <a:prstGeom prst="rect">
            <a:avLst/>
          </a:prstGeom>
        </p:spPr>
      </p:pic>
      <p:pic>
        <p:nvPicPr>
          <p:cNvPr id="16" name="Graphic 15">
            <a:extLst>
              <a:ext uri="{FF2B5EF4-FFF2-40B4-BE49-F238E27FC236}">
                <a16:creationId xmlns:a16="http://schemas.microsoft.com/office/drawing/2014/main" id="{29129BA6-576F-4060-68EB-208026304760}"/>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1243144" y="4959290"/>
            <a:ext cx="1008311" cy="155658"/>
          </a:xfrm>
          <a:prstGeom prst="rect">
            <a:avLst/>
          </a:prstGeom>
        </p:spPr>
      </p:pic>
      <p:pic>
        <p:nvPicPr>
          <p:cNvPr id="17" name="Graphic 16">
            <a:extLst>
              <a:ext uri="{FF2B5EF4-FFF2-40B4-BE49-F238E27FC236}">
                <a16:creationId xmlns:a16="http://schemas.microsoft.com/office/drawing/2014/main" id="{DF4F05F9-147B-B59E-86F8-733099FB51C2}"/>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1373663" y="3678056"/>
            <a:ext cx="745925" cy="233102"/>
          </a:xfrm>
          <a:prstGeom prst="rect">
            <a:avLst/>
          </a:prstGeom>
        </p:spPr>
      </p:pic>
    </p:spTree>
    <p:extLst>
      <p:ext uri="{BB962C8B-B14F-4D97-AF65-F5344CB8AC3E}">
        <p14:creationId xmlns:p14="http://schemas.microsoft.com/office/powerpoint/2010/main" val="162512807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a_Content with normal text">
    <p:spTree>
      <p:nvGrpSpPr>
        <p:cNvPr id="1" name=""/>
        <p:cNvGrpSpPr/>
        <p:nvPr/>
      </p:nvGrpSpPr>
      <p:grpSpPr>
        <a:xfrm>
          <a:off x="0" y="0"/>
          <a:ext cx="0" cy="0"/>
          <a:chOff x="0" y="0"/>
          <a:chExt cx="0" cy="0"/>
        </a:xfrm>
      </p:grpSpPr>
      <p:sp>
        <p:nvSpPr>
          <p:cNvPr id="8" name="Fußzeilenplatzhalter 46"/>
          <p:cNvSpPr>
            <a:spLocks noGrp="1"/>
          </p:cNvSpPr>
          <p:nvPr>
            <p:ph type="ftr" sz="quarter" idx="3"/>
          </p:nvPr>
        </p:nvSpPr>
        <p:spPr>
          <a:xfrm>
            <a:off x="9296400" y="6282000"/>
            <a:ext cx="2006600" cy="196850"/>
          </a:xfrm>
          <a:prstGeom prst="rect">
            <a:avLst/>
          </a:prstGeom>
        </p:spPr>
        <p:txBody>
          <a:bodyPr vert="horz" wrap="none" lIns="0" tIns="45720" rIns="0" bIns="0" rtlCol="0" anchor="ctr"/>
          <a:lstStyle>
            <a:lvl1pPr algn="r">
              <a:defRPr sz="900">
                <a:solidFill>
                  <a:srgbClr val="364D54"/>
                </a:solidFill>
                <a:latin typeface="Arial"/>
                <a:cs typeface="Arial"/>
              </a:defRPr>
            </a:lvl1pPr>
          </a:lstStyle>
          <a:p>
            <a:endParaRPr lang="en-GB"/>
          </a:p>
        </p:txBody>
      </p:sp>
      <p:sp>
        <p:nvSpPr>
          <p:cNvPr id="10" name="Titelplatzhalter 10"/>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6"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 name="Text Placeholder 2">
            <a:extLst>
              <a:ext uri="{FF2B5EF4-FFF2-40B4-BE49-F238E27FC236}">
                <a16:creationId xmlns:a16="http://schemas.microsoft.com/office/drawing/2014/main" id="{1F606C2D-766B-468F-9DD8-8746F30BC1C2}"/>
              </a:ext>
            </a:extLst>
          </p:cNvPr>
          <p:cNvSpPr>
            <a:spLocks noGrp="1"/>
          </p:cNvSpPr>
          <p:nvPr>
            <p:ph type="body" sz="quarter" idx="11" hasCustomPrompt="1"/>
          </p:nvPr>
        </p:nvSpPr>
        <p:spPr>
          <a:xfrm>
            <a:off x="914400" y="1952600"/>
            <a:ext cx="9790112" cy="3636000"/>
          </a:xfrm>
          <a:prstGeom prst="rect">
            <a:avLst/>
          </a:prstGeom>
        </p:spPr>
        <p:txBody>
          <a:bodyPr/>
          <a:lstStyle>
            <a:lvl1pPr marL="0" marR="508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sz="1600">
                <a:solidFill>
                  <a:schemeClr val="accent2"/>
                </a:solidFill>
                <a:latin typeface="Arial" panose="020B0604020202020204" pitchFamily="34" charset="0"/>
                <a:cs typeface="Arial" panose="020B0604020202020204" pitchFamily="34" charset="0"/>
              </a:defRPr>
            </a:lvl1pPr>
            <a:lvl2pPr marL="721350" indent="0">
              <a:lnSpc>
                <a:spcPts val="1500"/>
              </a:lnSpc>
              <a:spcBef>
                <a:spcPts val="1000"/>
              </a:spcBef>
              <a:buClr>
                <a:srgbClr val="FF7300"/>
              </a:buClr>
              <a:buFont typeface="Arial" panose="020B0604020202020204" pitchFamily="34" charset="0"/>
              <a:buNone/>
              <a:defRPr sz="1400">
                <a:solidFill>
                  <a:schemeClr val="tx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 This text is only meant to serve as a kind of place marker, which will later be replaced by the finished text.</a:t>
            </a:r>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lvl="0"/>
            <a:endParaRPr lang="de-DE"/>
          </a:p>
        </p:txBody>
      </p:sp>
    </p:spTree>
    <p:extLst>
      <p:ext uri="{BB962C8B-B14F-4D97-AF65-F5344CB8AC3E}">
        <p14:creationId xmlns:p14="http://schemas.microsoft.com/office/powerpoint/2010/main" val="32911873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Content with normal text + graphics in footer">
    <p:spTree>
      <p:nvGrpSpPr>
        <p:cNvPr id="1" name=""/>
        <p:cNvGrpSpPr/>
        <p:nvPr/>
      </p:nvGrpSpPr>
      <p:grpSpPr>
        <a:xfrm>
          <a:off x="0" y="0"/>
          <a:ext cx="0" cy="0"/>
          <a:chOff x="0" y="0"/>
          <a:chExt cx="0" cy="0"/>
        </a:xfrm>
      </p:grpSpPr>
      <p:sp>
        <p:nvSpPr>
          <p:cNvPr id="8" name="Fußzeilenplatzhalter 46"/>
          <p:cNvSpPr>
            <a:spLocks noGrp="1"/>
          </p:cNvSpPr>
          <p:nvPr>
            <p:ph type="ftr" sz="quarter" idx="3"/>
          </p:nvPr>
        </p:nvSpPr>
        <p:spPr>
          <a:xfrm>
            <a:off x="9296400" y="6282000"/>
            <a:ext cx="2006600" cy="196850"/>
          </a:xfrm>
          <a:prstGeom prst="rect">
            <a:avLst/>
          </a:prstGeom>
        </p:spPr>
        <p:txBody>
          <a:bodyPr vert="horz" wrap="none" lIns="0" tIns="45720" rIns="0" bIns="0" rtlCol="0" anchor="ctr"/>
          <a:lstStyle>
            <a:lvl1pPr algn="r">
              <a:defRPr sz="900">
                <a:solidFill>
                  <a:srgbClr val="364D54"/>
                </a:solidFill>
                <a:latin typeface="Arial"/>
                <a:cs typeface="Arial"/>
              </a:defRPr>
            </a:lvl1pPr>
          </a:lstStyle>
          <a:p>
            <a:endParaRPr lang="en-GB"/>
          </a:p>
        </p:txBody>
      </p:sp>
      <p:sp>
        <p:nvSpPr>
          <p:cNvPr id="10" name="Titelplatzhalter 10"/>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6"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 name="Text Placeholder 2">
            <a:extLst>
              <a:ext uri="{FF2B5EF4-FFF2-40B4-BE49-F238E27FC236}">
                <a16:creationId xmlns:a16="http://schemas.microsoft.com/office/drawing/2014/main" id="{1F606C2D-766B-468F-9DD8-8746F30BC1C2}"/>
              </a:ext>
            </a:extLst>
          </p:cNvPr>
          <p:cNvSpPr>
            <a:spLocks noGrp="1"/>
          </p:cNvSpPr>
          <p:nvPr>
            <p:ph type="body" sz="quarter" idx="11" hasCustomPrompt="1"/>
          </p:nvPr>
        </p:nvSpPr>
        <p:spPr>
          <a:xfrm>
            <a:off x="914400" y="1952600"/>
            <a:ext cx="9792000" cy="3636000"/>
          </a:xfrm>
          <a:prstGeom prst="rect">
            <a:avLst/>
          </a:prstGeom>
        </p:spPr>
        <p:txBody>
          <a:bodyPr/>
          <a:lstStyle>
            <a:lvl1pPr marL="0" marR="508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sz="1600">
                <a:solidFill>
                  <a:schemeClr val="accent2"/>
                </a:solidFill>
                <a:latin typeface="Arial" panose="020B0604020202020204" pitchFamily="34" charset="0"/>
                <a:cs typeface="Arial" panose="020B0604020202020204" pitchFamily="34" charset="0"/>
              </a:defRPr>
            </a:lvl1pPr>
            <a:lvl2pPr marL="721350" indent="0">
              <a:lnSpc>
                <a:spcPts val="1500"/>
              </a:lnSpc>
              <a:spcBef>
                <a:spcPts val="1000"/>
              </a:spcBef>
              <a:buClr>
                <a:srgbClr val="FF7300"/>
              </a:buClr>
              <a:buFont typeface="Arial" panose="020B0604020202020204" pitchFamily="34" charset="0"/>
              <a:buNone/>
              <a:defRPr sz="1400">
                <a:solidFill>
                  <a:schemeClr val="tx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 This text is only meant to serve as a kind of place marker, which will later be replaced by the finished text.</a:t>
            </a:r>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lvl="0"/>
            <a:endParaRPr lang="de-DE"/>
          </a:p>
        </p:txBody>
      </p:sp>
      <p:grpSp>
        <p:nvGrpSpPr>
          <p:cNvPr id="124" name="Group 123">
            <a:extLst>
              <a:ext uri="{FF2B5EF4-FFF2-40B4-BE49-F238E27FC236}">
                <a16:creationId xmlns:a16="http://schemas.microsoft.com/office/drawing/2014/main" id="{73FE819F-5834-4C3E-A5C6-5BDF0FC6E46B}"/>
              </a:ext>
            </a:extLst>
          </p:cNvPr>
          <p:cNvGrpSpPr/>
          <p:nvPr userDrawn="1"/>
        </p:nvGrpSpPr>
        <p:grpSpPr>
          <a:xfrm>
            <a:off x="0" y="5964940"/>
            <a:ext cx="9078301" cy="535703"/>
            <a:chOff x="0" y="5964940"/>
            <a:chExt cx="9078301" cy="535703"/>
          </a:xfrm>
        </p:grpSpPr>
        <p:grpSp>
          <p:nvGrpSpPr>
            <p:cNvPr id="2" name="Group 1">
              <a:extLst>
                <a:ext uri="{FF2B5EF4-FFF2-40B4-BE49-F238E27FC236}">
                  <a16:creationId xmlns:a16="http://schemas.microsoft.com/office/drawing/2014/main" id="{53034290-09A2-4602-A8E9-107E7742B48D}"/>
                </a:ext>
              </a:extLst>
            </p:cNvPr>
            <p:cNvGrpSpPr/>
            <p:nvPr userDrawn="1"/>
          </p:nvGrpSpPr>
          <p:grpSpPr>
            <a:xfrm>
              <a:off x="8906480" y="5964940"/>
              <a:ext cx="171821" cy="171821"/>
              <a:chOff x="10960096" y="4204963"/>
              <a:chExt cx="405867" cy="405866"/>
            </a:xfrm>
          </p:grpSpPr>
          <p:sp>
            <p:nvSpPr>
              <p:cNvPr id="104" name="object 26">
                <a:extLst>
                  <a:ext uri="{FF2B5EF4-FFF2-40B4-BE49-F238E27FC236}">
                    <a16:creationId xmlns:a16="http://schemas.microsoft.com/office/drawing/2014/main" id="{BD81D32F-6CA7-479D-BD5D-A12ED4E2DDED}"/>
                  </a:ext>
                </a:extLst>
              </p:cNvPr>
              <p:cNvSpPr/>
              <p:nvPr userDrawn="1"/>
            </p:nvSpPr>
            <p:spPr>
              <a:xfrm>
                <a:off x="11162878" y="4204963"/>
                <a:ext cx="0" cy="64807"/>
              </a:xfrm>
              <a:custGeom>
                <a:avLst/>
                <a:gdLst/>
                <a:ahLst/>
                <a:cxnLst/>
                <a:rect l="l" t="t" r="r" b="b"/>
                <a:pathLst>
                  <a:path h="78739">
                    <a:moveTo>
                      <a:pt x="0" y="78371"/>
                    </a:moveTo>
                    <a:lnTo>
                      <a:pt x="0" y="0"/>
                    </a:lnTo>
                  </a:path>
                </a:pathLst>
              </a:custGeom>
              <a:ln w="12700">
                <a:solidFill>
                  <a:schemeClr val="bg2"/>
                </a:solidFill>
              </a:ln>
            </p:spPr>
            <p:txBody>
              <a:bodyPr wrap="square" lIns="0" tIns="0" rIns="0" bIns="0" rtlCol="0"/>
              <a:lstStyle/>
              <a:p>
                <a:endParaRPr/>
              </a:p>
            </p:txBody>
          </p:sp>
          <p:sp>
            <p:nvSpPr>
              <p:cNvPr id="105" name="object 27">
                <a:extLst>
                  <a:ext uri="{FF2B5EF4-FFF2-40B4-BE49-F238E27FC236}">
                    <a16:creationId xmlns:a16="http://schemas.microsoft.com/office/drawing/2014/main" id="{68B70203-FB65-4009-88F3-3841DE066B2E}"/>
                  </a:ext>
                </a:extLst>
              </p:cNvPr>
              <p:cNvSpPr/>
              <p:nvPr userDrawn="1"/>
            </p:nvSpPr>
            <p:spPr>
              <a:xfrm>
                <a:off x="10960096" y="4407744"/>
                <a:ext cx="64807" cy="0"/>
              </a:xfrm>
              <a:custGeom>
                <a:avLst/>
                <a:gdLst/>
                <a:ahLst/>
                <a:cxnLst/>
                <a:rect l="l" t="t" r="r" b="b"/>
                <a:pathLst>
                  <a:path w="78740">
                    <a:moveTo>
                      <a:pt x="78371" y="0"/>
                    </a:moveTo>
                    <a:lnTo>
                      <a:pt x="0" y="0"/>
                    </a:lnTo>
                  </a:path>
                </a:pathLst>
              </a:custGeom>
              <a:ln w="12700">
                <a:solidFill>
                  <a:schemeClr val="bg2"/>
                </a:solidFill>
              </a:ln>
            </p:spPr>
            <p:txBody>
              <a:bodyPr wrap="square" lIns="0" tIns="0" rIns="0" bIns="0" rtlCol="0"/>
              <a:lstStyle/>
              <a:p>
                <a:endParaRPr/>
              </a:p>
            </p:txBody>
          </p:sp>
          <p:sp>
            <p:nvSpPr>
              <p:cNvPr id="106" name="object 28">
                <a:extLst>
                  <a:ext uri="{FF2B5EF4-FFF2-40B4-BE49-F238E27FC236}">
                    <a16:creationId xmlns:a16="http://schemas.microsoft.com/office/drawing/2014/main" id="{DD0D8804-934E-40D8-956C-8C291C51FFAF}"/>
                  </a:ext>
                </a:extLst>
              </p:cNvPr>
              <p:cNvSpPr/>
              <p:nvPr userDrawn="1"/>
            </p:nvSpPr>
            <p:spPr>
              <a:xfrm>
                <a:off x="11162878" y="4546022"/>
                <a:ext cx="0" cy="64807"/>
              </a:xfrm>
              <a:custGeom>
                <a:avLst/>
                <a:gdLst/>
                <a:ahLst/>
                <a:cxnLst/>
                <a:rect l="l" t="t" r="r" b="b"/>
                <a:pathLst>
                  <a:path h="78739">
                    <a:moveTo>
                      <a:pt x="0" y="0"/>
                    </a:moveTo>
                    <a:lnTo>
                      <a:pt x="0" y="78371"/>
                    </a:lnTo>
                  </a:path>
                </a:pathLst>
              </a:custGeom>
              <a:ln w="12700">
                <a:solidFill>
                  <a:schemeClr val="bg2"/>
                </a:solidFill>
              </a:ln>
            </p:spPr>
            <p:txBody>
              <a:bodyPr wrap="square" lIns="0" tIns="0" rIns="0" bIns="0" rtlCol="0"/>
              <a:lstStyle/>
              <a:p>
                <a:endParaRPr/>
              </a:p>
            </p:txBody>
          </p:sp>
          <p:sp>
            <p:nvSpPr>
              <p:cNvPr id="107" name="object 29">
                <a:extLst>
                  <a:ext uri="{FF2B5EF4-FFF2-40B4-BE49-F238E27FC236}">
                    <a16:creationId xmlns:a16="http://schemas.microsoft.com/office/drawing/2014/main" id="{46E57CF3-E6FD-4C54-BF11-5EA500BBB8D3}"/>
                  </a:ext>
                </a:extLst>
              </p:cNvPr>
              <p:cNvSpPr/>
              <p:nvPr userDrawn="1"/>
            </p:nvSpPr>
            <p:spPr>
              <a:xfrm>
                <a:off x="11301156" y="4407744"/>
                <a:ext cx="64807" cy="0"/>
              </a:xfrm>
              <a:custGeom>
                <a:avLst/>
                <a:gdLst/>
                <a:ahLst/>
                <a:cxnLst/>
                <a:rect l="l" t="t" r="r" b="b"/>
                <a:pathLst>
                  <a:path w="78740">
                    <a:moveTo>
                      <a:pt x="0" y="0"/>
                    </a:moveTo>
                    <a:lnTo>
                      <a:pt x="78371" y="0"/>
                    </a:lnTo>
                  </a:path>
                </a:pathLst>
              </a:custGeom>
              <a:ln w="12700">
                <a:solidFill>
                  <a:schemeClr val="bg2"/>
                </a:solidFill>
              </a:ln>
            </p:spPr>
            <p:txBody>
              <a:bodyPr wrap="square" lIns="0" tIns="0" rIns="0" bIns="0" rtlCol="0"/>
              <a:lstStyle/>
              <a:p>
                <a:endParaRPr/>
              </a:p>
            </p:txBody>
          </p:sp>
          <p:sp>
            <p:nvSpPr>
              <p:cNvPr id="108" name="object 30">
                <a:extLst>
                  <a:ext uri="{FF2B5EF4-FFF2-40B4-BE49-F238E27FC236}">
                    <a16:creationId xmlns:a16="http://schemas.microsoft.com/office/drawing/2014/main" id="{6055BDDE-657C-4CFA-9785-379DA44AC24B}"/>
                  </a:ext>
                </a:extLst>
              </p:cNvPr>
              <p:cNvSpPr/>
              <p:nvPr userDrawn="1"/>
            </p:nvSpPr>
            <p:spPr>
              <a:xfrm>
                <a:off x="10998198" y="4312662"/>
                <a:ext cx="44947" cy="26132"/>
              </a:xfrm>
              <a:custGeom>
                <a:avLst/>
                <a:gdLst/>
                <a:ahLst/>
                <a:cxnLst/>
                <a:rect l="l" t="t" r="r" b="b"/>
                <a:pathLst>
                  <a:path w="54609" h="31750">
                    <a:moveTo>
                      <a:pt x="54584" y="31521"/>
                    </a:moveTo>
                    <a:lnTo>
                      <a:pt x="0" y="0"/>
                    </a:lnTo>
                  </a:path>
                </a:pathLst>
              </a:custGeom>
              <a:ln w="12700">
                <a:solidFill>
                  <a:schemeClr val="bg2"/>
                </a:solidFill>
              </a:ln>
            </p:spPr>
            <p:txBody>
              <a:bodyPr wrap="square" lIns="0" tIns="0" rIns="0" bIns="0" rtlCol="0"/>
              <a:lstStyle/>
              <a:p>
                <a:endParaRPr/>
              </a:p>
            </p:txBody>
          </p:sp>
          <p:sp>
            <p:nvSpPr>
              <p:cNvPr id="109" name="object 31">
                <a:extLst>
                  <a:ext uri="{FF2B5EF4-FFF2-40B4-BE49-F238E27FC236}">
                    <a16:creationId xmlns:a16="http://schemas.microsoft.com/office/drawing/2014/main" id="{5654E23A-AD82-4B9C-912A-43815C1EFAD8}"/>
                  </a:ext>
                </a:extLst>
              </p:cNvPr>
              <p:cNvSpPr/>
              <p:nvPr userDrawn="1"/>
            </p:nvSpPr>
            <p:spPr>
              <a:xfrm>
                <a:off x="11282630" y="4476883"/>
                <a:ext cx="44947" cy="26132"/>
              </a:xfrm>
              <a:custGeom>
                <a:avLst/>
                <a:gdLst/>
                <a:ahLst/>
                <a:cxnLst/>
                <a:rect l="l" t="t" r="r" b="b"/>
                <a:pathLst>
                  <a:path w="54609" h="31750">
                    <a:moveTo>
                      <a:pt x="0" y="0"/>
                    </a:moveTo>
                    <a:lnTo>
                      <a:pt x="54584" y="31508"/>
                    </a:lnTo>
                  </a:path>
                </a:pathLst>
              </a:custGeom>
              <a:ln w="12700">
                <a:solidFill>
                  <a:schemeClr val="bg2"/>
                </a:solidFill>
              </a:ln>
            </p:spPr>
            <p:txBody>
              <a:bodyPr wrap="square" lIns="0" tIns="0" rIns="0" bIns="0" rtlCol="0"/>
              <a:lstStyle/>
              <a:p>
                <a:endParaRPr/>
              </a:p>
            </p:txBody>
          </p:sp>
          <p:sp>
            <p:nvSpPr>
              <p:cNvPr id="110" name="object 32">
                <a:extLst>
                  <a:ext uri="{FF2B5EF4-FFF2-40B4-BE49-F238E27FC236}">
                    <a16:creationId xmlns:a16="http://schemas.microsoft.com/office/drawing/2014/main" id="{94D97A94-A7DB-4007-A8B7-52C7E0487E08}"/>
                  </a:ext>
                </a:extLst>
              </p:cNvPr>
              <p:cNvSpPr/>
              <p:nvPr userDrawn="1"/>
            </p:nvSpPr>
            <p:spPr>
              <a:xfrm>
                <a:off x="11067805" y="4243066"/>
                <a:ext cx="26132" cy="44947"/>
              </a:xfrm>
              <a:custGeom>
                <a:avLst/>
                <a:gdLst/>
                <a:ahLst/>
                <a:cxnLst/>
                <a:rect l="l" t="t" r="r" b="b"/>
                <a:pathLst>
                  <a:path w="31750" h="54610">
                    <a:moveTo>
                      <a:pt x="31508" y="54584"/>
                    </a:moveTo>
                    <a:lnTo>
                      <a:pt x="0" y="0"/>
                    </a:lnTo>
                  </a:path>
                </a:pathLst>
              </a:custGeom>
              <a:ln w="12700">
                <a:solidFill>
                  <a:schemeClr val="bg2"/>
                </a:solidFill>
              </a:ln>
            </p:spPr>
            <p:txBody>
              <a:bodyPr wrap="square" lIns="0" tIns="0" rIns="0" bIns="0" rtlCol="0"/>
              <a:lstStyle/>
              <a:p>
                <a:endParaRPr/>
              </a:p>
            </p:txBody>
          </p:sp>
          <p:sp>
            <p:nvSpPr>
              <p:cNvPr id="111" name="object 33">
                <a:extLst>
                  <a:ext uri="{FF2B5EF4-FFF2-40B4-BE49-F238E27FC236}">
                    <a16:creationId xmlns:a16="http://schemas.microsoft.com/office/drawing/2014/main" id="{47B006DB-8C45-44F7-97C2-5F46CA8F7FCC}"/>
                  </a:ext>
                </a:extLst>
              </p:cNvPr>
              <p:cNvSpPr/>
              <p:nvPr userDrawn="1"/>
            </p:nvSpPr>
            <p:spPr>
              <a:xfrm>
                <a:off x="11232017" y="4527495"/>
                <a:ext cx="26132" cy="44947"/>
              </a:xfrm>
              <a:custGeom>
                <a:avLst/>
                <a:gdLst/>
                <a:ahLst/>
                <a:cxnLst/>
                <a:rect l="l" t="t" r="r" b="b"/>
                <a:pathLst>
                  <a:path w="31750" h="54610">
                    <a:moveTo>
                      <a:pt x="0" y="0"/>
                    </a:moveTo>
                    <a:lnTo>
                      <a:pt x="31521" y="54584"/>
                    </a:lnTo>
                  </a:path>
                </a:pathLst>
              </a:custGeom>
              <a:ln w="12700">
                <a:solidFill>
                  <a:schemeClr val="bg2"/>
                </a:solidFill>
              </a:ln>
            </p:spPr>
            <p:txBody>
              <a:bodyPr wrap="square" lIns="0" tIns="0" rIns="0" bIns="0" rtlCol="0"/>
              <a:lstStyle/>
              <a:p>
                <a:endParaRPr/>
              </a:p>
            </p:txBody>
          </p:sp>
          <p:sp>
            <p:nvSpPr>
              <p:cNvPr id="112" name="object 34">
                <a:extLst>
                  <a:ext uri="{FF2B5EF4-FFF2-40B4-BE49-F238E27FC236}">
                    <a16:creationId xmlns:a16="http://schemas.microsoft.com/office/drawing/2014/main" id="{7CE76716-1CC0-4320-AE6F-7E0860B3DA50}"/>
                  </a:ext>
                </a:extLst>
              </p:cNvPr>
              <p:cNvSpPr/>
              <p:nvPr userDrawn="1"/>
            </p:nvSpPr>
            <p:spPr>
              <a:xfrm>
                <a:off x="11282630" y="4312662"/>
                <a:ext cx="44947" cy="26132"/>
              </a:xfrm>
              <a:custGeom>
                <a:avLst/>
                <a:gdLst/>
                <a:ahLst/>
                <a:cxnLst/>
                <a:rect l="l" t="t" r="r" b="b"/>
                <a:pathLst>
                  <a:path w="54609" h="31750">
                    <a:moveTo>
                      <a:pt x="0" y="31521"/>
                    </a:moveTo>
                    <a:lnTo>
                      <a:pt x="54584" y="0"/>
                    </a:lnTo>
                  </a:path>
                </a:pathLst>
              </a:custGeom>
              <a:ln w="12700">
                <a:solidFill>
                  <a:schemeClr val="bg2"/>
                </a:solidFill>
              </a:ln>
            </p:spPr>
            <p:txBody>
              <a:bodyPr wrap="square" lIns="0" tIns="0" rIns="0" bIns="0" rtlCol="0"/>
              <a:lstStyle/>
              <a:p>
                <a:endParaRPr/>
              </a:p>
            </p:txBody>
          </p:sp>
          <p:sp>
            <p:nvSpPr>
              <p:cNvPr id="113" name="object 35">
                <a:extLst>
                  <a:ext uri="{FF2B5EF4-FFF2-40B4-BE49-F238E27FC236}">
                    <a16:creationId xmlns:a16="http://schemas.microsoft.com/office/drawing/2014/main" id="{0247CD81-C3A8-4070-8557-C90DC4EC101C}"/>
                  </a:ext>
                </a:extLst>
              </p:cNvPr>
              <p:cNvSpPr/>
              <p:nvPr userDrawn="1"/>
            </p:nvSpPr>
            <p:spPr>
              <a:xfrm>
                <a:off x="10998198" y="4476883"/>
                <a:ext cx="44947" cy="26132"/>
              </a:xfrm>
              <a:custGeom>
                <a:avLst/>
                <a:gdLst/>
                <a:ahLst/>
                <a:cxnLst/>
                <a:rect l="l" t="t" r="r" b="b"/>
                <a:pathLst>
                  <a:path w="54609" h="31750">
                    <a:moveTo>
                      <a:pt x="54584" y="0"/>
                    </a:moveTo>
                    <a:lnTo>
                      <a:pt x="0" y="31508"/>
                    </a:lnTo>
                  </a:path>
                </a:pathLst>
              </a:custGeom>
              <a:ln w="12700">
                <a:solidFill>
                  <a:schemeClr val="bg2"/>
                </a:solidFill>
              </a:ln>
            </p:spPr>
            <p:txBody>
              <a:bodyPr wrap="square" lIns="0" tIns="0" rIns="0" bIns="0" rtlCol="0"/>
              <a:lstStyle/>
              <a:p>
                <a:endParaRPr/>
              </a:p>
            </p:txBody>
          </p:sp>
          <p:sp>
            <p:nvSpPr>
              <p:cNvPr id="114" name="object 36">
                <a:extLst>
                  <a:ext uri="{FF2B5EF4-FFF2-40B4-BE49-F238E27FC236}">
                    <a16:creationId xmlns:a16="http://schemas.microsoft.com/office/drawing/2014/main" id="{E9AF4791-F1DC-49B2-B95A-5FFF896B3731}"/>
                  </a:ext>
                </a:extLst>
              </p:cNvPr>
              <p:cNvSpPr/>
              <p:nvPr userDrawn="1"/>
            </p:nvSpPr>
            <p:spPr>
              <a:xfrm>
                <a:off x="11232017" y="4243066"/>
                <a:ext cx="26132" cy="44947"/>
              </a:xfrm>
              <a:custGeom>
                <a:avLst/>
                <a:gdLst/>
                <a:ahLst/>
                <a:cxnLst/>
                <a:rect l="l" t="t" r="r" b="b"/>
                <a:pathLst>
                  <a:path w="31750" h="54610">
                    <a:moveTo>
                      <a:pt x="0" y="54584"/>
                    </a:moveTo>
                    <a:lnTo>
                      <a:pt x="31521" y="0"/>
                    </a:lnTo>
                  </a:path>
                </a:pathLst>
              </a:custGeom>
              <a:ln w="12700">
                <a:solidFill>
                  <a:schemeClr val="bg2"/>
                </a:solidFill>
              </a:ln>
            </p:spPr>
            <p:txBody>
              <a:bodyPr wrap="square" lIns="0" tIns="0" rIns="0" bIns="0" rtlCol="0"/>
              <a:lstStyle/>
              <a:p>
                <a:endParaRPr/>
              </a:p>
            </p:txBody>
          </p:sp>
          <p:sp>
            <p:nvSpPr>
              <p:cNvPr id="115" name="object 37">
                <a:extLst>
                  <a:ext uri="{FF2B5EF4-FFF2-40B4-BE49-F238E27FC236}">
                    <a16:creationId xmlns:a16="http://schemas.microsoft.com/office/drawing/2014/main" id="{089E6441-6CC0-4AB3-93B8-4F7D9BC2F612}"/>
                  </a:ext>
                </a:extLst>
              </p:cNvPr>
              <p:cNvSpPr/>
              <p:nvPr userDrawn="1"/>
            </p:nvSpPr>
            <p:spPr>
              <a:xfrm>
                <a:off x="11067794" y="4527495"/>
                <a:ext cx="26132" cy="44947"/>
              </a:xfrm>
              <a:custGeom>
                <a:avLst/>
                <a:gdLst/>
                <a:ahLst/>
                <a:cxnLst/>
                <a:rect l="l" t="t" r="r" b="b"/>
                <a:pathLst>
                  <a:path w="31750" h="54610">
                    <a:moveTo>
                      <a:pt x="31521" y="0"/>
                    </a:moveTo>
                    <a:lnTo>
                      <a:pt x="0" y="54584"/>
                    </a:lnTo>
                  </a:path>
                </a:pathLst>
              </a:custGeom>
              <a:ln w="12700">
                <a:solidFill>
                  <a:schemeClr val="bg2"/>
                </a:solidFill>
              </a:ln>
            </p:spPr>
            <p:txBody>
              <a:bodyPr wrap="square" lIns="0" tIns="0" rIns="0" bIns="0" rtlCol="0"/>
              <a:lstStyle/>
              <a:p>
                <a:endParaRPr/>
              </a:p>
            </p:txBody>
          </p:sp>
          <p:sp>
            <p:nvSpPr>
              <p:cNvPr id="116" name="object 38">
                <a:extLst>
                  <a:ext uri="{FF2B5EF4-FFF2-40B4-BE49-F238E27FC236}">
                    <a16:creationId xmlns:a16="http://schemas.microsoft.com/office/drawing/2014/main" id="{4037C699-9B5C-4382-A9E3-19EB22158BFE}"/>
                  </a:ext>
                </a:extLst>
              </p:cNvPr>
              <p:cNvSpPr/>
              <p:nvPr userDrawn="1"/>
            </p:nvSpPr>
            <p:spPr>
              <a:xfrm>
                <a:off x="11062674" y="4307544"/>
                <a:ext cx="200693" cy="200693"/>
              </a:xfrm>
              <a:custGeom>
                <a:avLst/>
                <a:gdLst/>
                <a:ahLst/>
                <a:cxnLst/>
                <a:rect l="l" t="t" r="r" b="b"/>
                <a:pathLst>
                  <a:path w="243840" h="243839">
                    <a:moveTo>
                      <a:pt x="0" y="121742"/>
                    </a:moveTo>
                    <a:lnTo>
                      <a:pt x="9567" y="169130"/>
                    </a:lnTo>
                    <a:lnTo>
                      <a:pt x="35658" y="207832"/>
                    </a:lnTo>
                    <a:lnTo>
                      <a:pt x="74355" y="233927"/>
                    </a:lnTo>
                    <a:lnTo>
                      <a:pt x="121742" y="243497"/>
                    </a:lnTo>
                    <a:lnTo>
                      <a:pt x="169136" y="233927"/>
                    </a:lnTo>
                    <a:lnTo>
                      <a:pt x="207837" y="207832"/>
                    </a:lnTo>
                    <a:lnTo>
                      <a:pt x="233929" y="169130"/>
                    </a:lnTo>
                    <a:lnTo>
                      <a:pt x="243497" y="121742"/>
                    </a:lnTo>
                    <a:lnTo>
                      <a:pt x="233929" y="74355"/>
                    </a:lnTo>
                    <a:lnTo>
                      <a:pt x="207837" y="35658"/>
                    </a:lnTo>
                    <a:lnTo>
                      <a:pt x="169136" y="9567"/>
                    </a:lnTo>
                    <a:lnTo>
                      <a:pt x="121742" y="0"/>
                    </a:lnTo>
                    <a:lnTo>
                      <a:pt x="74355" y="9567"/>
                    </a:lnTo>
                    <a:lnTo>
                      <a:pt x="35658" y="35658"/>
                    </a:lnTo>
                    <a:lnTo>
                      <a:pt x="9567" y="74355"/>
                    </a:lnTo>
                    <a:lnTo>
                      <a:pt x="0" y="121742"/>
                    </a:lnTo>
                    <a:close/>
                  </a:path>
                </a:pathLst>
              </a:custGeom>
              <a:ln w="12700">
                <a:solidFill>
                  <a:schemeClr val="bg2"/>
                </a:solidFill>
              </a:ln>
            </p:spPr>
            <p:txBody>
              <a:bodyPr wrap="square" lIns="0" tIns="0" rIns="0" bIns="0" rtlCol="0"/>
              <a:lstStyle/>
              <a:p>
                <a:endParaRPr/>
              </a:p>
            </p:txBody>
          </p:sp>
        </p:grpSp>
        <p:grpSp>
          <p:nvGrpSpPr>
            <p:cNvPr id="7" name="Gruppierung 14">
              <a:extLst>
                <a:ext uri="{FF2B5EF4-FFF2-40B4-BE49-F238E27FC236}">
                  <a16:creationId xmlns:a16="http://schemas.microsoft.com/office/drawing/2014/main" id="{3428626A-9C41-4CE9-9FF9-D04F1A7F5C88}"/>
                </a:ext>
              </a:extLst>
            </p:cNvPr>
            <p:cNvGrpSpPr/>
            <p:nvPr userDrawn="1"/>
          </p:nvGrpSpPr>
          <p:grpSpPr>
            <a:xfrm>
              <a:off x="0" y="6040373"/>
              <a:ext cx="9026886" cy="460270"/>
              <a:chOff x="0" y="6040373"/>
              <a:chExt cx="9026886" cy="460270"/>
            </a:xfrm>
          </p:grpSpPr>
          <p:sp>
            <p:nvSpPr>
              <p:cNvPr id="9" name="object 5">
                <a:extLst>
                  <a:ext uri="{FF2B5EF4-FFF2-40B4-BE49-F238E27FC236}">
                    <a16:creationId xmlns:a16="http://schemas.microsoft.com/office/drawing/2014/main" id="{7BE1D589-DF87-416E-AE99-9BB5F66726C8}"/>
                  </a:ext>
                </a:extLst>
              </p:cNvPr>
              <p:cNvSpPr/>
              <p:nvPr/>
            </p:nvSpPr>
            <p:spPr>
              <a:xfrm>
                <a:off x="8337530" y="6363619"/>
                <a:ext cx="177165" cy="0"/>
              </a:xfrm>
              <a:custGeom>
                <a:avLst/>
                <a:gdLst/>
                <a:ahLst/>
                <a:cxnLst/>
                <a:rect l="l" t="t" r="r" b="b"/>
                <a:pathLst>
                  <a:path w="177165">
                    <a:moveTo>
                      <a:pt x="0" y="0"/>
                    </a:moveTo>
                    <a:lnTo>
                      <a:pt x="176809" y="0"/>
                    </a:lnTo>
                  </a:path>
                </a:pathLst>
              </a:custGeom>
              <a:ln w="12700">
                <a:solidFill>
                  <a:schemeClr val="bg2"/>
                </a:solidFill>
              </a:ln>
            </p:spPr>
            <p:txBody>
              <a:bodyPr wrap="square" lIns="0" tIns="0" rIns="0" bIns="0" rtlCol="0"/>
              <a:lstStyle/>
              <a:p>
                <a:endParaRPr/>
              </a:p>
            </p:txBody>
          </p:sp>
          <p:sp>
            <p:nvSpPr>
              <p:cNvPr id="12" name="object 7">
                <a:extLst>
                  <a:ext uri="{FF2B5EF4-FFF2-40B4-BE49-F238E27FC236}">
                    <a16:creationId xmlns:a16="http://schemas.microsoft.com/office/drawing/2014/main" id="{CC7EFF18-FD5D-449C-A7FB-F0DBAC6DA21E}"/>
                  </a:ext>
                </a:extLst>
              </p:cNvPr>
              <p:cNvSpPr/>
              <p:nvPr/>
            </p:nvSpPr>
            <p:spPr>
              <a:xfrm>
                <a:off x="0" y="6363619"/>
                <a:ext cx="8247380" cy="0"/>
              </a:xfrm>
              <a:custGeom>
                <a:avLst/>
                <a:gdLst/>
                <a:ahLst/>
                <a:cxnLst/>
                <a:rect l="l" t="t" r="r" b="b"/>
                <a:pathLst>
                  <a:path w="8247380">
                    <a:moveTo>
                      <a:pt x="0" y="0"/>
                    </a:moveTo>
                    <a:lnTo>
                      <a:pt x="8247143" y="0"/>
                    </a:lnTo>
                  </a:path>
                </a:pathLst>
              </a:custGeom>
              <a:ln w="12700">
                <a:solidFill>
                  <a:schemeClr val="bg2"/>
                </a:solidFill>
              </a:ln>
            </p:spPr>
            <p:txBody>
              <a:bodyPr wrap="square" lIns="0" tIns="0" rIns="0" bIns="0" rtlCol="0"/>
              <a:lstStyle/>
              <a:p>
                <a:endParaRPr/>
              </a:p>
            </p:txBody>
          </p:sp>
          <p:sp>
            <p:nvSpPr>
              <p:cNvPr id="13" name="object 8">
                <a:extLst>
                  <a:ext uri="{FF2B5EF4-FFF2-40B4-BE49-F238E27FC236}">
                    <a16:creationId xmlns:a16="http://schemas.microsoft.com/office/drawing/2014/main" id="{03E25D62-0EC1-4A47-8D72-C8733987D45D}"/>
                  </a:ext>
                </a:extLst>
              </p:cNvPr>
              <p:cNvSpPr/>
              <p:nvPr/>
            </p:nvSpPr>
            <p:spPr>
              <a:xfrm>
                <a:off x="8730631"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14" name="object 9">
                <a:extLst>
                  <a:ext uri="{FF2B5EF4-FFF2-40B4-BE49-F238E27FC236}">
                    <a16:creationId xmlns:a16="http://schemas.microsoft.com/office/drawing/2014/main" id="{90ACF780-64CB-43E9-B368-4D545500A965}"/>
                  </a:ext>
                </a:extLst>
              </p:cNvPr>
              <p:cNvSpPr/>
              <p:nvPr/>
            </p:nvSpPr>
            <p:spPr>
              <a:xfrm>
                <a:off x="8483920"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15" name="object 10">
                <a:extLst>
                  <a:ext uri="{FF2B5EF4-FFF2-40B4-BE49-F238E27FC236}">
                    <a16:creationId xmlns:a16="http://schemas.microsoft.com/office/drawing/2014/main" id="{7C9B4290-F741-4778-BE65-BF56A54B1315}"/>
                  </a:ext>
                </a:extLst>
              </p:cNvPr>
              <p:cNvSpPr/>
              <p:nvPr/>
            </p:nvSpPr>
            <p:spPr>
              <a:xfrm>
                <a:off x="8730631"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16" name="object 11">
                <a:extLst>
                  <a:ext uri="{FF2B5EF4-FFF2-40B4-BE49-F238E27FC236}">
                    <a16:creationId xmlns:a16="http://schemas.microsoft.com/office/drawing/2014/main" id="{689C50D2-2B8B-4EF0-BB5F-6646E477908C}"/>
                  </a:ext>
                </a:extLst>
              </p:cNvPr>
              <p:cNvSpPr/>
              <p:nvPr/>
            </p:nvSpPr>
            <p:spPr>
              <a:xfrm>
                <a:off x="8483920"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17" name="object 12">
                <a:extLst>
                  <a:ext uri="{FF2B5EF4-FFF2-40B4-BE49-F238E27FC236}">
                    <a16:creationId xmlns:a16="http://schemas.microsoft.com/office/drawing/2014/main" id="{0AD0A35B-0A3F-4799-A0E4-985C4555DDD3}"/>
                  </a:ext>
                </a:extLst>
              </p:cNvPr>
              <p:cNvSpPr/>
              <p:nvPr/>
            </p:nvSpPr>
            <p:spPr>
              <a:xfrm>
                <a:off x="8566326" y="6060876"/>
                <a:ext cx="81915" cy="252729"/>
              </a:xfrm>
              <a:custGeom>
                <a:avLst/>
                <a:gdLst/>
                <a:ahLst/>
                <a:cxnLst/>
                <a:rect l="l" t="t" r="r" b="b"/>
                <a:pathLst>
                  <a:path w="81915" h="252729">
                    <a:moveTo>
                      <a:pt x="0" y="210934"/>
                    </a:moveTo>
                    <a:lnTo>
                      <a:pt x="40944" y="252349"/>
                    </a:lnTo>
                    <a:lnTo>
                      <a:pt x="81902" y="210934"/>
                    </a:lnTo>
                    <a:lnTo>
                      <a:pt x="81902" y="0"/>
                    </a:lnTo>
                    <a:lnTo>
                      <a:pt x="0" y="0"/>
                    </a:lnTo>
                    <a:lnTo>
                      <a:pt x="0" y="210934"/>
                    </a:lnTo>
                    <a:close/>
                  </a:path>
                </a:pathLst>
              </a:custGeom>
              <a:ln w="12699">
                <a:solidFill>
                  <a:schemeClr val="bg2"/>
                </a:solidFill>
              </a:ln>
            </p:spPr>
            <p:txBody>
              <a:bodyPr wrap="square" lIns="0" tIns="0" rIns="0" bIns="0" rtlCol="0"/>
              <a:lstStyle/>
              <a:p>
                <a:endParaRPr/>
              </a:p>
            </p:txBody>
          </p:sp>
          <p:sp>
            <p:nvSpPr>
              <p:cNvPr id="18" name="object 13">
                <a:extLst>
                  <a:ext uri="{FF2B5EF4-FFF2-40B4-BE49-F238E27FC236}">
                    <a16:creationId xmlns:a16="http://schemas.microsoft.com/office/drawing/2014/main" id="{A62D371A-90A1-484C-834B-12525C42E47D}"/>
                  </a:ext>
                </a:extLst>
              </p:cNvPr>
              <p:cNvSpPr/>
              <p:nvPr/>
            </p:nvSpPr>
            <p:spPr>
              <a:xfrm>
                <a:off x="8483920" y="6167417"/>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19" name="object 14">
                <a:extLst>
                  <a:ext uri="{FF2B5EF4-FFF2-40B4-BE49-F238E27FC236}">
                    <a16:creationId xmlns:a16="http://schemas.microsoft.com/office/drawing/2014/main" id="{997182C0-41F1-4261-9841-B018111CC4C9}"/>
                  </a:ext>
                </a:extLst>
              </p:cNvPr>
              <p:cNvSpPr/>
              <p:nvPr/>
            </p:nvSpPr>
            <p:spPr>
              <a:xfrm>
                <a:off x="8483920" y="6060874"/>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20" name="object 15">
                <a:extLst>
                  <a:ext uri="{FF2B5EF4-FFF2-40B4-BE49-F238E27FC236}">
                    <a16:creationId xmlns:a16="http://schemas.microsoft.com/office/drawing/2014/main" id="{848114AA-1320-4284-BC2A-69F56B18716C}"/>
                  </a:ext>
                </a:extLst>
              </p:cNvPr>
              <p:cNvSpPr/>
              <p:nvPr/>
            </p:nvSpPr>
            <p:spPr>
              <a:xfrm>
                <a:off x="8607279" y="6271811"/>
                <a:ext cx="91440" cy="92710"/>
              </a:xfrm>
              <a:custGeom>
                <a:avLst/>
                <a:gdLst/>
                <a:ahLst/>
                <a:cxnLst/>
                <a:rect l="l" t="t" r="r" b="b"/>
                <a:pathLst>
                  <a:path w="91440" h="92710">
                    <a:moveTo>
                      <a:pt x="40944" y="0"/>
                    </a:moveTo>
                    <a:lnTo>
                      <a:pt x="90995" y="92151"/>
                    </a:lnTo>
                    <a:lnTo>
                      <a:pt x="0" y="41414"/>
                    </a:lnTo>
                  </a:path>
                </a:pathLst>
              </a:custGeom>
              <a:ln w="12700">
                <a:solidFill>
                  <a:schemeClr val="bg2"/>
                </a:solidFill>
              </a:ln>
            </p:spPr>
            <p:txBody>
              <a:bodyPr wrap="square" lIns="0" tIns="0" rIns="0" bIns="0" rtlCol="0"/>
              <a:lstStyle/>
              <a:p>
                <a:endParaRPr/>
              </a:p>
            </p:txBody>
          </p:sp>
          <p:sp>
            <p:nvSpPr>
              <p:cNvPr id="21" name="object 16">
                <a:extLst>
                  <a:ext uri="{FF2B5EF4-FFF2-40B4-BE49-F238E27FC236}">
                    <a16:creationId xmlns:a16="http://schemas.microsoft.com/office/drawing/2014/main" id="{45360FED-850B-4376-8159-BF65EF6A5EE3}"/>
                  </a:ext>
                </a:extLst>
              </p:cNvPr>
              <p:cNvSpPr/>
              <p:nvPr/>
            </p:nvSpPr>
            <p:spPr>
              <a:xfrm>
                <a:off x="8516275" y="6271811"/>
                <a:ext cx="91440" cy="92710"/>
              </a:xfrm>
              <a:custGeom>
                <a:avLst/>
                <a:gdLst/>
                <a:ahLst/>
                <a:cxnLst/>
                <a:rect l="l" t="t" r="r" b="b"/>
                <a:pathLst>
                  <a:path w="91440" h="92710">
                    <a:moveTo>
                      <a:pt x="50050" y="0"/>
                    </a:moveTo>
                    <a:lnTo>
                      <a:pt x="0" y="92151"/>
                    </a:lnTo>
                    <a:lnTo>
                      <a:pt x="90995" y="41414"/>
                    </a:lnTo>
                  </a:path>
                </a:pathLst>
              </a:custGeom>
              <a:ln w="12700">
                <a:solidFill>
                  <a:schemeClr val="bg2"/>
                </a:solidFill>
              </a:ln>
            </p:spPr>
            <p:txBody>
              <a:bodyPr wrap="square" lIns="0" tIns="0" rIns="0" bIns="0" rtlCol="0"/>
              <a:lstStyle/>
              <a:p>
                <a:endParaRPr/>
              </a:p>
            </p:txBody>
          </p:sp>
          <p:sp>
            <p:nvSpPr>
              <p:cNvPr id="22" name="object 17">
                <a:extLst>
                  <a:ext uri="{FF2B5EF4-FFF2-40B4-BE49-F238E27FC236}">
                    <a16:creationId xmlns:a16="http://schemas.microsoft.com/office/drawing/2014/main" id="{5BFC4282-151B-44C8-9580-79AA734D105F}"/>
                  </a:ext>
                </a:extLst>
              </p:cNvPr>
              <p:cNvSpPr/>
              <p:nvPr/>
            </p:nvSpPr>
            <p:spPr>
              <a:xfrm>
                <a:off x="8164555" y="6184883"/>
                <a:ext cx="254000" cy="30480"/>
              </a:xfrm>
              <a:custGeom>
                <a:avLst/>
                <a:gdLst/>
                <a:ahLst/>
                <a:cxnLst/>
                <a:rect l="l" t="t" r="r" b="b"/>
                <a:pathLst>
                  <a:path w="254000" h="30479">
                    <a:moveTo>
                      <a:pt x="104901" y="0"/>
                    </a:moveTo>
                    <a:lnTo>
                      <a:pt x="149136" y="0"/>
                    </a:lnTo>
                    <a:lnTo>
                      <a:pt x="253847" y="30187"/>
                    </a:lnTo>
                    <a:lnTo>
                      <a:pt x="153835" y="30187"/>
                    </a:lnTo>
                    <a:lnTo>
                      <a:pt x="0" y="30187"/>
                    </a:lnTo>
                    <a:lnTo>
                      <a:pt x="104901" y="0"/>
                    </a:lnTo>
                    <a:close/>
                  </a:path>
                </a:pathLst>
              </a:custGeom>
              <a:ln w="12700">
                <a:solidFill>
                  <a:schemeClr val="bg2"/>
                </a:solidFill>
              </a:ln>
            </p:spPr>
            <p:txBody>
              <a:bodyPr wrap="square" lIns="0" tIns="0" rIns="0" bIns="0" rtlCol="0"/>
              <a:lstStyle/>
              <a:p>
                <a:endParaRPr/>
              </a:p>
            </p:txBody>
          </p:sp>
          <p:sp>
            <p:nvSpPr>
              <p:cNvPr id="23" name="object 18">
                <a:extLst>
                  <a:ext uri="{FF2B5EF4-FFF2-40B4-BE49-F238E27FC236}">
                    <a16:creationId xmlns:a16="http://schemas.microsoft.com/office/drawing/2014/main" id="{E2BE76E5-07EE-4A76-91C5-429C113A92B3}"/>
                  </a:ext>
                </a:extLst>
              </p:cNvPr>
              <p:cNvSpPr/>
              <p:nvPr/>
            </p:nvSpPr>
            <p:spPr>
              <a:xfrm>
                <a:off x="8220333" y="6111744"/>
                <a:ext cx="142875" cy="28575"/>
              </a:xfrm>
              <a:custGeom>
                <a:avLst/>
                <a:gdLst/>
                <a:ahLst/>
                <a:cxnLst/>
                <a:rect l="l" t="t" r="r" b="b"/>
                <a:pathLst>
                  <a:path w="142875" h="28575">
                    <a:moveTo>
                      <a:pt x="60299" y="0"/>
                    </a:moveTo>
                    <a:lnTo>
                      <a:pt x="82232" y="0"/>
                    </a:lnTo>
                    <a:lnTo>
                      <a:pt x="142328" y="28384"/>
                    </a:lnTo>
                    <a:lnTo>
                      <a:pt x="0" y="28384"/>
                    </a:lnTo>
                    <a:lnTo>
                      <a:pt x="60299" y="0"/>
                    </a:lnTo>
                    <a:close/>
                  </a:path>
                </a:pathLst>
              </a:custGeom>
              <a:ln w="12700">
                <a:solidFill>
                  <a:schemeClr val="bg2"/>
                </a:solidFill>
              </a:ln>
            </p:spPr>
            <p:txBody>
              <a:bodyPr wrap="square" lIns="0" tIns="0" rIns="0" bIns="0" rtlCol="0"/>
              <a:lstStyle/>
              <a:p>
                <a:endParaRPr/>
              </a:p>
            </p:txBody>
          </p:sp>
          <p:sp>
            <p:nvSpPr>
              <p:cNvPr id="24" name="object 19">
                <a:extLst>
                  <a:ext uri="{FF2B5EF4-FFF2-40B4-BE49-F238E27FC236}">
                    <a16:creationId xmlns:a16="http://schemas.microsoft.com/office/drawing/2014/main" id="{9C051D4D-8462-44A9-9AAF-07ACADD11610}"/>
                  </a:ext>
                </a:extLst>
              </p:cNvPr>
              <p:cNvSpPr/>
              <p:nvPr/>
            </p:nvSpPr>
            <p:spPr>
              <a:xfrm>
                <a:off x="8246643" y="6040373"/>
                <a:ext cx="90170" cy="322580"/>
              </a:xfrm>
              <a:custGeom>
                <a:avLst/>
                <a:gdLst/>
                <a:ahLst/>
                <a:cxnLst/>
                <a:rect l="l" t="t" r="r" b="b"/>
                <a:pathLst>
                  <a:path w="90170" h="322579">
                    <a:moveTo>
                      <a:pt x="69138" y="174269"/>
                    </a:moveTo>
                    <a:lnTo>
                      <a:pt x="0" y="322478"/>
                    </a:lnTo>
                    <a:lnTo>
                      <a:pt x="44996" y="0"/>
                    </a:lnTo>
                    <a:lnTo>
                      <a:pt x="89674" y="322478"/>
                    </a:lnTo>
                    <a:lnTo>
                      <a:pt x="20612" y="174701"/>
                    </a:lnTo>
                  </a:path>
                </a:pathLst>
              </a:custGeom>
              <a:ln w="12700">
                <a:solidFill>
                  <a:schemeClr val="bg2"/>
                </a:solidFill>
              </a:ln>
            </p:spPr>
            <p:txBody>
              <a:bodyPr wrap="square" lIns="0" tIns="0" rIns="0" bIns="0" rtlCol="0"/>
              <a:lstStyle/>
              <a:p>
                <a:endParaRPr/>
              </a:p>
            </p:txBody>
          </p:sp>
          <p:sp>
            <p:nvSpPr>
              <p:cNvPr id="25" name="object 20">
                <a:extLst>
                  <a:ext uri="{FF2B5EF4-FFF2-40B4-BE49-F238E27FC236}">
                    <a16:creationId xmlns:a16="http://schemas.microsoft.com/office/drawing/2014/main" id="{9C32EA73-0D2F-4AAB-98BB-6B47DE276916}"/>
                  </a:ext>
                </a:extLst>
              </p:cNvPr>
              <p:cNvSpPr/>
              <p:nvPr/>
            </p:nvSpPr>
            <p:spPr>
              <a:xfrm>
                <a:off x="8497296" y="6364602"/>
                <a:ext cx="529590" cy="111125"/>
              </a:xfrm>
              <a:custGeom>
                <a:avLst/>
                <a:gdLst/>
                <a:ahLst/>
                <a:cxnLst/>
                <a:rect l="l" t="t" r="r" b="b"/>
                <a:pathLst>
                  <a:path w="529590" h="111125">
                    <a:moveTo>
                      <a:pt x="201396" y="76"/>
                    </a:moveTo>
                    <a:lnTo>
                      <a:pt x="473849" y="0"/>
                    </a:lnTo>
                    <a:lnTo>
                      <a:pt x="512968" y="16202"/>
                    </a:lnTo>
                    <a:lnTo>
                      <a:pt x="529170" y="55321"/>
                    </a:lnTo>
                    <a:lnTo>
                      <a:pt x="524823" y="76856"/>
                    </a:lnTo>
                    <a:lnTo>
                      <a:pt x="512968" y="94440"/>
                    </a:lnTo>
                    <a:lnTo>
                      <a:pt x="495384" y="106295"/>
                    </a:lnTo>
                    <a:lnTo>
                      <a:pt x="473849" y="110642"/>
                    </a:lnTo>
                    <a:lnTo>
                      <a:pt x="0" y="110642"/>
                    </a:lnTo>
                  </a:path>
                </a:pathLst>
              </a:custGeom>
              <a:ln w="12699">
                <a:solidFill>
                  <a:schemeClr val="bg2"/>
                </a:solidFill>
              </a:ln>
            </p:spPr>
            <p:txBody>
              <a:bodyPr wrap="square" lIns="0" tIns="0" rIns="0" bIns="0" rtlCol="0"/>
              <a:lstStyle/>
              <a:p>
                <a:endParaRPr/>
              </a:p>
            </p:txBody>
          </p:sp>
          <p:sp>
            <p:nvSpPr>
              <p:cNvPr id="26" name="object 21">
                <a:extLst>
                  <a:ext uri="{FF2B5EF4-FFF2-40B4-BE49-F238E27FC236}">
                    <a16:creationId xmlns:a16="http://schemas.microsoft.com/office/drawing/2014/main" id="{D8211EBC-4481-42F1-93AE-487C1D00CB9D}"/>
                  </a:ext>
                </a:extLst>
              </p:cNvPr>
              <p:cNvSpPr/>
              <p:nvPr/>
            </p:nvSpPr>
            <p:spPr>
              <a:xfrm>
                <a:off x="8446492" y="6449843"/>
                <a:ext cx="50800" cy="50800"/>
              </a:xfrm>
              <a:custGeom>
                <a:avLst/>
                <a:gdLst/>
                <a:ahLst/>
                <a:cxnLst/>
                <a:rect l="l" t="t" r="r" b="b"/>
                <a:pathLst>
                  <a:path w="50800" h="50800">
                    <a:moveTo>
                      <a:pt x="25400" y="0"/>
                    </a:moveTo>
                    <a:lnTo>
                      <a:pt x="15510" y="1995"/>
                    </a:lnTo>
                    <a:lnTo>
                      <a:pt x="7437" y="7437"/>
                    </a:lnTo>
                    <a:lnTo>
                      <a:pt x="1995" y="15510"/>
                    </a:lnTo>
                    <a:lnTo>
                      <a:pt x="0" y="25400"/>
                    </a:lnTo>
                    <a:lnTo>
                      <a:pt x="1995" y="35289"/>
                    </a:lnTo>
                    <a:lnTo>
                      <a:pt x="7437" y="43362"/>
                    </a:lnTo>
                    <a:lnTo>
                      <a:pt x="15510" y="48804"/>
                    </a:lnTo>
                    <a:lnTo>
                      <a:pt x="25400" y="50800"/>
                    </a:lnTo>
                    <a:lnTo>
                      <a:pt x="35289" y="48804"/>
                    </a:lnTo>
                    <a:lnTo>
                      <a:pt x="43362" y="43362"/>
                    </a:lnTo>
                    <a:lnTo>
                      <a:pt x="48804" y="35289"/>
                    </a:lnTo>
                    <a:lnTo>
                      <a:pt x="50800" y="25400"/>
                    </a:lnTo>
                    <a:lnTo>
                      <a:pt x="48804" y="15510"/>
                    </a:lnTo>
                    <a:lnTo>
                      <a:pt x="43362" y="7437"/>
                    </a:lnTo>
                    <a:lnTo>
                      <a:pt x="35289" y="1995"/>
                    </a:lnTo>
                    <a:lnTo>
                      <a:pt x="25400" y="0"/>
                    </a:lnTo>
                    <a:close/>
                  </a:path>
                </a:pathLst>
              </a:custGeom>
              <a:ln w="12700">
                <a:solidFill>
                  <a:schemeClr val="bg2"/>
                </a:solidFill>
              </a:ln>
            </p:spPr>
            <p:txBody>
              <a:bodyPr wrap="square" lIns="0" tIns="0" rIns="0" bIns="0" rtlCol="0"/>
              <a:lstStyle/>
              <a:p>
                <a:endParaRPr/>
              </a:p>
            </p:txBody>
          </p:sp>
        </p:grpSp>
        <p:grpSp>
          <p:nvGrpSpPr>
            <p:cNvPr id="5" name="Group 4">
              <a:extLst>
                <a:ext uri="{FF2B5EF4-FFF2-40B4-BE49-F238E27FC236}">
                  <a16:creationId xmlns:a16="http://schemas.microsoft.com/office/drawing/2014/main" id="{CD6B786F-FCF1-46BC-AB57-5A104BF83509}"/>
                </a:ext>
              </a:extLst>
            </p:cNvPr>
            <p:cNvGrpSpPr/>
            <p:nvPr userDrawn="1"/>
          </p:nvGrpSpPr>
          <p:grpSpPr>
            <a:xfrm>
              <a:off x="7807856" y="6136761"/>
              <a:ext cx="194402" cy="233814"/>
              <a:chOff x="6199448" y="5757477"/>
              <a:chExt cx="445167" cy="535418"/>
            </a:xfrm>
          </p:grpSpPr>
          <p:sp>
            <p:nvSpPr>
              <p:cNvPr id="117" name="object 9">
                <a:extLst>
                  <a:ext uri="{FF2B5EF4-FFF2-40B4-BE49-F238E27FC236}">
                    <a16:creationId xmlns:a16="http://schemas.microsoft.com/office/drawing/2014/main" id="{F32DF1E0-2137-4802-B1B4-38C52D65DD6A}"/>
                  </a:ext>
                </a:extLst>
              </p:cNvPr>
              <p:cNvSpPr/>
              <p:nvPr userDrawn="1"/>
            </p:nvSpPr>
            <p:spPr>
              <a:xfrm>
                <a:off x="6302730" y="6005107"/>
                <a:ext cx="59055" cy="54610"/>
              </a:xfrm>
              <a:custGeom>
                <a:avLst/>
                <a:gdLst/>
                <a:ahLst/>
                <a:cxnLst/>
                <a:rect l="l" t="t" r="r" b="b"/>
                <a:pathLst>
                  <a:path w="59054" h="54610">
                    <a:moveTo>
                      <a:pt x="58623" y="0"/>
                    </a:moveTo>
                    <a:lnTo>
                      <a:pt x="0" y="54051"/>
                    </a:lnTo>
                  </a:path>
                </a:pathLst>
              </a:custGeom>
              <a:ln w="12700">
                <a:solidFill>
                  <a:schemeClr val="bg2"/>
                </a:solidFill>
              </a:ln>
            </p:spPr>
            <p:txBody>
              <a:bodyPr wrap="square" lIns="0" tIns="0" rIns="0" bIns="0" rtlCol="0"/>
              <a:lstStyle/>
              <a:p>
                <a:endParaRPr/>
              </a:p>
            </p:txBody>
          </p:sp>
          <p:sp>
            <p:nvSpPr>
              <p:cNvPr id="118" name="object 10">
                <a:extLst>
                  <a:ext uri="{FF2B5EF4-FFF2-40B4-BE49-F238E27FC236}">
                    <a16:creationId xmlns:a16="http://schemas.microsoft.com/office/drawing/2014/main" id="{E053BF8E-548F-44F9-BE9C-C9382F0B558B}"/>
                  </a:ext>
                </a:extLst>
              </p:cNvPr>
              <p:cNvSpPr/>
              <p:nvPr userDrawn="1"/>
            </p:nvSpPr>
            <p:spPr>
              <a:xfrm>
                <a:off x="6571235" y="6064810"/>
                <a:ext cx="40005" cy="34290"/>
              </a:xfrm>
              <a:custGeom>
                <a:avLst/>
                <a:gdLst/>
                <a:ahLst/>
                <a:cxnLst/>
                <a:rect l="l" t="t" r="r" b="b"/>
                <a:pathLst>
                  <a:path w="40004" h="34289">
                    <a:moveTo>
                      <a:pt x="39458" y="0"/>
                    </a:moveTo>
                    <a:lnTo>
                      <a:pt x="0" y="33693"/>
                    </a:lnTo>
                  </a:path>
                </a:pathLst>
              </a:custGeom>
              <a:ln w="12699">
                <a:solidFill>
                  <a:schemeClr val="bg2"/>
                </a:solidFill>
              </a:ln>
            </p:spPr>
            <p:txBody>
              <a:bodyPr wrap="square" lIns="0" tIns="0" rIns="0" bIns="0" rtlCol="0"/>
              <a:lstStyle/>
              <a:p>
                <a:endParaRPr/>
              </a:p>
            </p:txBody>
          </p:sp>
          <p:sp>
            <p:nvSpPr>
              <p:cNvPr id="119" name="object 11">
                <a:extLst>
                  <a:ext uri="{FF2B5EF4-FFF2-40B4-BE49-F238E27FC236}">
                    <a16:creationId xmlns:a16="http://schemas.microsoft.com/office/drawing/2014/main" id="{A4460925-3CF9-4BD1-82F6-1CC560B0168F}"/>
                  </a:ext>
                </a:extLst>
              </p:cNvPr>
              <p:cNvSpPr/>
              <p:nvPr userDrawn="1"/>
            </p:nvSpPr>
            <p:spPr>
              <a:xfrm>
                <a:off x="6199448" y="5757477"/>
                <a:ext cx="238760" cy="361315"/>
              </a:xfrm>
              <a:custGeom>
                <a:avLst/>
                <a:gdLst/>
                <a:ahLst/>
                <a:cxnLst/>
                <a:rect l="l" t="t" r="r" b="b"/>
                <a:pathLst>
                  <a:path w="238760" h="361314">
                    <a:moveTo>
                      <a:pt x="152401" y="0"/>
                    </a:moveTo>
                    <a:lnTo>
                      <a:pt x="206338" y="59621"/>
                    </a:lnTo>
                    <a:lnTo>
                      <a:pt x="232472" y="101546"/>
                    </a:lnTo>
                    <a:lnTo>
                      <a:pt x="238141" y="145618"/>
                    </a:lnTo>
                    <a:lnTo>
                      <a:pt x="230684" y="211683"/>
                    </a:lnTo>
                    <a:lnTo>
                      <a:pt x="202566" y="282121"/>
                    </a:lnTo>
                    <a:lnTo>
                      <a:pt x="155738" y="328306"/>
                    </a:lnTo>
                    <a:lnTo>
                      <a:pt x="111801" y="353570"/>
                    </a:lnTo>
                    <a:lnTo>
                      <a:pt x="92356" y="361251"/>
                    </a:lnTo>
                    <a:lnTo>
                      <a:pt x="35759" y="331100"/>
                    </a:lnTo>
                    <a:lnTo>
                      <a:pt x="7724" y="306879"/>
                    </a:lnTo>
                    <a:lnTo>
                      <a:pt x="0" y="275833"/>
                    </a:lnTo>
                    <a:lnTo>
                      <a:pt x="4332" y="225209"/>
                    </a:lnTo>
                    <a:lnTo>
                      <a:pt x="18791" y="180068"/>
                    </a:lnTo>
                    <a:lnTo>
                      <a:pt x="47033" y="134047"/>
                    </a:lnTo>
                    <a:lnTo>
                      <a:pt x="81786" y="90087"/>
                    </a:lnTo>
                    <a:lnTo>
                      <a:pt x="115780" y="51131"/>
                    </a:lnTo>
                    <a:lnTo>
                      <a:pt x="141742" y="20121"/>
                    </a:lnTo>
                    <a:lnTo>
                      <a:pt x="152401" y="0"/>
                    </a:lnTo>
                    <a:close/>
                  </a:path>
                </a:pathLst>
              </a:custGeom>
              <a:ln w="12700">
                <a:solidFill>
                  <a:schemeClr val="bg2"/>
                </a:solidFill>
              </a:ln>
            </p:spPr>
            <p:txBody>
              <a:bodyPr wrap="square" lIns="0" tIns="0" rIns="0" bIns="0" rtlCol="0"/>
              <a:lstStyle/>
              <a:p>
                <a:endParaRPr/>
              </a:p>
            </p:txBody>
          </p:sp>
          <p:sp>
            <p:nvSpPr>
              <p:cNvPr id="120" name="object 12">
                <a:extLst>
                  <a:ext uri="{FF2B5EF4-FFF2-40B4-BE49-F238E27FC236}">
                    <a16:creationId xmlns:a16="http://schemas.microsoft.com/office/drawing/2014/main" id="{BE491647-7DD4-47F3-864E-2155C1BA8D19}"/>
                  </a:ext>
                </a:extLst>
              </p:cNvPr>
              <p:cNvSpPr/>
              <p:nvPr userDrawn="1"/>
            </p:nvSpPr>
            <p:spPr>
              <a:xfrm>
                <a:off x="6291800" y="5958885"/>
                <a:ext cx="29845" cy="334010"/>
              </a:xfrm>
              <a:custGeom>
                <a:avLst/>
                <a:gdLst/>
                <a:ahLst/>
                <a:cxnLst/>
                <a:rect l="l" t="t" r="r" b="b"/>
                <a:pathLst>
                  <a:path w="29845" h="334010">
                    <a:moveTo>
                      <a:pt x="0" y="333590"/>
                    </a:moveTo>
                    <a:lnTo>
                      <a:pt x="0" y="159842"/>
                    </a:lnTo>
                    <a:lnTo>
                      <a:pt x="29337" y="0"/>
                    </a:lnTo>
                  </a:path>
                </a:pathLst>
              </a:custGeom>
              <a:ln w="12700">
                <a:solidFill>
                  <a:schemeClr val="bg2"/>
                </a:solidFill>
              </a:ln>
            </p:spPr>
            <p:txBody>
              <a:bodyPr wrap="square" lIns="0" tIns="0" rIns="0" bIns="0" rtlCol="0"/>
              <a:lstStyle/>
              <a:p>
                <a:endParaRPr/>
              </a:p>
            </p:txBody>
          </p:sp>
          <p:sp>
            <p:nvSpPr>
              <p:cNvPr id="121" name="object 13">
                <a:extLst>
                  <a:ext uri="{FF2B5EF4-FFF2-40B4-BE49-F238E27FC236}">
                    <a16:creationId xmlns:a16="http://schemas.microsoft.com/office/drawing/2014/main" id="{9F50E9B9-9DC7-447D-911E-BDFA8143D831}"/>
                  </a:ext>
                </a:extLst>
              </p:cNvPr>
              <p:cNvSpPr/>
              <p:nvPr userDrawn="1"/>
            </p:nvSpPr>
            <p:spPr>
              <a:xfrm>
                <a:off x="6509995" y="5895716"/>
                <a:ext cx="134620" cy="271780"/>
              </a:xfrm>
              <a:custGeom>
                <a:avLst/>
                <a:gdLst/>
                <a:ahLst/>
                <a:cxnLst/>
                <a:rect l="l" t="t" r="r" b="b"/>
                <a:pathLst>
                  <a:path w="134620" h="271779">
                    <a:moveTo>
                      <a:pt x="49169" y="271462"/>
                    </a:moveTo>
                    <a:lnTo>
                      <a:pt x="98809" y="244084"/>
                    </a:lnTo>
                    <a:lnTo>
                      <a:pt x="124248" y="222365"/>
                    </a:lnTo>
                    <a:lnTo>
                      <a:pt x="133490" y="194972"/>
                    </a:lnTo>
                    <a:lnTo>
                      <a:pt x="134539" y="150571"/>
                    </a:lnTo>
                    <a:lnTo>
                      <a:pt x="129037" y="97915"/>
                    </a:lnTo>
                    <a:lnTo>
                      <a:pt x="116451" y="54292"/>
                    </a:lnTo>
                    <a:lnTo>
                      <a:pt x="101517" y="21165"/>
                    </a:lnTo>
                    <a:lnTo>
                      <a:pt x="88971" y="0"/>
                    </a:lnTo>
                    <a:lnTo>
                      <a:pt x="67453" y="33982"/>
                    </a:lnTo>
                    <a:lnTo>
                      <a:pt x="53324" y="55833"/>
                    </a:lnTo>
                    <a:lnTo>
                      <a:pt x="40320" y="75025"/>
                    </a:lnTo>
                    <a:lnTo>
                      <a:pt x="22182" y="101028"/>
                    </a:lnTo>
                    <a:lnTo>
                      <a:pt x="3912" y="139522"/>
                    </a:lnTo>
                    <a:lnTo>
                      <a:pt x="0" y="183183"/>
                    </a:lnTo>
                    <a:lnTo>
                      <a:pt x="13925" y="228374"/>
                    </a:lnTo>
                    <a:lnTo>
                      <a:pt x="49169" y="271462"/>
                    </a:lnTo>
                    <a:close/>
                  </a:path>
                </a:pathLst>
              </a:custGeom>
              <a:ln w="12700">
                <a:solidFill>
                  <a:schemeClr val="bg2"/>
                </a:solidFill>
              </a:ln>
            </p:spPr>
            <p:txBody>
              <a:bodyPr wrap="square" lIns="0" tIns="0" rIns="0" bIns="0" rtlCol="0"/>
              <a:lstStyle/>
              <a:p>
                <a:endParaRPr/>
              </a:p>
            </p:txBody>
          </p:sp>
          <p:sp>
            <p:nvSpPr>
              <p:cNvPr id="122" name="object 14">
                <a:extLst>
                  <a:ext uri="{FF2B5EF4-FFF2-40B4-BE49-F238E27FC236}">
                    <a16:creationId xmlns:a16="http://schemas.microsoft.com/office/drawing/2014/main" id="{7DECF443-31EC-447A-BF1E-F398348656A9}"/>
                  </a:ext>
                </a:extLst>
              </p:cNvPr>
              <p:cNvSpPr/>
              <p:nvPr userDrawn="1"/>
            </p:nvSpPr>
            <p:spPr>
              <a:xfrm>
                <a:off x="6559165" y="6040621"/>
                <a:ext cx="22860" cy="252095"/>
              </a:xfrm>
              <a:custGeom>
                <a:avLst/>
                <a:gdLst/>
                <a:ahLst/>
                <a:cxnLst/>
                <a:rect l="l" t="t" r="r" b="b"/>
                <a:pathLst>
                  <a:path w="22859" h="252095">
                    <a:moveTo>
                      <a:pt x="22250" y="0"/>
                    </a:moveTo>
                    <a:lnTo>
                      <a:pt x="0" y="126555"/>
                    </a:lnTo>
                    <a:lnTo>
                      <a:pt x="0" y="251853"/>
                    </a:lnTo>
                  </a:path>
                </a:pathLst>
              </a:custGeom>
              <a:ln w="12700">
                <a:solidFill>
                  <a:schemeClr val="bg2"/>
                </a:solidFill>
              </a:ln>
            </p:spPr>
            <p:txBody>
              <a:bodyPr wrap="square" lIns="0" tIns="0" rIns="0" bIns="0" rtlCol="0"/>
              <a:lstStyle/>
              <a:p>
                <a:endParaRPr/>
              </a:p>
            </p:txBody>
          </p:sp>
        </p:grpSp>
      </p:grpSp>
    </p:spTree>
    <p:extLst>
      <p:ext uri="{BB962C8B-B14F-4D97-AF65-F5344CB8AC3E}">
        <p14:creationId xmlns:p14="http://schemas.microsoft.com/office/powerpoint/2010/main" val="34417152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7_ENTSO-E Two columns">
    <p:spTree>
      <p:nvGrpSpPr>
        <p:cNvPr id="1" name=""/>
        <p:cNvGrpSpPr/>
        <p:nvPr/>
      </p:nvGrpSpPr>
      <p:grpSpPr>
        <a:xfrm>
          <a:off x="0" y="0"/>
          <a:ext cx="0" cy="0"/>
          <a:chOff x="0" y="0"/>
          <a:chExt cx="0" cy="0"/>
        </a:xfrm>
      </p:grpSpPr>
      <p:sp>
        <p:nvSpPr>
          <p:cNvPr id="9" name="Inhaltsplatzhalter 2"/>
          <p:cNvSpPr>
            <a:spLocks noGrp="1"/>
          </p:cNvSpPr>
          <p:nvPr>
            <p:ph idx="1" hasCustomPrompt="1"/>
          </p:nvPr>
        </p:nvSpPr>
        <p:spPr>
          <a:xfrm>
            <a:off x="382868" y="1052736"/>
            <a:ext cx="5664117" cy="3311810"/>
          </a:xfrm>
          <a:prstGeom prst="rect">
            <a:avLst/>
          </a:prstGeom>
        </p:spPr>
        <p:txBody>
          <a:bodyPr>
            <a:normAutofit/>
          </a:bodyPr>
          <a:lstStyle>
            <a:lvl1pPr algn="l">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0" name="Inhaltsplatzhalter 2"/>
          <p:cNvSpPr>
            <a:spLocks noGrp="1"/>
          </p:cNvSpPr>
          <p:nvPr>
            <p:ph idx="13" hasCustomPrompt="1"/>
          </p:nvPr>
        </p:nvSpPr>
        <p:spPr>
          <a:xfrm>
            <a:off x="6206439" y="1052736"/>
            <a:ext cx="5664117" cy="3311810"/>
          </a:xfrm>
          <a:prstGeom prst="rect">
            <a:avLst/>
          </a:prstGeom>
        </p:spPr>
        <p:txBody>
          <a:bodyPr>
            <a:normAutofit/>
          </a:bodyPr>
          <a:lstStyle>
            <a:lvl1pPr>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6" name="Titel 5">
            <a:extLst>
              <a:ext uri="{FF2B5EF4-FFF2-40B4-BE49-F238E27FC236}">
                <a16:creationId xmlns:a16="http://schemas.microsoft.com/office/drawing/2014/main" id="{BF868832-6945-4F2F-8DEC-A69FB10BA62E}"/>
              </a:ext>
            </a:extLst>
          </p:cNvPr>
          <p:cNvSpPr>
            <a:spLocks noGrp="1"/>
          </p:cNvSpPr>
          <p:nvPr>
            <p:ph type="title" hasCustomPrompt="1"/>
          </p:nvPr>
        </p:nvSpPr>
        <p:spPr>
          <a:xfrm>
            <a:off x="38286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898261152"/>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pos="181">
          <p15:clr>
            <a:srgbClr val="A4A3A4"/>
          </p15:clr>
        </p15:guide>
        <p15:guide id="5" pos="7499">
          <p15:clr>
            <a:srgbClr val="A4A3A4"/>
          </p15:clr>
        </p15:guide>
        <p15:guide id="6" orient="horz" pos="3634">
          <p15:clr>
            <a:srgbClr val="A4A3A4"/>
          </p15:clr>
        </p15:guide>
        <p15:guide id="7" orient="horz" pos="1049">
          <p15:clr>
            <a:srgbClr val="A4A3A4"/>
          </p15:clr>
        </p15:guide>
        <p15:guide id="8" pos="3749">
          <p15:clr>
            <a:srgbClr val="A4A3A4"/>
          </p15:clr>
        </p15:guide>
        <p15:guide id="9" pos="3931">
          <p15:clr>
            <a:srgbClr val="A4A3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Content with normal text + summary in footer">
    <p:spTree>
      <p:nvGrpSpPr>
        <p:cNvPr id="1" name=""/>
        <p:cNvGrpSpPr/>
        <p:nvPr/>
      </p:nvGrpSpPr>
      <p:grpSpPr>
        <a:xfrm>
          <a:off x="0" y="0"/>
          <a:ext cx="0" cy="0"/>
          <a:chOff x="0" y="0"/>
          <a:chExt cx="0" cy="0"/>
        </a:xfrm>
      </p:grpSpPr>
      <p:sp>
        <p:nvSpPr>
          <p:cNvPr id="8" name="Fußzeilenplatzhalter 46"/>
          <p:cNvSpPr>
            <a:spLocks noGrp="1"/>
          </p:cNvSpPr>
          <p:nvPr>
            <p:ph type="ftr" sz="quarter" idx="3"/>
          </p:nvPr>
        </p:nvSpPr>
        <p:spPr>
          <a:xfrm>
            <a:off x="9296400" y="6282000"/>
            <a:ext cx="2006600" cy="196850"/>
          </a:xfrm>
          <a:prstGeom prst="rect">
            <a:avLst/>
          </a:prstGeom>
        </p:spPr>
        <p:txBody>
          <a:bodyPr vert="horz" wrap="none" lIns="0" tIns="45720" rIns="0" bIns="0" rtlCol="0" anchor="ctr"/>
          <a:lstStyle>
            <a:lvl1pPr algn="r">
              <a:defRPr sz="900">
                <a:solidFill>
                  <a:srgbClr val="364D54"/>
                </a:solidFill>
                <a:latin typeface="Arial"/>
                <a:cs typeface="Arial"/>
              </a:defRPr>
            </a:lvl1pPr>
          </a:lstStyle>
          <a:p>
            <a:endParaRPr lang="en-GB"/>
          </a:p>
        </p:txBody>
      </p:sp>
      <p:sp>
        <p:nvSpPr>
          <p:cNvPr id="10" name="Titelplatzhalter 10"/>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6"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 name="Text Placeholder 2">
            <a:extLst>
              <a:ext uri="{FF2B5EF4-FFF2-40B4-BE49-F238E27FC236}">
                <a16:creationId xmlns:a16="http://schemas.microsoft.com/office/drawing/2014/main" id="{1F606C2D-766B-468F-9DD8-8746F30BC1C2}"/>
              </a:ext>
            </a:extLst>
          </p:cNvPr>
          <p:cNvSpPr>
            <a:spLocks noGrp="1"/>
          </p:cNvSpPr>
          <p:nvPr>
            <p:ph type="body" sz="quarter" idx="11" hasCustomPrompt="1"/>
          </p:nvPr>
        </p:nvSpPr>
        <p:spPr>
          <a:xfrm>
            <a:off x="914400" y="1952600"/>
            <a:ext cx="9792000" cy="2978681"/>
          </a:xfrm>
          <a:prstGeom prst="rect">
            <a:avLst/>
          </a:prstGeom>
        </p:spPr>
        <p:txBody>
          <a:bodyPr/>
          <a:lstStyle>
            <a:lvl1pPr marL="0" marR="508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sz="1600">
                <a:solidFill>
                  <a:schemeClr val="accent2"/>
                </a:solidFill>
                <a:latin typeface="Arial" panose="020B0604020202020204" pitchFamily="34" charset="0"/>
                <a:cs typeface="Arial" panose="020B0604020202020204" pitchFamily="34" charset="0"/>
              </a:defRPr>
            </a:lvl1pPr>
            <a:lvl2pPr marL="721350" indent="0">
              <a:lnSpc>
                <a:spcPts val="1500"/>
              </a:lnSpc>
              <a:spcBef>
                <a:spcPts val="1000"/>
              </a:spcBef>
              <a:buClr>
                <a:srgbClr val="FF7300"/>
              </a:buClr>
              <a:buFont typeface="Arial" panose="020B0604020202020204" pitchFamily="34" charset="0"/>
              <a:buNone/>
              <a:defRPr sz="1400">
                <a:solidFill>
                  <a:schemeClr val="tx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 This text is only meant to serve as a kind of place marker, which will later be replaced by the finished text.</a:t>
            </a:r>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p:txBody>
      </p:sp>
      <p:sp>
        <p:nvSpPr>
          <p:cNvPr id="28" name="Text Placeholder 2">
            <a:extLst>
              <a:ext uri="{FF2B5EF4-FFF2-40B4-BE49-F238E27FC236}">
                <a16:creationId xmlns:a16="http://schemas.microsoft.com/office/drawing/2014/main" id="{7D707F97-3B0C-4572-9E8F-34058B5A1D89}"/>
              </a:ext>
            </a:extLst>
          </p:cNvPr>
          <p:cNvSpPr>
            <a:spLocks noGrp="1"/>
          </p:cNvSpPr>
          <p:nvPr>
            <p:ph type="body" sz="quarter" idx="12" hasCustomPrompt="1"/>
          </p:nvPr>
        </p:nvSpPr>
        <p:spPr>
          <a:xfrm>
            <a:off x="914399" y="5300663"/>
            <a:ext cx="9792000" cy="611955"/>
          </a:xfrm>
          <a:prstGeom prst="rect">
            <a:avLst/>
          </a:prstGeom>
          <a:ln>
            <a:solidFill>
              <a:schemeClr val="bg2"/>
            </a:solidFill>
            <a:prstDash val="sysDot"/>
          </a:ln>
        </p:spPr>
        <p:txBody>
          <a:bodyPr anchor="ctr">
            <a:normAutofit/>
          </a:bodyPr>
          <a:lstStyle>
            <a:lvl1pPr>
              <a:defRPr lang="fr-BE" sz="2000" b="1" kern="1200" baseline="0" dirty="0">
                <a:solidFill>
                  <a:schemeClr val="bg2"/>
                </a:solidFill>
                <a:latin typeface="Arial"/>
                <a:ea typeface="+mj-ea"/>
                <a:cs typeface="Arial"/>
              </a:defRPr>
            </a:lvl1pPr>
          </a:lstStyle>
          <a:p>
            <a:pPr lvl="0"/>
            <a:r>
              <a:rPr lang="en-GB"/>
              <a:t>Summary</a:t>
            </a:r>
            <a:r>
              <a:rPr lang="en-US"/>
              <a:t> - 16 should be the smallest font size. The conclusion should only have two lines.</a:t>
            </a:r>
            <a:endParaRPr lang="fr-BE"/>
          </a:p>
        </p:txBody>
      </p:sp>
    </p:spTree>
    <p:extLst>
      <p:ext uri="{BB962C8B-B14F-4D97-AF65-F5344CB8AC3E}">
        <p14:creationId xmlns:p14="http://schemas.microsoft.com/office/powerpoint/2010/main" val="98698790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Content with normal text and summary + graphics in footer">
    <p:spTree>
      <p:nvGrpSpPr>
        <p:cNvPr id="1" name=""/>
        <p:cNvGrpSpPr/>
        <p:nvPr/>
      </p:nvGrpSpPr>
      <p:grpSpPr>
        <a:xfrm>
          <a:off x="0" y="0"/>
          <a:ext cx="0" cy="0"/>
          <a:chOff x="0" y="0"/>
          <a:chExt cx="0" cy="0"/>
        </a:xfrm>
      </p:grpSpPr>
      <p:sp>
        <p:nvSpPr>
          <p:cNvPr id="8" name="Fußzeilenplatzhalter 46"/>
          <p:cNvSpPr>
            <a:spLocks noGrp="1"/>
          </p:cNvSpPr>
          <p:nvPr>
            <p:ph type="ftr" sz="quarter" idx="3"/>
          </p:nvPr>
        </p:nvSpPr>
        <p:spPr>
          <a:xfrm>
            <a:off x="9296400" y="6282000"/>
            <a:ext cx="2006600" cy="196850"/>
          </a:xfrm>
          <a:prstGeom prst="rect">
            <a:avLst/>
          </a:prstGeom>
        </p:spPr>
        <p:txBody>
          <a:bodyPr vert="horz" wrap="none" lIns="0" tIns="45720" rIns="0" bIns="0" rtlCol="0" anchor="ctr"/>
          <a:lstStyle>
            <a:lvl1pPr algn="r">
              <a:defRPr sz="900">
                <a:solidFill>
                  <a:srgbClr val="364D54"/>
                </a:solidFill>
                <a:latin typeface="Arial"/>
                <a:cs typeface="Arial"/>
              </a:defRPr>
            </a:lvl1pPr>
          </a:lstStyle>
          <a:p>
            <a:endParaRPr lang="en-GB"/>
          </a:p>
        </p:txBody>
      </p:sp>
      <p:sp>
        <p:nvSpPr>
          <p:cNvPr id="10" name="Titelplatzhalter 10"/>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6"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 name="Text Placeholder 2">
            <a:extLst>
              <a:ext uri="{FF2B5EF4-FFF2-40B4-BE49-F238E27FC236}">
                <a16:creationId xmlns:a16="http://schemas.microsoft.com/office/drawing/2014/main" id="{1F606C2D-766B-468F-9DD8-8746F30BC1C2}"/>
              </a:ext>
            </a:extLst>
          </p:cNvPr>
          <p:cNvSpPr>
            <a:spLocks noGrp="1"/>
          </p:cNvSpPr>
          <p:nvPr>
            <p:ph type="body" sz="quarter" idx="11" hasCustomPrompt="1"/>
          </p:nvPr>
        </p:nvSpPr>
        <p:spPr>
          <a:xfrm>
            <a:off x="914400" y="1952600"/>
            <a:ext cx="9792000" cy="2978681"/>
          </a:xfrm>
          <a:prstGeom prst="rect">
            <a:avLst/>
          </a:prstGeom>
        </p:spPr>
        <p:txBody>
          <a:bodyPr/>
          <a:lstStyle>
            <a:lvl1pPr marL="0" marR="508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sz="1600">
                <a:solidFill>
                  <a:schemeClr val="accent2"/>
                </a:solidFill>
                <a:latin typeface="Arial" panose="020B0604020202020204" pitchFamily="34" charset="0"/>
                <a:cs typeface="Arial" panose="020B0604020202020204" pitchFamily="34" charset="0"/>
              </a:defRPr>
            </a:lvl1pPr>
            <a:lvl2pPr marL="721350" indent="0">
              <a:lnSpc>
                <a:spcPts val="1500"/>
              </a:lnSpc>
              <a:spcBef>
                <a:spcPts val="1000"/>
              </a:spcBef>
              <a:buClr>
                <a:srgbClr val="FF7300"/>
              </a:buClr>
              <a:buFont typeface="Arial" panose="020B0604020202020204" pitchFamily="34" charset="0"/>
              <a:buNone/>
              <a:defRPr sz="1400">
                <a:solidFill>
                  <a:schemeClr val="tx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 This text is only meant to serve as a kind of place marker, which will later be replaced by the finished text.</a:t>
            </a:r>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p:txBody>
      </p:sp>
      <p:sp>
        <p:nvSpPr>
          <p:cNvPr id="28" name="Text Placeholder 2">
            <a:extLst>
              <a:ext uri="{FF2B5EF4-FFF2-40B4-BE49-F238E27FC236}">
                <a16:creationId xmlns:a16="http://schemas.microsoft.com/office/drawing/2014/main" id="{7D707F97-3B0C-4572-9E8F-34058B5A1D89}"/>
              </a:ext>
            </a:extLst>
          </p:cNvPr>
          <p:cNvSpPr>
            <a:spLocks noGrp="1"/>
          </p:cNvSpPr>
          <p:nvPr>
            <p:ph type="body" sz="quarter" idx="12" hasCustomPrompt="1"/>
          </p:nvPr>
        </p:nvSpPr>
        <p:spPr>
          <a:xfrm>
            <a:off x="914399" y="5300663"/>
            <a:ext cx="9792000" cy="611955"/>
          </a:xfrm>
          <a:prstGeom prst="rect">
            <a:avLst/>
          </a:prstGeom>
          <a:ln>
            <a:solidFill>
              <a:schemeClr val="bg2"/>
            </a:solidFill>
            <a:prstDash val="sysDot"/>
          </a:ln>
        </p:spPr>
        <p:txBody>
          <a:bodyPr anchor="ctr">
            <a:normAutofit/>
          </a:bodyPr>
          <a:lstStyle>
            <a:lvl1pPr>
              <a:defRPr lang="fr-BE" sz="2000" b="1" kern="1200" baseline="0" dirty="0">
                <a:solidFill>
                  <a:schemeClr val="bg2"/>
                </a:solidFill>
                <a:latin typeface="Arial"/>
                <a:ea typeface="+mj-ea"/>
                <a:cs typeface="Arial"/>
              </a:defRPr>
            </a:lvl1pPr>
          </a:lstStyle>
          <a:p>
            <a:pPr lvl="0"/>
            <a:r>
              <a:rPr lang="en-GB"/>
              <a:t>Summary</a:t>
            </a:r>
            <a:r>
              <a:rPr lang="en-US"/>
              <a:t> - 16 should be the smallest font size. The conclusion should only have two lines.</a:t>
            </a:r>
            <a:endParaRPr lang="fr-BE"/>
          </a:p>
        </p:txBody>
      </p:sp>
      <p:grpSp>
        <p:nvGrpSpPr>
          <p:cNvPr id="29" name="Group 28">
            <a:extLst>
              <a:ext uri="{FF2B5EF4-FFF2-40B4-BE49-F238E27FC236}">
                <a16:creationId xmlns:a16="http://schemas.microsoft.com/office/drawing/2014/main" id="{FA34D117-AD84-4C76-91D5-B27E1ACDB017}"/>
              </a:ext>
            </a:extLst>
          </p:cNvPr>
          <p:cNvGrpSpPr/>
          <p:nvPr userDrawn="1"/>
        </p:nvGrpSpPr>
        <p:grpSpPr>
          <a:xfrm>
            <a:off x="0" y="5964940"/>
            <a:ext cx="9078301" cy="535703"/>
            <a:chOff x="0" y="5964940"/>
            <a:chExt cx="9078301" cy="535703"/>
          </a:xfrm>
        </p:grpSpPr>
        <p:grpSp>
          <p:nvGrpSpPr>
            <p:cNvPr id="30" name="Group 29">
              <a:extLst>
                <a:ext uri="{FF2B5EF4-FFF2-40B4-BE49-F238E27FC236}">
                  <a16:creationId xmlns:a16="http://schemas.microsoft.com/office/drawing/2014/main" id="{F2E04CEF-63A5-4617-AC1E-7E1CE3D7A48A}"/>
                </a:ext>
              </a:extLst>
            </p:cNvPr>
            <p:cNvGrpSpPr/>
            <p:nvPr userDrawn="1"/>
          </p:nvGrpSpPr>
          <p:grpSpPr>
            <a:xfrm>
              <a:off x="8906480" y="5964940"/>
              <a:ext cx="171821" cy="171821"/>
              <a:chOff x="10960096" y="4204963"/>
              <a:chExt cx="405867" cy="405866"/>
            </a:xfrm>
          </p:grpSpPr>
          <p:sp>
            <p:nvSpPr>
              <p:cNvPr id="55" name="object 26">
                <a:extLst>
                  <a:ext uri="{FF2B5EF4-FFF2-40B4-BE49-F238E27FC236}">
                    <a16:creationId xmlns:a16="http://schemas.microsoft.com/office/drawing/2014/main" id="{04975D0A-0FB8-43EE-89D3-8CF7F11989FE}"/>
                  </a:ext>
                </a:extLst>
              </p:cNvPr>
              <p:cNvSpPr/>
              <p:nvPr userDrawn="1"/>
            </p:nvSpPr>
            <p:spPr>
              <a:xfrm>
                <a:off x="11162878" y="4204963"/>
                <a:ext cx="0" cy="64807"/>
              </a:xfrm>
              <a:custGeom>
                <a:avLst/>
                <a:gdLst/>
                <a:ahLst/>
                <a:cxnLst/>
                <a:rect l="l" t="t" r="r" b="b"/>
                <a:pathLst>
                  <a:path h="78739">
                    <a:moveTo>
                      <a:pt x="0" y="78371"/>
                    </a:moveTo>
                    <a:lnTo>
                      <a:pt x="0" y="0"/>
                    </a:lnTo>
                  </a:path>
                </a:pathLst>
              </a:custGeom>
              <a:ln w="12700">
                <a:solidFill>
                  <a:schemeClr val="bg2"/>
                </a:solidFill>
              </a:ln>
            </p:spPr>
            <p:txBody>
              <a:bodyPr wrap="square" lIns="0" tIns="0" rIns="0" bIns="0" rtlCol="0"/>
              <a:lstStyle/>
              <a:p>
                <a:endParaRPr/>
              </a:p>
            </p:txBody>
          </p:sp>
          <p:sp>
            <p:nvSpPr>
              <p:cNvPr id="56" name="object 27">
                <a:extLst>
                  <a:ext uri="{FF2B5EF4-FFF2-40B4-BE49-F238E27FC236}">
                    <a16:creationId xmlns:a16="http://schemas.microsoft.com/office/drawing/2014/main" id="{D457F16C-6839-444C-9D72-ECC13454F6B7}"/>
                  </a:ext>
                </a:extLst>
              </p:cNvPr>
              <p:cNvSpPr/>
              <p:nvPr userDrawn="1"/>
            </p:nvSpPr>
            <p:spPr>
              <a:xfrm>
                <a:off x="10960096" y="4407744"/>
                <a:ext cx="64807" cy="0"/>
              </a:xfrm>
              <a:custGeom>
                <a:avLst/>
                <a:gdLst/>
                <a:ahLst/>
                <a:cxnLst/>
                <a:rect l="l" t="t" r="r" b="b"/>
                <a:pathLst>
                  <a:path w="78740">
                    <a:moveTo>
                      <a:pt x="78371" y="0"/>
                    </a:moveTo>
                    <a:lnTo>
                      <a:pt x="0" y="0"/>
                    </a:lnTo>
                  </a:path>
                </a:pathLst>
              </a:custGeom>
              <a:ln w="12700">
                <a:solidFill>
                  <a:schemeClr val="bg2"/>
                </a:solidFill>
              </a:ln>
            </p:spPr>
            <p:txBody>
              <a:bodyPr wrap="square" lIns="0" tIns="0" rIns="0" bIns="0" rtlCol="0"/>
              <a:lstStyle/>
              <a:p>
                <a:endParaRPr/>
              </a:p>
            </p:txBody>
          </p:sp>
          <p:sp>
            <p:nvSpPr>
              <p:cNvPr id="57" name="object 28">
                <a:extLst>
                  <a:ext uri="{FF2B5EF4-FFF2-40B4-BE49-F238E27FC236}">
                    <a16:creationId xmlns:a16="http://schemas.microsoft.com/office/drawing/2014/main" id="{EC4FC034-6A90-4C3E-BF40-265E12F0F5C2}"/>
                  </a:ext>
                </a:extLst>
              </p:cNvPr>
              <p:cNvSpPr/>
              <p:nvPr userDrawn="1"/>
            </p:nvSpPr>
            <p:spPr>
              <a:xfrm>
                <a:off x="11162878" y="4546022"/>
                <a:ext cx="0" cy="64807"/>
              </a:xfrm>
              <a:custGeom>
                <a:avLst/>
                <a:gdLst/>
                <a:ahLst/>
                <a:cxnLst/>
                <a:rect l="l" t="t" r="r" b="b"/>
                <a:pathLst>
                  <a:path h="78739">
                    <a:moveTo>
                      <a:pt x="0" y="0"/>
                    </a:moveTo>
                    <a:lnTo>
                      <a:pt x="0" y="78371"/>
                    </a:lnTo>
                  </a:path>
                </a:pathLst>
              </a:custGeom>
              <a:ln w="12700">
                <a:solidFill>
                  <a:schemeClr val="bg2"/>
                </a:solidFill>
              </a:ln>
            </p:spPr>
            <p:txBody>
              <a:bodyPr wrap="square" lIns="0" tIns="0" rIns="0" bIns="0" rtlCol="0"/>
              <a:lstStyle/>
              <a:p>
                <a:endParaRPr/>
              </a:p>
            </p:txBody>
          </p:sp>
          <p:sp>
            <p:nvSpPr>
              <p:cNvPr id="58" name="object 29">
                <a:extLst>
                  <a:ext uri="{FF2B5EF4-FFF2-40B4-BE49-F238E27FC236}">
                    <a16:creationId xmlns:a16="http://schemas.microsoft.com/office/drawing/2014/main" id="{9545914D-4353-43A9-ABF3-18D0FF0B3642}"/>
                  </a:ext>
                </a:extLst>
              </p:cNvPr>
              <p:cNvSpPr/>
              <p:nvPr userDrawn="1"/>
            </p:nvSpPr>
            <p:spPr>
              <a:xfrm>
                <a:off x="11301156" y="4407744"/>
                <a:ext cx="64807" cy="0"/>
              </a:xfrm>
              <a:custGeom>
                <a:avLst/>
                <a:gdLst/>
                <a:ahLst/>
                <a:cxnLst/>
                <a:rect l="l" t="t" r="r" b="b"/>
                <a:pathLst>
                  <a:path w="78740">
                    <a:moveTo>
                      <a:pt x="0" y="0"/>
                    </a:moveTo>
                    <a:lnTo>
                      <a:pt x="78371" y="0"/>
                    </a:lnTo>
                  </a:path>
                </a:pathLst>
              </a:custGeom>
              <a:ln w="12700">
                <a:solidFill>
                  <a:schemeClr val="bg2"/>
                </a:solidFill>
              </a:ln>
            </p:spPr>
            <p:txBody>
              <a:bodyPr wrap="square" lIns="0" tIns="0" rIns="0" bIns="0" rtlCol="0"/>
              <a:lstStyle/>
              <a:p>
                <a:endParaRPr/>
              </a:p>
            </p:txBody>
          </p:sp>
          <p:sp>
            <p:nvSpPr>
              <p:cNvPr id="59" name="object 30">
                <a:extLst>
                  <a:ext uri="{FF2B5EF4-FFF2-40B4-BE49-F238E27FC236}">
                    <a16:creationId xmlns:a16="http://schemas.microsoft.com/office/drawing/2014/main" id="{2CC0EBC5-D86A-456B-9381-68A98CB6F0D3}"/>
                  </a:ext>
                </a:extLst>
              </p:cNvPr>
              <p:cNvSpPr/>
              <p:nvPr userDrawn="1"/>
            </p:nvSpPr>
            <p:spPr>
              <a:xfrm>
                <a:off x="10998198" y="4312662"/>
                <a:ext cx="44947" cy="26132"/>
              </a:xfrm>
              <a:custGeom>
                <a:avLst/>
                <a:gdLst/>
                <a:ahLst/>
                <a:cxnLst/>
                <a:rect l="l" t="t" r="r" b="b"/>
                <a:pathLst>
                  <a:path w="54609" h="31750">
                    <a:moveTo>
                      <a:pt x="54584" y="31521"/>
                    </a:moveTo>
                    <a:lnTo>
                      <a:pt x="0" y="0"/>
                    </a:lnTo>
                  </a:path>
                </a:pathLst>
              </a:custGeom>
              <a:ln w="12700">
                <a:solidFill>
                  <a:schemeClr val="bg2"/>
                </a:solidFill>
              </a:ln>
            </p:spPr>
            <p:txBody>
              <a:bodyPr wrap="square" lIns="0" tIns="0" rIns="0" bIns="0" rtlCol="0"/>
              <a:lstStyle/>
              <a:p>
                <a:endParaRPr/>
              </a:p>
            </p:txBody>
          </p:sp>
          <p:sp>
            <p:nvSpPr>
              <p:cNvPr id="60" name="object 31">
                <a:extLst>
                  <a:ext uri="{FF2B5EF4-FFF2-40B4-BE49-F238E27FC236}">
                    <a16:creationId xmlns:a16="http://schemas.microsoft.com/office/drawing/2014/main" id="{7FE7C052-9A9A-45E3-A7FF-1F354D0F10C1}"/>
                  </a:ext>
                </a:extLst>
              </p:cNvPr>
              <p:cNvSpPr/>
              <p:nvPr userDrawn="1"/>
            </p:nvSpPr>
            <p:spPr>
              <a:xfrm>
                <a:off x="11282630" y="4476883"/>
                <a:ext cx="44947" cy="26132"/>
              </a:xfrm>
              <a:custGeom>
                <a:avLst/>
                <a:gdLst/>
                <a:ahLst/>
                <a:cxnLst/>
                <a:rect l="l" t="t" r="r" b="b"/>
                <a:pathLst>
                  <a:path w="54609" h="31750">
                    <a:moveTo>
                      <a:pt x="0" y="0"/>
                    </a:moveTo>
                    <a:lnTo>
                      <a:pt x="54584" y="31508"/>
                    </a:lnTo>
                  </a:path>
                </a:pathLst>
              </a:custGeom>
              <a:ln w="12700">
                <a:solidFill>
                  <a:schemeClr val="bg2"/>
                </a:solidFill>
              </a:ln>
            </p:spPr>
            <p:txBody>
              <a:bodyPr wrap="square" lIns="0" tIns="0" rIns="0" bIns="0" rtlCol="0"/>
              <a:lstStyle/>
              <a:p>
                <a:endParaRPr/>
              </a:p>
            </p:txBody>
          </p:sp>
          <p:sp>
            <p:nvSpPr>
              <p:cNvPr id="61" name="object 32">
                <a:extLst>
                  <a:ext uri="{FF2B5EF4-FFF2-40B4-BE49-F238E27FC236}">
                    <a16:creationId xmlns:a16="http://schemas.microsoft.com/office/drawing/2014/main" id="{EE964DF3-4EEB-4A84-B778-09560F831D7B}"/>
                  </a:ext>
                </a:extLst>
              </p:cNvPr>
              <p:cNvSpPr/>
              <p:nvPr userDrawn="1"/>
            </p:nvSpPr>
            <p:spPr>
              <a:xfrm>
                <a:off x="11067805" y="4243066"/>
                <a:ext cx="26132" cy="44947"/>
              </a:xfrm>
              <a:custGeom>
                <a:avLst/>
                <a:gdLst/>
                <a:ahLst/>
                <a:cxnLst/>
                <a:rect l="l" t="t" r="r" b="b"/>
                <a:pathLst>
                  <a:path w="31750" h="54610">
                    <a:moveTo>
                      <a:pt x="31508" y="54584"/>
                    </a:moveTo>
                    <a:lnTo>
                      <a:pt x="0" y="0"/>
                    </a:lnTo>
                  </a:path>
                </a:pathLst>
              </a:custGeom>
              <a:ln w="12700">
                <a:solidFill>
                  <a:schemeClr val="bg2"/>
                </a:solidFill>
              </a:ln>
            </p:spPr>
            <p:txBody>
              <a:bodyPr wrap="square" lIns="0" tIns="0" rIns="0" bIns="0" rtlCol="0"/>
              <a:lstStyle/>
              <a:p>
                <a:endParaRPr/>
              </a:p>
            </p:txBody>
          </p:sp>
          <p:sp>
            <p:nvSpPr>
              <p:cNvPr id="62" name="object 33">
                <a:extLst>
                  <a:ext uri="{FF2B5EF4-FFF2-40B4-BE49-F238E27FC236}">
                    <a16:creationId xmlns:a16="http://schemas.microsoft.com/office/drawing/2014/main" id="{3AC3C372-BAA2-4F1B-B9A3-1BA0380C2B37}"/>
                  </a:ext>
                </a:extLst>
              </p:cNvPr>
              <p:cNvSpPr/>
              <p:nvPr userDrawn="1"/>
            </p:nvSpPr>
            <p:spPr>
              <a:xfrm>
                <a:off x="11232017" y="4527495"/>
                <a:ext cx="26132" cy="44947"/>
              </a:xfrm>
              <a:custGeom>
                <a:avLst/>
                <a:gdLst/>
                <a:ahLst/>
                <a:cxnLst/>
                <a:rect l="l" t="t" r="r" b="b"/>
                <a:pathLst>
                  <a:path w="31750" h="54610">
                    <a:moveTo>
                      <a:pt x="0" y="0"/>
                    </a:moveTo>
                    <a:lnTo>
                      <a:pt x="31521" y="54584"/>
                    </a:lnTo>
                  </a:path>
                </a:pathLst>
              </a:custGeom>
              <a:ln w="12700">
                <a:solidFill>
                  <a:schemeClr val="bg2"/>
                </a:solidFill>
              </a:ln>
            </p:spPr>
            <p:txBody>
              <a:bodyPr wrap="square" lIns="0" tIns="0" rIns="0" bIns="0" rtlCol="0"/>
              <a:lstStyle/>
              <a:p>
                <a:endParaRPr/>
              </a:p>
            </p:txBody>
          </p:sp>
          <p:sp>
            <p:nvSpPr>
              <p:cNvPr id="63" name="object 34">
                <a:extLst>
                  <a:ext uri="{FF2B5EF4-FFF2-40B4-BE49-F238E27FC236}">
                    <a16:creationId xmlns:a16="http://schemas.microsoft.com/office/drawing/2014/main" id="{D41280A8-CD76-4949-BDC6-A0C9585DD60A}"/>
                  </a:ext>
                </a:extLst>
              </p:cNvPr>
              <p:cNvSpPr/>
              <p:nvPr userDrawn="1"/>
            </p:nvSpPr>
            <p:spPr>
              <a:xfrm>
                <a:off x="11282630" y="4312662"/>
                <a:ext cx="44947" cy="26132"/>
              </a:xfrm>
              <a:custGeom>
                <a:avLst/>
                <a:gdLst/>
                <a:ahLst/>
                <a:cxnLst/>
                <a:rect l="l" t="t" r="r" b="b"/>
                <a:pathLst>
                  <a:path w="54609" h="31750">
                    <a:moveTo>
                      <a:pt x="0" y="31521"/>
                    </a:moveTo>
                    <a:lnTo>
                      <a:pt x="54584" y="0"/>
                    </a:lnTo>
                  </a:path>
                </a:pathLst>
              </a:custGeom>
              <a:ln w="12700">
                <a:solidFill>
                  <a:schemeClr val="bg2"/>
                </a:solidFill>
              </a:ln>
            </p:spPr>
            <p:txBody>
              <a:bodyPr wrap="square" lIns="0" tIns="0" rIns="0" bIns="0" rtlCol="0"/>
              <a:lstStyle/>
              <a:p>
                <a:endParaRPr/>
              </a:p>
            </p:txBody>
          </p:sp>
          <p:sp>
            <p:nvSpPr>
              <p:cNvPr id="64" name="object 35">
                <a:extLst>
                  <a:ext uri="{FF2B5EF4-FFF2-40B4-BE49-F238E27FC236}">
                    <a16:creationId xmlns:a16="http://schemas.microsoft.com/office/drawing/2014/main" id="{8DDF09A3-7EA4-4824-9E90-C9D11F91F3E6}"/>
                  </a:ext>
                </a:extLst>
              </p:cNvPr>
              <p:cNvSpPr/>
              <p:nvPr userDrawn="1"/>
            </p:nvSpPr>
            <p:spPr>
              <a:xfrm>
                <a:off x="10998198" y="4476883"/>
                <a:ext cx="44947" cy="26132"/>
              </a:xfrm>
              <a:custGeom>
                <a:avLst/>
                <a:gdLst/>
                <a:ahLst/>
                <a:cxnLst/>
                <a:rect l="l" t="t" r="r" b="b"/>
                <a:pathLst>
                  <a:path w="54609" h="31750">
                    <a:moveTo>
                      <a:pt x="54584" y="0"/>
                    </a:moveTo>
                    <a:lnTo>
                      <a:pt x="0" y="31508"/>
                    </a:lnTo>
                  </a:path>
                </a:pathLst>
              </a:custGeom>
              <a:ln w="12700">
                <a:solidFill>
                  <a:schemeClr val="bg2"/>
                </a:solidFill>
              </a:ln>
            </p:spPr>
            <p:txBody>
              <a:bodyPr wrap="square" lIns="0" tIns="0" rIns="0" bIns="0" rtlCol="0"/>
              <a:lstStyle/>
              <a:p>
                <a:endParaRPr/>
              </a:p>
            </p:txBody>
          </p:sp>
          <p:sp>
            <p:nvSpPr>
              <p:cNvPr id="65" name="object 36">
                <a:extLst>
                  <a:ext uri="{FF2B5EF4-FFF2-40B4-BE49-F238E27FC236}">
                    <a16:creationId xmlns:a16="http://schemas.microsoft.com/office/drawing/2014/main" id="{BBBB67E0-68E1-4EB0-854F-7D33F0D640E4}"/>
                  </a:ext>
                </a:extLst>
              </p:cNvPr>
              <p:cNvSpPr/>
              <p:nvPr userDrawn="1"/>
            </p:nvSpPr>
            <p:spPr>
              <a:xfrm>
                <a:off x="11232017" y="4243066"/>
                <a:ext cx="26132" cy="44947"/>
              </a:xfrm>
              <a:custGeom>
                <a:avLst/>
                <a:gdLst/>
                <a:ahLst/>
                <a:cxnLst/>
                <a:rect l="l" t="t" r="r" b="b"/>
                <a:pathLst>
                  <a:path w="31750" h="54610">
                    <a:moveTo>
                      <a:pt x="0" y="54584"/>
                    </a:moveTo>
                    <a:lnTo>
                      <a:pt x="31521" y="0"/>
                    </a:lnTo>
                  </a:path>
                </a:pathLst>
              </a:custGeom>
              <a:ln w="12700">
                <a:solidFill>
                  <a:schemeClr val="bg2"/>
                </a:solidFill>
              </a:ln>
            </p:spPr>
            <p:txBody>
              <a:bodyPr wrap="square" lIns="0" tIns="0" rIns="0" bIns="0" rtlCol="0"/>
              <a:lstStyle/>
              <a:p>
                <a:endParaRPr/>
              </a:p>
            </p:txBody>
          </p:sp>
          <p:sp>
            <p:nvSpPr>
              <p:cNvPr id="66" name="object 37">
                <a:extLst>
                  <a:ext uri="{FF2B5EF4-FFF2-40B4-BE49-F238E27FC236}">
                    <a16:creationId xmlns:a16="http://schemas.microsoft.com/office/drawing/2014/main" id="{F2B84386-87BD-4732-AE97-56C9D3FB4982}"/>
                  </a:ext>
                </a:extLst>
              </p:cNvPr>
              <p:cNvSpPr/>
              <p:nvPr userDrawn="1"/>
            </p:nvSpPr>
            <p:spPr>
              <a:xfrm>
                <a:off x="11067794" y="4527495"/>
                <a:ext cx="26132" cy="44947"/>
              </a:xfrm>
              <a:custGeom>
                <a:avLst/>
                <a:gdLst/>
                <a:ahLst/>
                <a:cxnLst/>
                <a:rect l="l" t="t" r="r" b="b"/>
                <a:pathLst>
                  <a:path w="31750" h="54610">
                    <a:moveTo>
                      <a:pt x="31521" y="0"/>
                    </a:moveTo>
                    <a:lnTo>
                      <a:pt x="0" y="54584"/>
                    </a:lnTo>
                  </a:path>
                </a:pathLst>
              </a:custGeom>
              <a:ln w="12700">
                <a:solidFill>
                  <a:schemeClr val="bg2"/>
                </a:solidFill>
              </a:ln>
            </p:spPr>
            <p:txBody>
              <a:bodyPr wrap="square" lIns="0" tIns="0" rIns="0" bIns="0" rtlCol="0"/>
              <a:lstStyle/>
              <a:p>
                <a:endParaRPr/>
              </a:p>
            </p:txBody>
          </p:sp>
          <p:sp>
            <p:nvSpPr>
              <p:cNvPr id="67" name="object 38">
                <a:extLst>
                  <a:ext uri="{FF2B5EF4-FFF2-40B4-BE49-F238E27FC236}">
                    <a16:creationId xmlns:a16="http://schemas.microsoft.com/office/drawing/2014/main" id="{B4D871BC-24AE-4149-963C-ECC3D71586B1}"/>
                  </a:ext>
                </a:extLst>
              </p:cNvPr>
              <p:cNvSpPr/>
              <p:nvPr userDrawn="1"/>
            </p:nvSpPr>
            <p:spPr>
              <a:xfrm>
                <a:off x="11062674" y="4307544"/>
                <a:ext cx="200693" cy="200693"/>
              </a:xfrm>
              <a:custGeom>
                <a:avLst/>
                <a:gdLst/>
                <a:ahLst/>
                <a:cxnLst/>
                <a:rect l="l" t="t" r="r" b="b"/>
                <a:pathLst>
                  <a:path w="243840" h="243839">
                    <a:moveTo>
                      <a:pt x="0" y="121742"/>
                    </a:moveTo>
                    <a:lnTo>
                      <a:pt x="9567" y="169130"/>
                    </a:lnTo>
                    <a:lnTo>
                      <a:pt x="35658" y="207832"/>
                    </a:lnTo>
                    <a:lnTo>
                      <a:pt x="74355" y="233927"/>
                    </a:lnTo>
                    <a:lnTo>
                      <a:pt x="121742" y="243497"/>
                    </a:lnTo>
                    <a:lnTo>
                      <a:pt x="169136" y="233927"/>
                    </a:lnTo>
                    <a:lnTo>
                      <a:pt x="207837" y="207832"/>
                    </a:lnTo>
                    <a:lnTo>
                      <a:pt x="233929" y="169130"/>
                    </a:lnTo>
                    <a:lnTo>
                      <a:pt x="243497" y="121742"/>
                    </a:lnTo>
                    <a:lnTo>
                      <a:pt x="233929" y="74355"/>
                    </a:lnTo>
                    <a:lnTo>
                      <a:pt x="207837" y="35658"/>
                    </a:lnTo>
                    <a:lnTo>
                      <a:pt x="169136" y="9567"/>
                    </a:lnTo>
                    <a:lnTo>
                      <a:pt x="121742" y="0"/>
                    </a:lnTo>
                    <a:lnTo>
                      <a:pt x="74355" y="9567"/>
                    </a:lnTo>
                    <a:lnTo>
                      <a:pt x="35658" y="35658"/>
                    </a:lnTo>
                    <a:lnTo>
                      <a:pt x="9567" y="74355"/>
                    </a:lnTo>
                    <a:lnTo>
                      <a:pt x="0" y="121742"/>
                    </a:lnTo>
                    <a:close/>
                  </a:path>
                </a:pathLst>
              </a:custGeom>
              <a:ln w="12700">
                <a:solidFill>
                  <a:schemeClr val="bg2"/>
                </a:solidFill>
              </a:ln>
            </p:spPr>
            <p:txBody>
              <a:bodyPr wrap="square" lIns="0" tIns="0" rIns="0" bIns="0" rtlCol="0"/>
              <a:lstStyle/>
              <a:p>
                <a:endParaRPr/>
              </a:p>
            </p:txBody>
          </p:sp>
        </p:grpSp>
        <p:grpSp>
          <p:nvGrpSpPr>
            <p:cNvPr id="31" name="Gruppierung 14">
              <a:extLst>
                <a:ext uri="{FF2B5EF4-FFF2-40B4-BE49-F238E27FC236}">
                  <a16:creationId xmlns:a16="http://schemas.microsoft.com/office/drawing/2014/main" id="{FC7E25D2-3B9B-430D-8D67-5DDA8E0813F9}"/>
                </a:ext>
              </a:extLst>
            </p:cNvPr>
            <p:cNvGrpSpPr/>
            <p:nvPr userDrawn="1"/>
          </p:nvGrpSpPr>
          <p:grpSpPr>
            <a:xfrm>
              <a:off x="0" y="6040373"/>
              <a:ext cx="9026886" cy="460270"/>
              <a:chOff x="0" y="6040373"/>
              <a:chExt cx="9026886" cy="460270"/>
            </a:xfrm>
          </p:grpSpPr>
          <p:sp>
            <p:nvSpPr>
              <p:cNvPr id="39" name="object 5">
                <a:extLst>
                  <a:ext uri="{FF2B5EF4-FFF2-40B4-BE49-F238E27FC236}">
                    <a16:creationId xmlns:a16="http://schemas.microsoft.com/office/drawing/2014/main" id="{FA2C6FE5-0C34-4745-80C2-60A24DF348EE}"/>
                  </a:ext>
                </a:extLst>
              </p:cNvPr>
              <p:cNvSpPr/>
              <p:nvPr/>
            </p:nvSpPr>
            <p:spPr>
              <a:xfrm>
                <a:off x="8337530" y="6363619"/>
                <a:ext cx="177165" cy="0"/>
              </a:xfrm>
              <a:custGeom>
                <a:avLst/>
                <a:gdLst/>
                <a:ahLst/>
                <a:cxnLst/>
                <a:rect l="l" t="t" r="r" b="b"/>
                <a:pathLst>
                  <a:path w="177165">
                    <a:moveTo>
                      <a:pt x="0" y="0"/>
                    </a:moveTo>
                    <a:lnTo>
                      <a:pt x="176809" y="0"/>
                    </a:lnTo>
                  </a:path>
                </a:pathLst>
              </a:custGeom>
              <a:ln w="12700">
                <a:solidFill>
                  <a:schemeClr val="bg2"/>
                </a:solidFill>
              </a:ln>
            </p:spPr>
            <p:txBody>
              <a:bodyPr wrap="square" lIns="0" tIns="0" rIns="0" bIns="0" rtlCol="0"/>
              <a:lstStyle/>
              <a:p>
                <a:endParaRPr/>
              </a:p>
            </p:txBody>
          </p:sp>
          <p:sp>
            <p:nvSpPr>
              <p:cNvPr id="40" name="object 7">
                <a:extLst>
                  <a:ext uri="{FF2B5EF4-FFF2-40B4-BE49-F238E27FC236}">
                    <a16:creationId xmlns:a16="http://schemas.microsoft.com/office/drawing/2014/main" id="{5DADF757-82E7-4DCD-97B7-2CBCB63A618A}"/>
                  </a:ext>
                </a:extLst>
              </p:cNvPr>
              <p:cNvSpPr/>
              <p:nvPr/>
            </p:nvSpPr>
            <p:spPr>
              <a:xfrm>
                <a:off x="0" y="6363619"/>
                <a:ext cx="8247380" cy="0"/>
              </a:xfrm>
              <a:custGeom>
                <a:avLst/>
                <a:gdLst/>
                <a:ahLst/>
                <a:cxnLst/>
                <a:rect l="l" t="t" r="r" b="b"/>
                <a:pathLst>
                  <a:path w="8247380">
                    <a:moveTo>
                      <a:pt x="0" y="0"/>
                    </a:moveTo>
                    <a:lnTo>
                      <a:pt x="8247143" y="0"/>
                    </a:lnTo>
                  </a:path>
                </a:pathLst>
              </a:custGeom>
              <a:ln w="12700">
                <a:solidFill>
                  <a:schemeClr val="bg2"/>
                </a:solidFill>
              </a:ln>
            </p:spPr>
            <p:txBody>
              <a:bodyPr wrap="square" lIns="0" tIns="0" rIns="0" bIns="0" rtlCol="0"/>
              <a:lstStyle/>
              <a:p>
                <a:endParaRPr/>
              </a:p>
            </p:txBody>
          </p:sp>
          <p:sp>
            <p:nvSpPr>
              <p:cNvPr id="41" name="object 8">
                <a:extLst>
                  <a:ext uri="{FF2B5EF4-FFF2-40B4-BE49-F238E27FC236}">
                    <a16:creationId xmlns:a16="http://schemas.microsoft.com/office/drawing/2014/main" id="{AADB6525-111B-4E50-94EF-19F397849172}"/>
                  </a:ext>
                </a:extLst>
              </p:cNvPr>
              <p:cNvSpPr/>
              <p:nvPr/>
            </p:nvSpPr>
            <p:spPr>
              <a:xfrm>
                <a:off x="8730631"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42" name="object 9">
                <a:extLst>
                  <a:ext uri="{FF2B5EF4-FFF2-40B4-BE49-F238E27FC236}">
                    <a16:creationId xmlns:a16="http://schemas.microsoft.com/office/drawing/2014/main" id="{A9C9D8A7-90CA-4BDA-9314-203433DE0BF7}"/>
                  </a:ext>
                </a:extLst>
              </p:cNvPr>
              <p:cNvSpPr/>
              <p:nvPr/>
            </p:nvSpPr>
            <p:spPr>
              <a:xfrm>
                <a:off x="8483920"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43" name="object 10">
                <a:extLst>
                  <a:ext uri="{FF2B5EF4-FFF2-40B4-BE49-F238E27FC236}">
                    <a16:creationId xmlns:a16="http://schemas.microsoft.com/office/drawing/2014/main" id="{CF8B8F4C-F3EC-4E28-B079-91A20344C15C}"/>
                  </a:ext>
                </a:extLst>
              </p:cNvPr>
              <p:cNvSpPr/>
              <p:nvPr/>
            </p:nvSpPr>
            <p:spPr>
              <a:xfrm>
                <a:off x="8730631"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44" name="object 11">
                <a:extLst>
                  <a:ext uri="{FF2B5EF4-FFF2-40B4-BE49-F238E27FC236}">
                    <a16:creationId xmlns:a16="http://schemas.microsoft.com/office/drawing/2014/main" id="{AF534E5D-3BB5-48FD-8A31-D054622C9D44}"/>
                  </a:ext>
                </a:extLst>
              </p:cNvPr>
              <p:cNvSpPr/>
              <p:nvPr/>
            </p:nvSpPr>
            <p:spPr>
              <a:xfrm>
                <a:off x="8483920"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45" name="object 12">
                <a:extLst>
                  <a:ext uri="{FF2B5EF4-FFF2-40B4-BE49-F238E27FC236}">
                    <a16:creationId xmlns:a16="http://schemas.microsoft.com/office/drawing/2014/main" id="{B67D5E1B-C7B4-4429-84B9-592630FA00C7}"/>
                  </a:ext>
                </a:extLst>
              </p:cNvPr>
              <p:cNvSpPr/>
              <p:nvPr/>
            </p:nvSpPr>
            <p:spPr>
              <a:xfrm>
                <a:off x="8566326" y="6060876"/>
                <a:ext cx="81915" cy="252729"/>
              </a:xfrm>
              <a:custGeom>
                <a:avLst/>
                <a:gdLst/>
                <a:ahLst/>
                <a:cxnLst/>
                <a:rect l="l" t="t" r="r" b="b"/>
                <a:pathLst>
                  <a:path w="81915" h="252729">
                    <a:moveTo>
                      <a:pt x="0" y="210934"/>
                    </a:moveTo>
                    <a:lnTo>
                      <a:pt x="40944" y="252349"/>
                    </a:lnTo>
                    <a:lnTo>
                      <a:pt x="81902" y="210934"/>
                    </a:lnTo>
                    <a:lnTo>
                      <a:pt x="81902" y="0"/>
                    </a:lnTo>
                    <a:lnTo>
                      <a:pt x="0" y="0"/>
                    </a:lnTo>
                    <a:lnTo>
                      <a:pt x="0" y="210934"/>
                    </a:lnTo>
                    <a:close/>
                  </a:path>
                </a:pathLst>
              </a:custGeom>
              <a:ln w="12699">
                <a:solidFill>
                  <a:schemeClr val="bg2"/>
                </a:solidFill>
              </a:ln>
            </p:spPr>
            <p:txBody>
              <a:bodyPr wrap="square" lIns="0" tIns="0" rIns="0" bIns="0" rtlCol="0"/>
              <a:lstStyle/>
              <a:p>
                <a:endParaRPr/>
              </a:p>
            </p:txBody>
          </p:sp>
          <p:sp>
            <p:nvSpPr>
              <p:cNvPr id="46" name="object 13">
                <a:extLst>
                  <a:ext uri="{FF2B5EF4-FFF2-40B4-BE49-F238E27FC236}">
                    <a16:creationId xmlns:a16="http://schemas.microsoft.com/office/drawing/2014/main" id="{75D94D67-0000-46CA-B8AC-985B9EEF74ED}"/>
                  </a:ext>
                </a:extLst>
              </p:cNvPr>
              <p:cNvSpPr/>
              <p:nvPr/>
            </p:nvSpPr>
            <p:spPr>
              <a:xfrm>
                <a:off x="8483920" y="6167417"/>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47" name="object 14">
                <a:extLst>
                  <a:ext uri="{FF2B5EF4-FFF2-40B4-BE49-F238E27FC236}">
                    <a16:creationId xmlns:a16="http://schemas.microsoft.com/office/drawing/2014/main" id="{74104242-1D7C-4FD1-94B8-8BD66933FF41}"/>
                  </a:ext>
                </a:extLst>
              </p:cNvPr>
              <p:cNvSpPr/>
              <p:nvPr/>
            </p:nvSpPr>
            <p:spPr>
              <a:xfrm>
                <a:off x="8483920" y="6060874"/>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48" name="object 15">
                <a:extLst>
                  <a:ext uri="{FF2B5EF4-FFF2-40B4-BE49-F238E27FC236}">
                    <a16:creationId xmlns:a16="http://schemas.microsoft.com/office/drawing/2014/main" id="{94F6E20B-D4CB-4A4C-BCFB-5E8E22FB8AE6}"/>
                  </a:ext>
                </a:extLst>
              </p:cNvPr>
              <p:cNvSpPr/>
              <p:nvPr/>
            </p:nvSpPr>
            <p:spPr>
              <a:xfrm>
                <a:off x="8607279" y="6271811"/>
                <a:ext cx="91440" cy="92710"/>
              </a:xfrm>
              <a:custGeom>
                <a:avLst/>
                <a:gdLst/>
                <a:ahLst/>
                <a:cxnLst/>
                <a:rect l="l" t="t" r="r" b="b"/>
                <a:pathLst>
                  <a:path w="91440" h="92710">
                    <a:moveTo>
                      <a:pt x="40944" y="0"/>
                    </a:moveTo>
                    <a:lnTo>
                      <a:pt x="90995" y="92151"/>
                    </a:lnTo>
                    <a:lnTo>
                      <a:pt x="0" y="41414"/>
                    </a:lnTo>
                  </a:path>
                </a:pathLst>
              </a:custGeom>
              <a:ln w="12700">
                <a:solidFill>
                  <a:schemeClr val="bg2"/>
                </a:solidFill>
              </a:ln>
            </p:spPr>
            <p:txBody>
              <a:bodyPr wrap="square" lIns="0" tIns="0" rIns="0" bIns="0" rtlCol="0"/>
              <a:lstStyle/>
              <a:p>
                <a:endParaRPr/>
              </a:p>
            </p:txBody>
          </p:sp>
          <p:sp>
            <p:nvSpPr>
              <p:cNvPr id="49" name="object 16">
                <a:extLst>
                  <a:ext uri="{FF2B5EF4-FFF2-40B4-BE49-F238E27FC236}">
                    <a16:creationId xmlns:a16="http://schemas.microsoft.com/office/drawing/2014/main" id="{25771C78-CBCC-420E-8322-8BF5D3659809}"/>
                  </a:ext>
                </a:extLst>
              </p:cNvPr>
              <p:cNvSpPr/>
              <p:nvPr/>
            </p:nvSpPr>
            <p:spPr>
              <a:xfrm>
                <a:off x="8516275" y="6271811"/>
                <a:ext cx="91440" cy="92710"/>
              </a:xfrm>
              <a:custGeom>
                <a:avLst/>
                <a:gdLst/>
                <a:ahLst/>
                <a:cxnLst/>
                <a:rect l="l" t="t" r="r" b="b"/>
                <a:pathLst>
                  <a:path w="91440" h="92710">
                    <a:moveTo>
                      <a:pt x="50050" y="0"/>
                    </a:moveTo>
                    <a:lnTo>
                      <a:pt x="0" y="92151"/>
                    </a:lnTo>
                    <a:lnTo>
                      <a:pt x="90995" y="41414"/>
                    </a:lnTo>
                  </a:path>
                </a:pathLst>
              </a:custGeom>
              <a:ln w="12700">
                <a:solidFill>
                  <a:schemeClr val="bg2"/>
                </a:solidFill>
              </a:ln>
            </p:spPr>
            <p:txBody>
              <a:bodyPr wrap="square" lIns="0" tIns="0" rIns="0" bIns="0" rtlCol="0"/>
              <a:lstStyle/>
              <a:p>
                <a:endParaRPr/>
              </a:p>
            </p:txBody>
          </p:sp>
          <p:sp>
            <p:nvSpPr>
              <p:cNvPr id="50" name="object 17">
                <a:extLst>
                  <a:ext uri="{FF2B5EF4-FFF2-40B4-BE49-F238E27FC236}">
                    <a16:creationId xmlns:a16="http://schemas.microsoft.com/office/drawing/2014/main" id="{14A87430-C72E-41A9-B75A-E4D422EBDD69}"/>
                  </a:ext>
                </a:extLst>
              </p:cNvPr>
              <p:cNvSpPr/>
              <p:nvPr/>
            </p:nvSpPr>
            <p:spPr>
              <a:xfrm>
                <a:off x="8164555" y="6184883"/>
                <a:ext cx="254000" cy="30480"/>
              </a:xfrm>
              <a:custGeom>
                <a:avLst/>
                <a:gdLst/>
                <a:ahLst/>
                <a:cxnLst/>
                <a:rect l="l" t="t" r="r" b="b"/>
                <a:pathLst>
                  <a:path w="254000" h="30479">
                    <a:moveTo>
                      <a:pt x="104901" y="0"/>
                    </a:moveTo>
                    <a:lnTo>
                      <a:pt x="149136" y="0"/>
                    </a:lnTo>
                    <a:lnTo>
                      <a:pt x="253847" y="30187"/>
                    </a:lnTo>
                    <a:lnTo>
                      <a:pt x="153835" y="30187"/>
                    </a:lnTo>
                    <a:lnTo>
                      <a:pt x="0" y="30187"/>
                    </a:lnTo>
                    <a:lnTo>
                      <a:pt x="104901" y="0"/>
                    </a:lnTo>
                    <a:close/>
                  </a:path>
                </a:pathLst>
              </a:custGeom>
              <a:ln w="12700">
                <a:solidFill>
                  <a:schemeClr val="bg2"/>
                </a:solidFill>
              </a:ln>
            </p:spPr>
            <p:txBody>
              <a:bodyPr wrap="square" lIns="0" tIns="0" rIns="0" bIns="0" rtlCol="0"/>
              <a:lstStyle/>
              <a:p>
                <a:endParaRPr/>
              </a:p>
            </p:txBody>
          </p:sp>
          <p:sp>
            <p:nvSpPr>
              <p:cNvPr id="51" name="object 18">
                <a:extLst>
                  <a:ext uri="{FF2B5EF4-FFF2-40B4-BE49-F238E27FC236}">
                    <a16:creationId xmlns:a16="http://schemas.microsoft.com/office/drawing/2014/main" id="{696CEC46-73CA-4F6A-A6E3-17BBD3795C76}"/>
                  </a:ext>
                </a:extLst>
              </p:cNvPr>
              <p:cNvSpPr/>
              <p:nvPr/>
            </p:nvSpPr>
            <p:spPr>
              <a:xfrm>
                <a:off x="8220333" y="6111744"/>
                <a:ext cx="142875" cy="28575"/>
              </a:xfrm>
              <a:custGeom>
                <a:avLst/>
                <a:gdLst/>
                <a:ahLst/>
                <a:cxnLst/>
                <a:rect l="l" t="t" r="r" b="b"/>
                <a:pathLst>
                  <a:path w="142875" h="28575">
                    <a:moveTo>
                      <a:pt x="60299" y="0"/>
                    </a:moveTo>
                    <a:lnTo>
                      <a:pt x="82232" y="0"/>
                    </a:lnTo>
                    <a:lnTo>
                      <a:pt x="142328" y="28384"/>
                    </a:lnTo>
                    <a:lnTo>
                      <a:pt x="0" y="28384"/>
                    </a:lnTo>
                    <a:lnTo>
                      <a:pt x="60299" y="0"/>
                    </a:lnTo>
                    <a:close/>
                  </a:path>
                </a:pathLst>
              </a:custGeom>
              <a:ln w="12700">
                <a:solidFill>
                  <a:schemeClr val="bg2"/>
                </a:solidFill>
              </a:ln>
            </p:spPr>
            <p:txBody>
              <a:bodyPr wrap="square" lIns="0" tIns="0" rIns="0" bIns="0" rtlCol="0"/>
              <a:lstStyle/>
              <a:p>
                <a:endParaRPr/>
              </a:p>
            </p:txBody>
          </p:sp>
          <p:sp>
            <p:nvSpPr>
              <p:cNvPr id="52" name="object 19">
                <a:extLst>
                  <a:ext uri="{FF2B5EF4-FFF2-40B4-BE49-F238E27FC236}">
                    <a16:creationId xmlns:a16="http://schemas.microsoft.com/office/drawing/2014/main" id="{6B56D1C9-B5C0-45FF-A13F-A1B66BC4F47F}"/>
                  </a:ext>
                </a:extLst>
              </p:cNvPr>
              <p:cNvSpPr/>
              <p:nvPr/>
            </p:nvSpPr>
            <p:spPr>
              <a:xfrm>
                <a:off x="8246643" y="6040373"/>
                <a:ext cx="90170" cy="322580"/>
              </a:xfrm>
              <a:custGeom>
                <a:avLst/>
                <a:gdLst/>
                <a:ahLst/>
                <a:cxnLst/>
                <a:rect l="l" t="t" r="r" b="b"/>
                <a:pathLst>
                  <a:path w="90170" h="322579">
                    <a:moveTo>
                      <a:pt x="69138" y="174269"/>
                    </a:moveTo>
                    <a:lnTo>
                      <a:pt x="0" y="322478"/>
                    </a:lnTo>
                    <a:lnTo>
                      <a:pt x="44996" y="0"/>
                    </a:lnTo>
                    <a:lnTo>
                      <a:pt x="89674" y="322478"/>
                    </a:lnTo>
                    <a:lnTo>
                      <a:pt x="20612" y="174701"/>
                    </a:lnTo>
                  </a:path>
                </a:pathLst>
              </a:custGeom>
              <a:ln w="12700">
                <a:solidFill>
                  <a:schemeClr val="bg2"/>
                </a:solidFill>
              </a:ln>
            </p:spPr>
            <p:txBody>
              <a:bodyPr wrap="square" lIns="0" tIns="0" rIns="0" bIns="0" rtlCol="0"/>
              <a:lstStyle/>
              <a:p>
                <a:endParaRPr/>
              </a:p>
            </p:txBody>
          </p:sp>
          <p:sp>
            <p:nvSpPr>
              <p:cNvPr id="53" name="object 20">
                <a:extLst>
                  <a:ext uri="{FF2B5EF4-FFF2-40B4-BE49-F238E27FC236}">
                    <a16:creationId xmlns:a16="http://schemas.microsoft.com/office/drawing/2014/main" id="{66A2E526-3B75-49A2-A6D7-B138BD184D3D}"/>
                  </a:ext>
                </a:extLst>
              </p:cNvPr>
              <p:cNvSpPr/>
              <p:nvPr/>
            </p:nvSpPr>
            <p:spPr>
              <a:xfrm>
                <a:off x="8497296" y="6364602"/>
                <a:ext cx="529590" cy="111125"/>
              </a:xfrm>
              <a:custGeom>
                <a:avLst/>
                <a:gdLst/>
                <a:ahLst/>
                <a:cxnLst/>
                <a:rect l="l" t="t" r="r" b="b"/>
                <a:pathLst>
                  <a:path w="529590" h="111125">
                    <a:moveTo>
                      <a:pt x="201396" y="76"/>
                    </a:moveTo>
                    <a:lnTo>
                      <a:pt x="473849" y="0"/>
                    </a:lnTo>
                    <a:lnTo>
                      <a:pt x="512968" y="16202"/>
                    </a:lnTo>
                    <a:lnTo>
                      <a:pt x="529170" y="55321"/>
                    </a:lnTo>
                    <a:lnTo>
                      <a:pt x="524823" y="76856"/>
                    </a:lnTo>
                    <a:lnTo>
                      <a:pt x="512968" y="94440"/>
                    </a:lnTo>
                    <a:lnTo>
                      <a:pt x="495384" y="106295"/>
                    </a:lnTo>
                    <a:lnTo>
                      <a:pt x="473849" y="110642"/>
                    </a:lnTo>
                    <a:lnTo>
                      <a:pt x="0" y="110642"/>
                    </a:lnTo>
                  </a:path>
                </a:pathLst>
              </a:custGeom>
              <a:ln w="12699">
                <a:solidFill>
                  <a:schemeClr val="bg2"/>
                </a:solidFill>
              </a:ln>
            </p:spPr>
            <p:txBody>
              <a:bodyPr wrap="square" lIns="0" tIns="0" rIns="0" bIns="0" rtlCol="0"/>
              <a:lstStyle/>
              <a:p>
                <a:endParaRPr/>
              </a:p>
            </p:txBody>
          </p:sp>
          <p:sp>
            <p:nvSpPr>
              <p:cNvPr id="54" name="object 21">
                <a:extLst>
                  <a:ext uri="{FF2B5EF4-FFF2-40B4-BE49-F238E27FC236}">
                    <a16:creationId xmlns:a16="http://schemas.microsoft.com/office/drawing/2014/main" id="{D3BFB3B1-42C4-454E-B5BC-F3E0B6477CA5}"/>
                  </a:ext>
                </a:extLst>
              </p:cNvPr>
              <p:cNvSpPr/>
              <p:nvPr/>
            </p:nvSpPr>
            <p:spPr>
              <a:xfrm>
                <a:off x="8446492" y="6449843"/>
                <a:ext cx="50800" cy="50800"/>
              </a:xfrm>
              <a:custGeom>
                <a:avLst/>
                <a:gdLst/>
                <a:ahLst/>
                <a:cxnLst/>
                <a:rect l="l" t="t" r="r" b="b"/>
                <a:pathLst>
                  <a:path w="50800" h="50800">
                    <a:moveTo>
                      <a:pt x="25400" y="0"/>
                    </a:moveTo>
                    <a:lnTo>
                      <a:pt x="15510" y="1995"/>
                    </a:lnTo>
                    <a:lnTo>
                      <a:pt x="7437" y="7437"/>
                    </a:lnTo>
                    <a:lnTo>
                      <a:pt x="1995" y="15510"/>
                    </a:lnTo>
                    <a:lnTo>
                      <a:pt x="0" y="25400"/>
                    </a:lnTo>
                    <a:lnTo>
                      <a:pt x="1995" y="35289"/>
                    </a:lnTo>
                    <a:lnTo>
                      <a:pt x="7437" y="43362"/>
                    </a:lnTo>
                    <a:lnTo>
                      <a:pt x="15510" y="48804"/>
                    </a:lnTo>
                    <a:lnTo>
                      <a:pt x="25400" y="50800"/>
                    </a:lnTo>
                    <a:lnTo>
                      <a:pt x="35289" y="48804"/>
                    </a:lnTo>
                    <a:lnTo>
                      <a:pt x="43362" y="43362"/>
                    </a:lnTo>
                    <a:lnTo>
                      <a:pt x="48804" y="35289"/>
                    </a:lnTo>
                    <a:lnTo>
                      <a:pt x="50800" y="25400"/>
                    </a:lnTo>
                    <a:lnTo>
                      <a:pt x="48804" y="15510"/>
                    </a:lnTo>
                    <a:lnTo>
                      <a:pt x="43362" y="7437"/>
                    </a:lnTo>
                    <a:lnTo>
                      <a:pt x="35289" y="1995"/>
                    </a:lnTo>
                    <a:lnTo>
                      <a:pt x="25400" y="0"/>
                    </a:lnTo>
                    <a:close/>
                  </a:path>
                </a:pathLst>
              </a:custGeom>
              <a:ln w="12700">
                <a:solidFill>
                  <a:schemeClr val="bg2"/>
                </a:solidFill>
              </a:ln>
            </p:spPr>
            <p:txBody>
              <a:bodyPr wrap="square" lIns="0" tIns="0" rIns="0" bIns="0" rtlCol="0"/>
              <a:lstStyle/>
              <a:p>
                <a:endParaRPr/>
              </a:p>
            </p:txBody>
          </p:sp>
        </p:grpSp>
        <p:grpSp>
          <p:nvGrpSpPr>
            <p:cNvPr id="32" name="Group 31">
              <a:extLst>
                <a:ext uri="{FF2B5EF4-FFF2-40B4-BE49-F238E27FC236}">
                  <a16:creationId xmlns:a16="http://schemas.microsoft.com/office/drawing/2014/main" id="{BD8F21C5-6249-41C9-9B6F-11161A14D143}"/>
                </a:ext>
              </a:extLst>
            </p:cNvPr>
            <p:cNvGrpSpPr/>
            <p:nvPr userDrawn="1"/>
          </p:nvGrpSpPr>
          <p:grpSpPr>
            <a:xfrm>
              <a:off x="7807856" y="6136761"/>
              <a:ext cx="194402" cy="233814"/>
              <a:chOff x="6199448" y="5757477"/>
              <a:chExt cx="445167" cy="535418"/>
            </a:xfrm>
          </p:grpSpPr>
          <p:sp>
            <p:nvSpPr>
              <p:cNvPr id="33" name="object 9">
                <a:extLst>
                  <a:ext uri="{FF2B5EF4-FFF2-40B4-BE49-F238E27FC236}">
                    <a16:creationId xmlns:a16="http://schemas.microsoft.com/office/drawing/2014/main" id="{9A45F43E-B6F8-4B83-AEE2-67631ECA1BB4}"/>
                  </a:ext>
                </a:extLst>
              </p:cNvPr>
              <p:cNvSpPr/>
              <p:nvPr userDrawn="1"/>
            </p:nvSpPr>
            <p:spPr>
              <a:xfrm>
                <a:off x="6302730" y="6005107"/>
                <a:ext cx="59055" cy="54610"/>
              </a:xfrm>
              <a:custGeom>
                <a:avLst/>
                <a:gdLst/>
                <a:ahLst/>
                <a:cxnLst/>
                <a:rect l="l" t="t" r="r" b="b"/>
                <a:pathLst>
                  <a:path w="59054" h="54610">
                    <a:moveTo>
                      <a:pt x="58623" y="0"/>
                    </a:moveTo>
                    <a:lnTo>
                      <a:pt x="0" y="54051"/>
                    </a:lnTo>
                  </a:path>
                </a:pathLst>
              </a:custGeom>
              <a:ln w="12700">
                <a:solidFill>
                  <a:schemeClr val="bg2"/>
                </a:solidFill>
              </a:ln>
            </p:spPr>
            <p:txBody>
              <a:bodyPr wrap="square" lIns="0" tIns="0" rIns="0" bIns="0" rtlCol="0"/>
              <a:lstStyle/>
              <a:p>
                <a:endParaRPr/>
              </a:p>
            </p:txBody>
          </p:sp>
          <p:sp>
            <p:nvSpPr>
              <p:cNvPr id="34" name="object 10">
                <a:extLst>
                  <a:ext uri="{FF2B5EF4-FFF2-40B4-BE49-F238E27FC236}">
                    <a16:creationId xmlns:a16="http://schemas.microsoft.com/office/drawing/2014/main" id="{42763230-F744-4302-8F51-AE8496DA0613}"/>
                  </a:ext>
                </a:extLst>
              </p:cNvPr>
              <p:cNvSpPr/>
              <p:nvPr userDrawn="1"/>
            </p:nvSpPr>
            <p:spPr>
              <a:xfrm>
                <a:off x="6571235" y="6064810"/>
                <a:ext cx="40005" cy="34290"/>
              </a:xfrm>
              <a:custGeom>
                <a:avLst/>
                <a:gdLst/>
                <a:ahLst/>
                <a:cxnLst/>
                <a:rect l="l" t="t" r="r" b="b"/>
                <a:pathLst>
                  <a:path w="40004" h="34289">
                    <a:moveTo>
                      <a:pt x="39458" y="0"/>
                    </a:moveTo>
                    <a:lnTo>
                      <a:pt x="0" y="33693"/>
                    </a:lnTo>
                  </a:path>
                </a:pathLst>
              </a:custGeom>
              <a:ln w="12699">
                <a:solidFill>
                  <a:schemeClr val="bg2"/>
                </a:solidFill>
              </a:ln>
            </p:spPr>
            <p:txBody>
              <a:bodyPr wrap="square" lIns="0" tIns="0" rIns="0" bIns="0" rtlCol="0"/>
              <a:lstStyle/>
              <a:p>
                <a:endParaRPr/>
              </a:p>
            </p:txBody>
          </p:sp>
          <p:sp>
            <p:nvSpPr>
              <p:cNvPr id="35" name="object 11">
                <a:extLst>
                  <a:ext uri="{FF2B5EF4-FFF2-40B4-BE49-F238E27FC236}">
                    <a16:creationId xmlns:a16="http://schemas.microsoft.com/office/drawing/2014/main" id="{627E6413-5ECE-4B27-ABD6-FEC9246BBE90}"/>
                  </a:ext>
                </a:extLst>
              </p:cNvPr>
              <p:cNvSpPr/>
              <p:nvPr userDrawn="1"/>
            </p:nvSpPr>
            <p:spPr>
              <a:xfrm>
                <a:off x="6199448" y="5757477"/>
                <a:ext cx="238760" cy="361315"/>
              </a:xfrm>
              <a:custGeom>
                <a:avLst/>
                <a:gdLst/>
                <a:ahLst/>
                <a:cxnLst/>
                <a:rect l="l" t="t" r="r" b="b"/>
                <a:pathLst>
                  <a:path w="238760" h="361314">
                    <a:moveTo>
                      <a:pt x="152401" y="0"/>
                    </a:moveTo>
                    <a:lnTo>
                      <a:pt x="206338" y="59621"/>
                    </a:lnTo>
                    <a:lnTo>
                      <a:pt x="232472" y="101546"/>
                    </a:lnTo>
                    <a:lnTo>
                      <a:pt x="238141" y="145618"/>
                    </a:lnTo>
                    <a:lnTo>
                      <a:pt x="230684" y="211683"/>
                    </a:lnTo>
                    <a:lnTo>
                      <a:pt x="202566" y="282121"/>
                    </a:lnTo>
                    <a:lnTo>
                      <a:pt x="155738" y="328306"/>
                    </a:lnTo>
                    <a:lnTo>
                      <a:pt x="111801" y="353570"/>
                    </a:lnTo>
                    <a:lnTo>
                      <a:pt x="92356" y="361251"/>
                    </a:lnTo>
                    <a:lnTo>
                      <a:pt x="35759" y="331100"/>
                    </a:lnTo>
                    <a:lnTo>
                      <a:pt x="7724" y="306879"/>
                    </a:lnTo>
                    <a:lnTo>
                      <a:pt x="0" y="275833"/>
                    </a:lnTo>
                    <a:lnTo>
                      <a:pt x="4332" y="225209"/>
                    </a:lnTo>
                    <a:lnTo>
                      <a:pt x="18791" y="180068"/>
                    </a:lnTo>
                    <a:lnTo>
                      <a:pt x="47033" y="134047"/>
                    </a:lnTo>
                    <a:lnTo>
                      <a:pt x="81786" y="90087"/>
                    </a:lnTo>
                    <a:lnTo>
                      <a:pt x="115780" y="51131"/>
                    </a:lnTo>
                    <a:lnTo>
                      <a:pt x="141742" y="20121"/>
                    </a:lnTo>
                    <a:lnTo>
                      <a:pt x="152401" y="0"/>
                    </a:lnTo>
                    <a:close/>
                  </a:path>
                </a:pathLst>
              </a:custGeom>
              <a:ln w="12700">
                <a:solidFill>
                  <a:schemeClr val="bg2"/>
                </a:solidFill>
              </a:ln>
            </p:spPr>
            <p:txBody>
              <a:bodyPr wrap="square" lIns="0" tIns="0" rIns="0" bIns="0" rtlCol="0"/>
              <a:lstStyle/>
              <a:p>
                <a:endParaRPr/>
              </a:p>
            </p:txBody>
          </p:sp>
          <p:sp>
            <p:nvSpPr>
              <p:cNvPr id="36" name="object 12">
                <a:extLst>
                  <a:ext uri="{FF2B5EF4-FFF2-40B4-BE49-F238E27FC236}">
                    <a16:creationId xmlns:a16="http://schemas.microsoft.com/office/drawing/2014/main" id="{4F5B830E-C3B0-4668-895B-74D3B3E5E61E}"/>
                  </a:ext>
                </a:extLst>
              </p:cNvPr>
              <p:cNvSpPr/>
              <p:nvPr userDrawn="1"/>
            </p:nvSpPr>
            <p:spPr>
              <a:xfrm>
                <a:off x="6291800" y="5958885"/>
                <a:ext cx="29845" cy="334010"/>
              </a:xfrm>
              <a:custGeom>
                <a:avLst/>
                <a:gdLst/>
                <a:ahLst/>
                <a:cxnLst/>
                <a:rect l="l" t="t" r="r" b="b"/>
                <a:pathLst>
                  <a:path w="29845" h="334010">
                    <a:moveTo>
                      <a:pt x="0" y="333590"/>
                    </a:moveTo>
                    <a:lnTo>
                      <a:pt x="0" y="159842"/>
                    </a:lnTo>
                    <a:lnTo>
                      <a:pt x="29337" y="0"/>
                    </a:lnTo>
                  </a:path>
                </a:pathLst>
              </a:custGeom>
              <a:ln w="12700">
                <a:solidFill>
                  <a:schemeClr val="bg2"/>
                </a:solidFill>
              </a:ln>
            </p:spPr>
            <p:txBody>
              <a:bodyPr wrap="square" lIns="0" tIns="0" rIns="0" bIns="0" rtlCol="0"/>
              <a:lstStyle/>
              <a:p>
                <a:endParaRPr/>
              </a:p>
            </p:txBody>
          </p:sp>
          <p:sp>
            <p:nvSpPr>
              <p:cNvPr id="37" name="object 13">
                <a:extLst>
                  <a:ext uri="{FF2B5EF4-FFF2-40B4-BE49-F238E27FC236}">
                    <a16:creationId xmlns:a16="http://schemas.microsoft.com/office/drawing/2014/main" id="{E7F2B822-4DF1-4451-878A-83C18D378A00}"/>
                  </a:ext>
                </a:extLst>
              </p:cNvPr>
              <p:cNvSpPr/>
              <p:nvPr userDrawn="1"/>
            </p:nvSpPr>
            <p:spPr>
              <a:xfrm>
                <a:off x="6509995" y="5895716"/>
                <a:ext cx="134620" cy="271780"/>
              </a:xfrm>
              <a:custGeom>
                <a:avLst/>
                <a:gdLst/>
                <a:ahLst/>
                <a:cxnLst/>
                <a:rect l="l" t="t" r="r" b="b"/>
                <a:pathLst>
                  <a:path w="134620" h="271779">
                    <a:moveTo>
                      <a:pt x="49169" y="271462"/>
                    </a:moveTo>
                    <a:lnTo>
                      <a:pt x="98809" y="244084"/>
                    </a:lnTo>
                    <a:lnTo>
                      <a:pt x="124248" y="222365"/>
                    </a:lnTo>
                    <a:lnTo>
                      <a:pt x="133490" y="194972"/>
                    </a:lnTo>
                    <a:lnTo>
                      <a:pt x="134539" y="150571"/>
                    </a:lnTo>
                    <a:lnTo>
                      <a:pt x="129037" y="97915"/>
                    </a:lnTo>
                    <a:lnTo>
                      <a:pt x="116451" y="54292"/>
                    </a:lnTo>
                    <a:lnTo>
                      <a:pt x="101517" y="21165"/>
                    </a:lnTo>
                    <a:lnTo>
                      <a:pt x="88971" y="0"/>
                    </a:lnTo>
                    <a:lnTo>
                      <a:pt x="67453" y="33982"/>
                    </a:lnTo>
                    <a:lnTo>
                      <a:pt x="53324" y="55833"/>
                    </a:lnTo>
                    <a:lnTo>
                      <a:pt x="40320" y="75025"/>
                    </a:lnTo>
                    <a:lnTo>
                      <a:pt x="22182" y="101028"/>
                    </a:lnTo>
                    <a:lnTo>
                      <a:pt x="3912" y="139522"/>
                    </a:lnTo>
                    <a:lnTo>
                      <a:pt x="0" y="183183"/>
                    </a:lnTo>
                    <a:lnTo>
                      <a:pt x="13925" y="228374"/>
                    </a:lnTo>
                    <a:lnTo>
                      <a:pt x="49169" y="271462"/>
                    </a:lnTo>
                    <a:close/>
                  </a:path>
                </a:pathLst>
              </a:custGeom>
              <a:ln w="12700">
                <a:solidFill>
                  <a:schemeClr val="bg2"/>
                </a:solidFill>
              </a:ln>
            </p:spPr>
            <p:txBody>
              <a:bodyPr wrap="square" lIns="0" tIns="0" rIns="0" bIns="0" rtlCol="0"/>
              <a:lstStyle/>
              <a:p>
                <a:endParaRPr/>
              </a:p>
            </p:txBody>
          </p:sp>
          <p:sp>
            <p:nvSpPr>
              <p:cNvPr id="38" name="object 14">
                <a:extLst>
                  <a:ext uri="{FF2B5EF4-FFF2-40B4-BE49-F238E27FC236}">
                    <a16:creationId xmlns:a16="http://schemas.microsoft.com/office/drawing/2014/main" id="{340A7CB4-51DD-4CCC-B71C-6FB779A4AEFF}"/>
                  </a:ext>
                </a:extLst>
              </p:cNvPr>
              <p:cNvSpPr/>
              <p:nvPr userDrawn="1"/>
            </p:nvSpPr>
            <p:spPr>
              <a:xfrm>
                <a:off x="6559165" y="6040621"/>
                <a:ext cx="22860" cy="252095"/>
              </a:xfrm>
              <a:custGeom>
                <a:avLst/>
                <a:gdLst/>
                <a:ahLst/>
                <a:cxnLst/>
                <a:rect l="l" t="t" r="r" b="b"/>
                <a:pathLst>
                  <a:path w="22859" h="252095">
                    <a:moveTo>
                      <a:pt x="22250" y="0"/>
                    </a:moveTo>
                    <a:lnTo>
                      <a:pt x="0" y="126555"/>
                    </a:lnTo>
                    <a:lnTo>
                      <a:pt x="0" y="251853"/>
                    </a:lnTo>
                  </a:path>
                </a:pathLst>
              </a:custGeom>
              <a:ln w="12700">
                <a:solidFill>
                  <a:schemeClr val="bg2"/>
                </a:solidFill>
              </a:ln>
            </p:spPr>
            <p:txBody>
              <a:bodyPr wrap="square" lIns="0" tIns="0" rIns="0" bIns="0" rtlCol="0"/>
              <a:lstStyle/>
              <a:p>
                <a:endParaRPr/>
              </a:p>
            </p:txBody>
          </p:sp>
        </p:grpSp>
      </p:grpSp>
    </p:spTree>
    <p:extLst>
      <p:ext uri="{BB962C8B-B14F-4D97-AF65-F5344CB8AC3E}">
        <p14:creationId xmlns:p14="http://schemas.microsoft.com/office/powerpoint/2010/main" val="140518411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Content without graphics in footer">
    <p:spTree>
      <p:nvGrpSpPr>
        <p:cNvPr id="1" name=""/>
        <p:cNvGrpSpPr/>
        <p:nvPr/>
      </p:nvGrpSpPr>
      <p:grpSpPr>
        <a:xfrm>
          <a:off x="0" y="0"/>
          <a:ext cx="0" cy="0"/>
          <a:chOff x="0" y="0"/>
          <a:chExt cx="0" cy="0"/>
        </a:xfrm>
      </p:grpSpPr>
      <p:sp>
        <p:nvSpPr>
          <p:cNvPr id="8" name="Fußzeilenplatzhalter 46"/>
          <p:cNvSpPr>
            <a:spLocks noGrp="1"/>
          </p:cNvSpPr>
          <p:nvPr>
            <p:ph type="ftr" sz="quarter" idx="3"/>
          </p:nvPr>
        </p:nvSpPr>
        <p:spPr>
          <a:xfrm>
            <a:off x="9296400" y="6282000"/>
            <a:ext cx="2006600" cy="196850"/>
          </a:xfrm>
          <a:prstGeom prst="rect">
            <a:avLst/>
          </a:prstGeom>
        </p:spPr>
        <p:txBody>
          <a:bodyPr vert="horz" wrap="none" lIns="0" tIns="45720" rIns="0" bIns="0" rtlCol="0" anchor="ctr"/>
          <a:lstStyle>
            <a:lvl1pPr algn="r">
              <a:defRPr sz="900">
                <a:solidFill>
                  <a:srgbClr val="364D54"/>
                </a:solidFill>
                <a:latin typeface="Arial"/>
                <a:cs typeface="Arial"/>
              </a:defRPr>
            </a:lvl1pPr>
          </a:lstStyle>
          <a:p>
            <a:endParaRPr lang="en-GB"/>
          </a:p>
        </p:txBody>
      </p:sp>
      <p:sp>
        <p:nvSpPr>
          <p:cNvPr id="10" name="Titelplatzhalter 10"/>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6"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 name="Text Placeholder 2">
            <a:extLst>
              <a:ext uri="{FF2B5EF4-FFF2-40B4-BE49-F238E27FC236}">
                <a16:creationId xmlns:a16="http://schemas.microsoft.com/office/drawing/2014/main" id="{1F606C2D-766B-468F-9DD8-8746F30BC1C2}"/>
              </a:ext>
            </a:extLst>
          </p:cNvPr>
          <p:cNvSpPr>
            <a:spLocks noGrp="1"/>
          </p:cNvSpPr>
          <p:nvPr>
            <p:ph type="body" sz="quarter" idx="11" hasCustomPrompt="1"/>
          </p:nvPr>
        </p:nvSpPr>
        <p:spPr>
          <a:xfrm>
            <a:off x="914400" y="1952600"/>
            <a:ext cx="9792000" cy="3636000"/>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1007100" indent="-285750">
              <a:lnSpc>
                <a:spcPts val="15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spTree>
    <p:extLst>
      <p:ext uri="{BB962C8B-B14F-4D97-AF65-F5344CB8AC3E}">
        <p14:creationId xmlns:p14="http://schemas.microsoft.com/office/powerpoint/2010/main" val="197215547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_Content with graphics in footer">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lvl1pPr>
          </a:lstStyle>
          <a:p>
            <a:endParaRPr lang="en-GB"/>
          </a:p>
        </p:txBody>
      </p:sp>
      <p:sp>
        <p:nvSpPr>
          <p:cNvPr id="10" name="object 4"/>
          <p:cNvSpPr/>
          <p:nvPr userDrawn="1"/>
        </p:nvSpPr>
        <p:spPr>
          <a:xfrm>
            <a:off x="11430000" y="6354000"/>
            <a:ext cx="0" cy="117475"/>
          </a:xfrm>
          <a:custGeom>
            <a:avLst/>
            <a:gdLst/>
            <a:ahLst/>
            <a:cxnLst/>
            <a:rect l="l" t="t" r="r" b="b"/>
            <a:pathLst>
              <a:path h="117475">
                <a:moveTo>
                  <a:pt x="0" y="0"/>
                </a:moveTo>
                <a:lnTo>
                  <a:pt x="0" y="117005"/>
                </a:lnTo>
              </a:path>
            </a:pathLst>
          </a:custGeom>
          <a:ln w="6350">
            <a:solidFill>
              <a:srgbClr val="EF7D14"/>
            </a:solidFill>
          </a:ln>
        </p:spPr>
        <p:txBody>
          <a:bodyPr wrap="square" lIns="0" tIns="0" rIns="0" bIns="0" rtlCol="0"/>
          <a:lstStyle/>
          <a:p>
            <a:endParaRPr/>
          </a:p>
        </p:txBody>
      </p:sp>
      <p:sp>
        <p:nvSpPr>
          <p:cNvPr id="34"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5" name="Titelplatzhalter 10">
            <a:extLst>
              <a:ext uri="{FF2B5EF4-FFF2-40B4-BE49-F238E27FC236}">
                <a16:creationId xmlns:a16="http://schemas.microsoft.com/office/drawing/2014/main" id="{D9B411F7-41FB-4429-B5BE-F6C2DF6F578F}"/>
              </a:ext>
            </a:extLst>
          </p:cNvPr>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37" name="Text Placeholder 2">
            <a:extLst>
              <a:ext uri="{FF2B5EF4-FFF2-40B4-BE49-F238E27FC236}">
                <a16:creationId xmlns:a16="http://schemas.microsoft.com/office/drawing/2014/main" id="{2FB7584C-CE49-4EFF-8240-68D5EFC67C3E}"/>
              </a:ext>
            </a:extLst>
          </p:cNvPr>
          <p:cNvSpPr>
            <a:spLocks noGrp="1"/>
          </p:cNvSpPr>
          <p:nvPr>
            <p:ph type="body" sz="quarter" idx="11" hasCustomPrompt="1"/>
          </p:nvPr>
        </p:nvSpPr>
        <p:spPr>
          <a:xfrm>
            <a:off x="914400" y="1952600"/>
            <a:ext cx="9792000" cy="3636639"/>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1007100" indent="-285750">
              <a:lnSpc>
                <a:spcPts val="15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grpSp>
        <p:nvGrpSpPr>
          <p:cNvPr id="76" name="Group 75">
            <a:extLst>
              <a:ext uri="{FF2B5EF4-FFF2-40B4-BE49-F238E27FC236}">
                <a16:creationId xmlns:a16="http://schemas.microsoft.com/office/drawing/2014/main" id="{B2D454A9-7380-48E5-8E8A-0133585ABD42}"/>
              </a:ext>
            </a:extLst>
          </p:cNvPr>
          <p:cNvGrpSpPr/>
          <p:nvPr userDrawn="1"/>
        </p:nvGrpSpPr>
        <p:grpSpPr>
          <a:xfrm>
            <a:off x="0" y="5964940"/>
            <a:ext cx="9078301" cy="535703"/>
            <a:chOff x="0" y="5964940"/>
            <a:chExt cx="9078301" cy="535703"/>
          </a:xfrm>
        </p:grpSpPr>
        <p:grpSp>
          <p:nvGrpSpPr>
            <p:cNvPr id="77" name="Group 76">
              <a:extLst>
                <a:ext uri="{FF2B5EF4-FFF2-40B4-BE49-F238E27FC236}">
                  <a16:creationId xmlns:a16="http://schemas.microsoft.com/office/drawing/2014/main" id="{F32421B6-4909-4537-8BA6-18F4F8B82084}"/>
                </a:ext>
              </a:extLst>
            </p:cNvPr>
            <p:cNvGrpSpPr/>
            <p:nvPr userDrawn="1"/>
          </p:nvGrpSpPr>
          <p:grpSpPr>
            <a:xfrm>
              <a:off x="8906480" y="5964940"/>
              <a:ext cx="171821" cy="171821"/>
              <a:chOff x="10960096" y="4204963"/>
              <a:chExt cx="405867" cy="405866"/>
            </a:xfrm>
          </p:grpSpPr>
          <p:sp>
            <p:nvSpPr>
              <p:cNvPr id="102" name="object 26">
                <a:extLst>
                  <a:ext uri="{FF2B5EF4-FFF2-40B4-BE49-F238E27FC236}">
                    <a16:creationId xmlns:a16="http://schemas.microsoft.com/office/drawing/2014/main" id="{1A5B0823-A281-4BD2-84D2-3F8C9198E17C}"/>
                  </a:ext>
                </a:extLst>
              </p:cNvPr>
              <p:cNvSpPr/>
              <p:nvPr userDrawn="1"/>
            </p:nvSpPr>
            <p:spPr>
              <a:xfrm>
                <a:off x="11162878" y="4204963"/>
                <a:ext cx="0" cy="64807"/>
              </a:xfrm>
              <a:custGeom>
                <a:avLst/>
                <a:gdLst/>
                <a:ahLst/>
                <a:cxnLst/>
                <a:rect l="l" t="t" r="r" b="b"/>
                <a:pathLst>
                  <a:path h="78739">
                    <a:moveTo>
                      <a:pt x="0" y="78371"/>
                    </a:moveTo>
                    <a:lnTo>
                      <a:pt x="0" y="0"/>
                    </a:lnTo>
                  </a:path>
                </a:pathLst>
              </a:custGeom>
              <a:ln w="12700">
                <a:solidFill>
                  <a:schemeClr val="bg2"/>
                </a:solidFill>
              </a:ln>
            </p:spPr>
            <p:txBody>
              <a:bodyPr wrap="square" lIns="0" tIns="0" rIns="0" bIns="0" rtlCol="0"/>
              <a:lstStyle/>
              <a:p>
                <a:endParaRPr/>
              </a:p>
            </p:txBody>
          </p:sp>
          <p:sp>
            <p:nvSpPr>
              <p:cNvPr id="103" name="object 27">
                <a:extLst>
                  <a:ext uri="{FF2B5EF4-FFF2-40B4-BE49-F238E27FC236}">
                    <a16:creationId xmlns:a16="http://schemas.microsoft.com/office/drawing/2014/main" id="{8CCECD56-8DD3-4497-B436-4537AA59705C}"/>
                  </a:ext>
                </a:extLst>
              </p:cNvPr>
              <p:cNvSpPr/>
              <p:nvPr userDrawn="1"/>
            </p:nvSpPr>
            <p:spPr>
              <a:xfrm>
                <a:off x="10960096" y="4407744"/>
                <a:ext cx="64807" cy="0"/>
              </a:xfrm>
              <a:custGeom>
                <a:avLst/>
                <a:gdLst/>
                <a:ahLst/>
                <a:cxnLst/>
                <a:rect l="l" t="t" r="r" b="b"/>
                <a:pathLst>
                  <a:path w="78740">
                    <a:moveTo>
                      <a:pt x="78371" y="0"/>
                    </a:moveTo>
                    <a:lnTo>
                      <a:pt x="0" y="0"/>
                    </a:lnTo>
                  </a:path>
                </a:pathLst>
              </a:custGeom>
              <a:ln w="12700">
                <a:solidFill>
                  <a:schemeClr val="bg2"/>
                </a:solidFill>
              </a:ln>
            </p:spPr>
            <p:txBody>
              <a:bodyPr wrap="square" lIns="0" tIns="0" rIns="0" bIns="0" rtlCol="0"/>
              <a:lstStyle/>
              <a:p>
                <a:endParaRPr/>
              </a:p>
            </p:txBody>
          </p:sp>
          <p:sp>
            <p:nvSpPr>
              <p:cNvPr id="104" name="object 28">
                <a:extLst>
                  <a:ext uri="{FF2B5EF4-FFF2-40B4-BE49-F238E27FC236}">
                    <a16:creationId xmlns:a16="http://schemas.microsoft.com/office/drawing/2014/main" id="{376B3A4A-7DE3-43AB-8FC1-C28F6E9A06B5}"/>
                  </a:ext>
                </a:extLst>
              </p:cNvPr>
              <p:cNvSpPr/>
              <p:nvPr userDrawn="1"/>
            </p:nvSpPr>
            <p:spPr>
              <a:xfrm>
                <a:off x="11162878" y="4546022"/>
                <a:ext cx="0" cy="64807"/>
              </a:xfrm>
              <a:custGeom>
                <a:avLst/>
                <a:gdLst/>
                <a:ahLst/>
                <a:cxnLst/>
                <a:rect l="l" t="t" r="r" b="b"/>
                <a:pathLst>
                  <a:path h="78739">
                    <a:moveTo>
                      <a:pt x="0" y="0"/>
                    </a:moveTo>
                    <a:lnTo>
                      <a:pt x="0" y="78371"/>
                    </a:lnTo>
                  </a:path>
                </a:pathLst>
              </a:custGeom>
              <a:ln w="12700">
                <a:solidFill>
                  <a:schemeClr val="bg2"/>
                </a:solidFill>
              </a:ln>
            </p:spPr>
            <p:txBody>
              <a:bodyPr wrap="square" lIns="0" tIns="0" rIns="0" bIns="0" rtlCol="0"/>
              <a:lstStyle/>
              <a:p>
                <a:endParaRPr/>
              </a:p>
            </p:txBody>
          </p:sp>
          <p:sp>
            <p:nvSpPr>
              <p:cNvPr id="105" name="object 29">
                <a:extLst>
                  <a:ext uri="{FF2B5EF4-FFF2-40B4-BE49-F238E27FC236}">
                    <a16:creationId xmlns:a16="http://schemas.microsoft.com/office/drawing/2014/main" id="{0DA2771F-F709-4C73-9477-03F94876467A}"/>
                  </a:ext>
                </a:extLst>
              </p:cNvPr>
              <p:cNvSpPr/>
              <p:nvPr userDrawn="1"/>
            </p:nvSpPr>
            <p:spPr>
              <a:xfrm>
                <a:off x="11301156" y="4407744"/>
                <a:ext cx="64807" cy="0"/>
              </a:xfrm>
              <a:custGeom>
                <a:avLst/>
                <a:gdLst/>
                <a:ahLst/>
                <a:cxnLst/>
                <a:rect l="l" t="t" r="r" b="b"/>
                <a:pathLst>
                  <a:path w="78740">
                    <a:moveTo>
                      <a:pt x="0" y="0"/>
                    </a:moveTo>
                    <a:lnTo>
                      <a:pt x="78371" y="0"/>
                    </a:lnTo>
                  </a:path>
                </a:pathLst>
              </a:custGeom>
              <a:ln w="12700">
                <a:solidFill>
                  <a:schemeClr val="bg2"/>
                </a:solidFill>
              </a:ln>
            </p:spPr>
            <p:txBody>
              <a:bodyPr wrap="square" lIns="0" tIns="0" rIns="0" bIns="0" rtlCol="0"/>
              <a:lstStyle/>
              <a:p>
                <a:endParaRPr/>
              </a:p>
            </p:txBody>
          </p:sp>
          <p:sp>
            <p:nvSpPr>
              <p:cNvPr id="106" name="object 30">
                <a:extLst>
                  <a:ext uri="{FF2B5EF4-FFF2-40B4-BE49-F238E27FC236}">
                    <a16:creationId xmlns:a16="http://schemas.microsoft.com/office/drawing/2014/main" id="{531073D1-6D18-4EC9-AFAC-7E85BFCD1846}"/>
                  </a:ext>
                </a:extLst>
              </p:cNvPr>
              <p:cNvSpPr/>
              <p:nvPr userDrawn="1"/>
            </p:nvSpPr>
            <p:spPr>
              <a:xfrm>
                <a:off x="10998198" y="4312662"/>
                <a:ext cx="44947" cy="26132"/>
              </a:xfrm>
              <a:custGeom>
                <a:avLst/>
                <a:gdLst/>
                <a:ahLst/>
                <a:cxnLst/>
                <a:rect l="l" t="t" r="r" b="b"/>
                <a:pathLst>
                  <a:path w="54609" h="31750">
                    <a:moveTo>
                      <a:pt x="54584" y="31521"/>
                    </a:moveTo>
                    <a:lnTo>
                      <a:pt x="0" y="0"/>
                    </a:lnTo>
                  </a:path>
                </a:pathLst>
              </a:custGeom>
              <a:ln w="12700">
                <a:solidFill>
                  <a:schemeClr val="bg2"/>
                </a:solidFill>
              </a:ln>
            </p:spPr>
            <p:txBody>
              <a:bodyPr wrap="square" lIns="0" tIns="0" rIns="0" bIns="0" rtlCol="0"/>
              <a:lstStyle/>
              <a:p>
                <a:endParaRPr/>
              </a:p>
            </p:txBody>
          </p:sp>
          <p:sp>
            <p:nvSpPr>
              <p:cNvPr id="107" name="object 31">
                <a:extLst>
                  <a:ext uri="{FF2B5EF4-FFF2-40B4-BE49-F238E27FC236}">
                    <a16:creationId xmlns:a16="http://schemas.microsoft.com/office/drawing/2014/main" id="{20BF4BF6-05FA-4765-9F31-A7FF8A87D14E}"/>
                  </a:ext>
                </a:extLst>
              </p:cNvPr>
              <p:cNvSpPr/>
              <p:nvPr userDrawn="1"/>
            </p:nvSpPr>
            <p:spPr>
              <a:xfrm>
                <a:off x="11282630" y="4476883"/>
                <a:ext cx="44947" cy="26132"/>
              </a:xfrm>
              <a:custGeom>
                <a:avLst/>
                <a:gdLst/>
                <a:ahLst/>
                <a:cxnLst/>
                <a:rect l="l" t="t" r="r" b="b"/>
                <a:pathLst>
                  <a:path w="54609" h="31750">
                    <a:moveTo>
                      <a:pt x="0" y="0"/>
                    </a:moveTo>
                    <a:lnTo>
                      <a:pt x="54584" y="31508"/>
                    </a:lnTo>
                  </a:path>
                </a:pathLst>
              </a:custGeom>
              <a:ln w="12700">
                <a:solidFill>
                  <a:schemeClr val="bg2"/>
                </a:solidFill>
              </a:ln>
            </p:spPr>
            <p:txBody>
              <a:bodyPr wrap="square" lIns="0" tIns="0" rIns="0" bIns="0" rtlCol="0"/>
              <a:lstStyle/>
              <a:p>
                <a:endParaRPr/>
              </a:p>
            </p:txBody>
          </p:sp>
          <p:sp>
            <p:nvSpPr>
              <p:cNvPr id="108" name="object 32">
                <a:extLst>
                  <a:ext uri="{FF2B5EF4-FFF2-40B4-BE49-F238E27FC236}">
                    <a16:creationId xmlns:a16="http://schemas.microsoft.com/office/drawing/2014/main" id="{AEF96D00-AE42-4609-A547-548E6B3ACDA8}"/>
                  </a:ext>
                </a:extLst>
              </p:cNvPr>
              <p:cNvSpPr/>
              <p:nvPr userDrawn="1"/>
            </p:nvSpPr>
            <p:spPr>
              <a:xfrm>
                <a:off x="11067805" y="4243066"/>
                <a:ext cx="26132" cy="44947"/>
              </a:xfrm>
              <a:custGeom>
                <a:avLst/>
                <a:gdLst/>
                <a:ahLst/>
                <a:cxnLst/>
                <a:rect l="l" t="t" r="r" b="b"/>
                <a:pathLst>
                  <a:path w="31750" h="54610">
                    <a:moveTo>
                      <a:pt x="31508" y="54584"/>
                    </a:moveTo>
                    <a:lnTo>
                      <a:pt x="0" y="0"/>
                    </a:lnTo>
                  </a:path>
                </a:pathLst>
              </a:custGeom>
              <a:ln w="12700">
                <a:solidFill>
                  <a:schemeClr val="bg2"/>
                </a:solidFill>
              </a:ln>
            </p:spPr>
            <p:txBody>
              <a:bodyPr wrap="square" lIns="0" tIns="0" rIns="0" bIns="0" rtlCol="0"/>
              <a:lstStyle/>
              <a:p>
                <a:endParaRPr/>
              </a:p>
            </p:txBody>
          </p:sp>
          <p:sp>
            <p:nvSpPr>
              <p:cNvPr id="109" name="object 33">
                <a:extLst>
                  <a:ext uri="{FF2B5EF4-FFF2-40B4-BE49-F238E27FC236}">
                    <a16:creationId xmlns:a16="http://schemas.microsoft.com/office/drawing/2014/main" id="{B79929D5-42B0-4482-AD96-660599C04347}"/>
                  </a:ext>
                </a:extLst>
              </p:cNvPr>
              <p:cNvSpPr/>
              <p:nvPr userDrawn="1"/>
            </p:nvSpPr>
            <p:spPr>
              <a:xfrm>
                <a:off x="11232017" y="4527495"/>
                <a:ext cx="26132" cy="44947"/>
              </a:xfrm>
              <a:custGeom>
                <a:avLst/>
                <a:gdLst/>
                <a:ahLst/>
                <a:cxnLst/>
                <a:rect l="l" t="t" r="r" b="b"/>
                <a:pathLst>
                  <a:path w="31750" h="54610">
                    <a:moveTo>
                      <a:pt x="0" y="0"/>
                    </a:moveTo>
                    <a:lnTo>
                      <a:pt x="31521" y="54584"/>
                    </a:lnTo>
                  </a:path>
                </a:pathLst>
              </a:custGeom>
              <a:ln w="12700">
                <a:solidFill>
                  <a:schemeClr val="bg2"/>
                </a:solidFill>
              </a:ln>
            </p:spPr>
            <p:txBody>
              <a:bodyPr wrap="square" lIns="0" tIns="0" rIns="0" bIns="0" rtlCol="0"/>
              <a:lstStyle/>
              <a:p>
                <a:endParaRPr/>
              </a:p>
            </p:txBody>
          </p:sp>
          <p:sp>
            <p:nvSpPr>
              <p:cNvPr id="110" name="object 34">
                <a:extLst>
                  <a:ext uri="{FF2B5EF4-FFF2-40B4-BE49-F238E27FC236}">
                    <a16:creationId xmlns:a16="http://schemas.microsoft.com/office/drawing/2014/main" id="{9596C7B2-8AA8-4065-8D20-39FC978A4054}"/>
                  </a:ext>
                </a:extLst>
              </p:cNvPr>
              <p:cNvSpPr/>
              <p:nvPr userDrawn="1"/>
            </p:nvSpPr>
            <p:spPr>
              <a:xfrm>
                <a:off x="11282630" y="4312662"/>
                <a:ext cx="44947" cy="26132"/>
              </a:xfrm>
              <a:custGeom>
                <a:avLst/>
                <a:gdLst/>
                <a:ahLst/>
                <a:cxnLst/>
                <a:rect l="l" t="t" r="r" b="b"/>
                <a:pathLst>
                  <a:path w="54609" h="31750">
                    <a:moveTo>
                      <a:pt x="0" y="31521"/>
                    </a:moveTo>
                    <a:lnTo>
                      <a:pt x="54584" y="0"/>
                    </a:lnTo>
                  </a:path>
                </a:pathLst>
              </a:custGeom>
              <a:ln w="12700">
                <a:solidFill>
                  <a:schemeClr val="bg2"/>
                </a:solidFill>
              </a:ln>
            </p:spPr>
            <p:txBody>
              <a:bodyPr wrap="square" lIns="0" tIns="0" rIns="0" bIns="0" rtlCol="0"/>
              <a:lstStyle/>
              <a:p>
                <a:endParaRPr/>
              </a:p>
            </p:txBody>
          </p:sp>
          <p:sp>
            <p:nvSpPr>
              <p:cNvPr id="111" name="object 35">
                <a:extLst>
                  <a:ext uri="{FF2B5EF4-FFF2-40B4-BE49-F238E27FC236}">
                    <a16:creationId xmlns:a16="http://schemas.microsoft.com/office/drawing/2014/main" id="{BF961D06-E739-4B19-AF3B-05D6FF9A0D96}"/>
                  </a:ext>
                </a:extLst>
              </p:cNvPr>
              <p:cNvSpPr/>
              <p:nvPr userDrawn="1"/>
            </p:nvSpPr>
            <p:spPr>
              <a:xfrm>
                <a:off x="10998198" y="4476883"/>
                <a:ext cx="44947" cy="26132"/>
              </a:xfrm>
              <a:custGeom>
                <a:avLst/>
                <a:gdLst/>
                <a:ahLst/>
                <a:cxnLst/>
                <a:rect l="l" t="t" r="r" b="b"/>
                <a:pathLst>
                  <a:path w="54609" h="31750">
                    <a:moveTo>
                      <a:pt x="54584" y="0"/>
                    </a:moveTo>
                    <a:lnTo>
                      <a:pt x="0" y="31508"/>
                    </a:lnTo>
                  </a:path>
                </a:pathLst>
              </a:custGeom>
              <a:ln w="12700">
                <a:solidFill>
                  <a:schemeClr val="bg2"/>
                </a:solidFill>
              </a:ln>
            </p:spPr>
            <p:txBody>
              <a:bodyPr wrap="square" lIns="0" tIns="0" rIns="0" bIns="0" rtlCol="0"/>
              <a:lstStyle/>
              <a:p>
                <a:endParaRPr/>
              </a:p>
            </p:txBody>
          </p:sp>
          <p:sp>
            <p:nvSpPr>
              <p:cNvPr id="112" name="object 36">
                <a:extLst>
                  <a:ext uri="{FF2B5EF4-FFF2-40B4-BE49-F238E27FC236}">
                    <a16:creationId xmlns:a16="http://schemas.microsoft.com/office/drawing/2014/main" id="{1A198CA3-BB66-427D-B833-D0CEA3633C74}"/>
                  </a:ext>
                </a:extLst>
              </p:cNvPr>
              <p:cNvSpPr/>
              <p:nvPr userDrawn="1"/>
            </p:nvSpPr>
            <p:spPr>
              <a:xfrm>
                <a:off x="11232017" y="4243066"/>
                <a:ext cx="26132" cy="44947"/>
              </a:xfrm>
              <a:custGeom>
                <a:avLst/>
                <a:gdLst/>
                <a:ahLst/>
                <a:cxnLst/>
                <a:rect l="l" t="t" r="r" b="b"/>
                <a:pathLst>
                  <a:path w="31750" h="54610">
                    <a:moveTo>
                      <a:pt x="0" y="54584"/>
                    </a:moveTo>
                    <a:lnTo>
                      <a:pt x="31521" y="0"/>
                    </a:lnTo>
                  </a:path>
                </a:pathLst>
              </a:custGeom>
              <a:ln w="12700">
                <a:solidFill>
                  <a:schemeClr val="bg2"/>
                </a:solidFill>
              </a:ln>
            </p:spPr>
            <p:txBody>
              <a:bodyPr wrap="square" lIns="0" tIns="0" rIns="0" bIns="0" rtlCol="0"/>
              <a:lstStyle/>
              <a:p>
                <a:endParaRPr/>
              </a:p>
            </p:txBody>
          </p:sp>
          <p:sp>
            <p:nvSpPr>
              <p:cNvPr id="113" name="object 37">
                <a:extLst>
                  <a:ext uri="{FF2B5EF4-FFF2-40B4-BE49-F238E27FC236}">
                    <a16:creationId xmlns:a16="http://schemas.microsoft.com/office/drawing/2014/main" id="{2342EE3D-7327-4D8E-99AF-CE4805391991}"/>
                  </a:ext>
                </a:extLst>
              </p:cNvPr>
              <p:cNvSpPr/>
              <p:nvPr userDrawn="1"/>
            </p:nvSpPr>
            <p:spPr>
              <a:xfrm>
                <a:off x="11067794" y="4527495"/>
                <a:ext cx="26132" cy="44947"/>
              </a:xfrm>
              <a:custGeom>
                <a:avLst/>
                <a:gdLst/>
                <a:ahLst/>
                <a:cxnLst/>
                <a:rect l="l" t="t" r="r" b="b"/>
                <a:pathLst>
                  <a:path w="31750" h="54610">
                    <a:moveTo>
                      <a:pt x="31521" y="0"/>
                    </a:moveTo>
                    <a:lnTo>
                      <a:pt x="0" y="54584"/>
                    </a:lnTo>
                  </a:path>
                </a:pathLst>
              </a:custGeom>
              <a:ln w="12700">
                <a:solidFill>
                  <a:schemeClr val="bg2"/>
                </a:solidFill>
              </a:ln>
            </p:spPr>
            <p:txBody>
              <a:bodyPr wrap="square" lIns="0" tIns="0" rIns="0" bIns="0" rtlCol="0"/>
              <a:lstStyle/>
              <a:p>
                <a:endParaRPr/>
              </a:p>
            </p:txBody>
          </p:sp>
          <p:sp>
            <p:nvSpPr>
              <p:cNvPr id="114" name="object 38">
                <a:extLst>
                  <a:ext uri="{FF2B5EF4-FFF2-40B4-BE49-F238E27FC236}">
                    <a16:creationId xmlns:a16="http://schemas.microsoft.com/office/drawing/2014/main" id="{5698EA37-B628-47BB-80E9-262C5CB01EB0}"/>
                  </a:ext>
                </a:extLst>
              </p:cNvPr>
              <p:cNvSpPr/>
              <p:nvPr userDrawn="1"/>
            </p:nvSpPr>
            <p:spPr>
              <a:xfrm>
                <a:off x="11062674" y="4307544"/>
                <a:ext cx="200693" cy="200693"/>
              </a:xfrm>
              <a:custGeom>
                <a:avLst/>
                <a:gdLst/>
                <a:ahLst/>
                <a:cxnLst/>
                <a:rect l="l" t="t" r="r" b="b"/>
                <a:pathLst>
                  <a:path w="243840" h="243839">
                    <a:moveTo>
                      <a:pt x="0" y="121742"/>
                    </a:moveTo>
                    <a:lnTo>
                      <a:pt x="9567" y="169130"/>
                    </a:lnTo>
                    <a:lnTo>
                      <a:pt x="35658" y="207832"/>
                    </a:lnTo>
                    <a:lnTo>
                      <a:pt x="74355" y="233927"/>
                    </a:lnTo>
                    <a:lnTo>
                      <a:pt x="121742" y="243497"/>
                    </a:lnTo>
                    <a:lnTo>
                      <a:pt x="169136" y="233927"/>
                    </a:lnTo>
                    <a:lnTo>
                      <a:pt x="207837" y="207832"/>
                    </a:lnTo>
                    <a:lnTo>
                      <a:pt x="233929" y="169130"/>
                    </a:lnTo>
                    <a:lnTo>
                      <a:pt x="243497" y="121742"/>
                    </a:lnTo>
                    <a:lnTo>
                      <a:pt x="233929" y="74355"/>
                    </a:lnTo>
                    <a:lnTo>
                      <a:pt x="207837" y="35658"/>
                    </a:lnTo>
                    <a:lnTo>
                      <a:pt x="169136" y="9567"/>
                    </a:lnTo>
                    <a:lnTo>
                      <a:pt x="121742" y="0"/>
                    </a:lnTo>
                    <a:lnTo>
                      <a:pt x="74355" y="9567"/>
                    </a:lnTo>
                    <a:lnTo>
                      <a:pt x="35658" y="35658"/>
                    </a:lnTo>
                    <a:lnTo>
                      <a:pt x="9567" y="74355"/>
                    </a:lnTo>
                    <a:lnTo>
                      <a:pt x="0" y="121742"/>
                    </a:lnTo>
                    <a:close/>
                  </a:path>
                </a:pathLst>
              </a:custGeom>
              <a:ln w="12700">
                <a:solidFill>
                  <a:schemeClr val="bg2"/>
                </a:solidFill>
              </a:ln>
            </p:spPr>
            <p:txBody>
              <a:bodyPr wrap="square" lIns="0" tIns="0" rIns="0" bIns="0" rtlCol="0"/>
              <a:lstStyle/>
              <a:p>
                <a:endParaRPr/>
              </a:p>
            </p:txBody>
          </p:sp>
        </p:grpSp>
        <p:grpSp>
          <p:nvGrpSpPr>
            <p:cNvPr id="78" name="Gruppierung 14">
              <a:extLst>
                <a:ext uri="{FF2B5EF4-FFF2-40B4-BE49-F238E27FC236}">
                  <a16:creationId xmlns:a16="http://schemas.microsoft.com/office/drawing/2014/main" id="{3DA437CC-968D-4B6C-BEA8-760A4EB29EE4}"/>
                </a:ext>
              </a:extLst>
            </p:cNvPr>
            <p:cNvGrpSpPr/>
            <p:nvPr userDrawn="1"/>
          </p:nvGrpSpPr>
          <p:grpSpPr>
            <a:xfrm>
              <a:off x="0" y="6040373"/>
              <a:ext cx="9026886" cy="460270"/>
              <a:chOff x="0" y="6040373"/>
              <a:chExt cx="9026886" cy="460270"/>
            </a:xfrm>
          </p:grpSpPr>
          <p:sp>
            <p:nvSpPr>
              <p:cNvPr id="86" name="object 5">
                <a:extLst>
                  <a:ext uri="{FF2B5EF4-FFF2-40B4-BE49-F238E27FC236}">
                    <a16:creationId xmlns:a16="http://schemas.microsoft.com/office/drawing/2014/main" id="{B033DAD2-8FD0-4930-877A-4BA19CC84FA6}"/>
                  </a:ext>
                </a:extLst>
              </p:cNvPr>
              <p:cNvSpPr/>
              <p:nvPr/>
            </p:nvSpPr>
            <p:spPr>
              <a:xfrm>
                <a:off x="8337530" y="6363619"/>
                <a:ext cx="177165" cy="0"/>
              </a:xfrm>
              <a:custGeom>
                <a:avLst/>
                <a:gdLst/>
                <a:ahLst/>
                <a:cxnLst/>
                <a:rect l="l" t="t" r="r" b="b"/>
                <a:pathLst>
                  <a:path w="177165">
                    <a:moveTo>
                      <a:pt x="0" y="0"/>
                    </a:moveTo>
                    <a:lnTo>
                      <a:pt x="176809" y="0"/>
                    </a:lnTo>
                  </a:path>
                </a:pathLst>
              </a:custGeom>
              <a:ln w="12700">
                <a:solidFill>
                  <a:schemeClr val="bg2"/>
                </a:solidFill>
              </a:ln>
            </p:spPr>
            <p:txBody>
              <a:bodyPr wrap="square" lIns="0" tIns="0" rIns="0" bIns="0" rtlCol="0"/>
              <a:lstStyle/>
              <a:p>
                <a:endParaRPr/>
              </a:p>
            </p:txBody>
          </p:sp>
          <p:sp>
            <p:nvSpPr>
              <p:cNvPr id="87" name="object 7">
                <a:extLst>
                  <a:ext uri="{FF2B5EF4-FFF2-40B4-BE49-F238E27FC236}">
                    <a16:creationId xmlns:a16="http://schemas.microsoft.com/office/drawing/2014/main" id="{B5E6149F-FFA9-48F0-9125-D2F5C94F69ED}"/>
                  </a:ext>
                </a:extLst>
              </p:cNvPr>
              <p:cNvSpPr/>
              <p:nvPr/>
            </p:nvSpPr>
            <p:spPr>
              <a:xfrm>
                <a:off x="0" y="6363619"/>
                <a:ext cx="8247380" cy="0"/>
              </a:xfrm>
              <a:custGeom>
                <a:avLst/>
                <a:gdLst/>
                <a:ahLst/>
                <a:cxnLst/>
                <a:rect l="l" t="t" r="r" b="b"/>
                <a:pathLst>
                  <a:path w="8247380">
                    <a:moveTo>
                      <a:pt x="0" y="0"/>
                    </a:moveTo>
                    <a:lnTo>
                      <a:pt x="8247143" y="0"/>
                    </a:lnTo>
                  </a:path>
                </a:pathLst>
              </a:custGeom>
              <a:ln w="12700">
                <a:solidFill>
                  <a:schemeClr val="bg2"/>
                </a:solidFill>
              </a:ln>
            </p:spPr>
            <p:txBody>
              <a:bodyPr wrap="square" lIns="0" tIns="0" rIns="0" bIns="0" rtlCol="0"/>
              <a:lstStyle/>
              <a:p>
                <a:endParaRPr/>
              </a:p>
            </p:txBody>
          </p:sp>
          <p:sp>
            <p:nvSpPr>
              <p:cNvPr id="88" name="object 8">
                <a:extLst>
                  <a:ext uri="{FF2B5EF4-FFF2-40B4-BE49-F238E27FC236}">
                    <a16:creationId xmlns:a16="http://schemas.microsoft.com/office/drawing/2014/main" id="{37D9459E-0D41-4294-B49E-1C16C8FFA7E0}"/>
                  </a:ext>
                </a:extLst>
              </p:cNvPr>
              <p:cNvSpPr/>
              <p:nvPr/>
            </p:nvSpPr>
            <p:spPr>
              <a:xfrm>
                <a:off x="8730631"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89" name="object 9">
                <a:extLst>
                  <a:ext uri="{FF2B5EF4-FFF2-40B4-BE49-F238E27FC236}">
                    <a16:creationId xmlns:a16="http://schemas.microsoft.com/office/drawing/2014/main" id="{C03AB276-8379-4AAC-AC31-D08510AA6F58}"/>
                  </a:ext>
                </a:extLst>
              </p:cNvPr>
              <p:cNvSpPr/>
              <p:nvPr/>
            </p:nvSpPr>
            <p:spPr>
              <a:xfrm>
                <a:off x="8483920"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90" name="object 10">
                <a:extLst>
                  <a:ext uri="{FF2B5EF4-FFF2-40B4-BE49-F238E27FC236}">
                    <a16:creationId xmlns:a16="http://schemas.microsoft.com/office/drawing/2014/main" id="{3404FF4A-EC30-487F-87F4-A6603DA8BC86}"/>
                  </a:ext>
                </a:extLst>
              </p:cNvPr>
              <p:cNvSpPr/>
              <p:nvPr/>
            </p:nvSpPr>
            <p:spPr>
              <a:xfrm>
                <a:off x="8730631"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91" name="object 11">
                <a:extLst>
                  <a:ext uri="{FF2B5EF4-FFF2-40B4-BE49-F238E27FC236}">
                    <a16:creationId xmlns:a16="http://schemas.microsoft.com/office/drawing/2014/main" id="{C6EC93A8-969C-4B68-A8E9-6F3616B85191}"/>
                  </a:ext>
                </a:extLst>
              </p:cNvPr>
              <p:cNvSpPr/>
              <p:nvPr/>
            </p:nvSpPr>
            <p:spPr>
              <a:xfrm>
                <a:off x="8483920"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92" name="object 12">
                <a:extLst>
                  <a:ext uri="{FF2B5EF4-FFF2-40B4-BE49-F238E27FC236}">
                    <a16:creationId xmlns:a16="http://schemas.microsoft.com/office/drawing/2014/main" id="{992B857C-9BC7-40DA-A528-C46BBC1DC781}"/>
                  </a:ext>
                </a:extLst>
              </p:cNvPr>
              <p:cNvSpPr/>
              <p:nvPr/>
            </p:nvSpPr>
            <p:spPr>
              <a:xfrm>
                <a:off x="8566326" y="6060876"/>
                <a:ext cx="81915" cy="252729"/>
              </a:xfrm>
              <a:custGeom>
                <a:avLst/>
                <a:gdLst/>
                <a:ahLst/>
                <a:cxnLst/>
                <a:rect l="l" t="t" r="r" b="b"/>
                <a:pathLst>
                  <a:path w="81915" h="252729">
                    <a:moveTo>
                      <a:pt x="0" y="210934"/>
                    </a:moveTo>
                    <a:lnTo>
                      <a:pt x="40944" y="252349"/>
                    </a:lnTo>
                    <a:lnTo>
                      <a:pt x="81902" y="210934"/>
                    </a:lnTo>
                    <a:lnTo>
                      <a:pt x="81902" y="0"/>
                    </a:lnTo>
                    <a:lnTo>
                      <a:pt x="0" y="0"/>
                    </a:lnTo>
                    <a:lnTo>
                      <a:pt x="0" y="210934"/>
                    </a:lnTo>
                    <a:close/>
                  </a:path>
                </a:pathLst>
              </a:custGeom>
              <a:ln w="12699">
                <a:solidFill>
                  <a:schemeClr val="bg2"/>
                </a:solidFill>
              </a:ln>
            </p:spPr>
            <p:txBody>
              <a:bodyPr wrap="square" lIns="0" tIns="0" rIns="0" bIns="0" rtlCol="0"/>
              <a:lstStyle/>
              <a:p>
                <a:endParaRPr/>
              </a:p>
            </p:txBody>
          </p:sp>
          <p:sp>
            <p:nvSpPr>
              <p:cNvPr id="93" name="object 13">
                <a:extLst>
                  <a:ext uri="{FF2B5EF4-FFF2-40B4-BE49-F238E27FC236}">
                    <a16:creationId xmlns:a16="http://schemas.microsoft.com/office/drawing/2014/main" id="{8BA9615A-B1C1-4623-A02C-8B878D9B0004}"/>
                  </a:ext>
                </a:extLst>
              </p:cNvPr>
              <p:cNvSpPr/>
              <p:nvPr/>
            </p:nvSpPr>
            <p:spPr>
              <a:xfrm>
                <a:off x="8483920" y="6167417"/>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94" name="object 14">
                <a:extLst>
                  <a:ext uri="{FF2B5EF4-FFF2-40B4-BE49-F238E27FC236}">
                    <a16:creationId xmlns:a16="http://schemas.microsoft.com/office/drawing/2014/main" id="{86048388-C326-4F13-B151-CF34135118AA}"/>
                  </a:ext>
                </a:extLst>
              </p:cNvPr>
              <p:cNvSpPr/>
              <p:nvPr/>
            </p:nvSpPr>
            <p:spPr>
              <a:xfrm>
                <a:off x="8483920" y="6060874"/>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95" name="object 15">
                <a:extLst>
                  <a:ext uri="{FF2B5EF4-FFF2-40B4-BE49-F238E27FC236}">
                    <a16:creationId xmlns:a16="http://schemas.microsoft.com/office/drawing/2014/main" id="{82B837EE-1EF6-4084-8862-1CDD944E966E}"/>
                  </a:ext>
                </a:extLst>
              </p:cNvPr>
              <p:cNvSpPr/>
              <p:nvPr/>
            </p:nvSpPr>
            <p:spPr>
              <a:xfrm>
                <a:off x="8607279" y="6271811"/>
                <a:ext cx="91440" cy="92710"/>
              </a:xfrm>
              <a:custGeom>
                <a:avLst/>
                <a:gdLst/>
                <a:ahLst/>
                <a:cxnLst/>
                <a:rect l="l" t="t" r="r" b="b"/>
                <a:pathLst>
                  <a:path w="91440" h="92710">
                    <a:moveTo>
                      <a:pt x="40944" y="0"/>
                    </a:moveTo>
                    <a:lnTo>
                      <a:pt x="90995" y="92151"/>
                    </a:lnTo>
                    <a:lnTo>
                      <a:pt x="0" y="41414"/>
                    </a:lnTo>
                  </a:path>
                </a:pathLst>
              </a:custGeom>
              <a:ln w="12700">
                <a:solidFill>
                  <a:schemeClr val="bg2"/>
                </a:solidFill>
              </a:ln>
            </p:spPr>
            <p:txBody>
              <a:bodyPr wrap="square" lIns="0" tIns="0" rIns="0" bIns="0" rtlCol="0"/>
              <a:lstStyle/>
              <a:p>
                <a:endParaRPr/>
              </a:p>
            </p:txBody>
          </p:sp>
          <p:sp>
            <p:nvSpPr>
              <p:cNvPr id="96" name="object 16">
                <a:extLst>
                  <a:ext uri="{FF2B5EF4-FFF2-40B4-BE49-F238E27FC236}">
                    <a16:creationId xmlns:a16="http://schemas.microsoft.com/office/drawing/2014/main" id="{D8C13FF6-ABAA-44B1-BD5F-DB6E3CD0DCA5}"/>
                  </a:ext>
                </a:extLst>
              </p:cNvPr>
              <p:cNvSpPr/>
              <p:nvPr/>
            </p:nvSpPr>
            <p:spPr>
              <a:xfrm>
                <a:off x="8516275" y="6271811"/>
                <a:ext cx="91440" cy="92710"/>
              </a:xfrm>
              <a:custGeom>
                <a:avLst/>
                <a:gdLst/>
                <a:ahLst/>
                <a:cxnLst/>
                <a:rect l="l" t="t" r="r" b="b"/>
                <a:pathLst>
                  <a:path w="91440" h="92710">
                    <a:moveTo>
                      <a:pt x="50050" y="0"/>
                    </a:moveTo>
                    <a:lnTo>
                      <a:pt x="0" y="92151"/>
                    </a:lnTo>
                    <a:lnTo>
                      <a:pt x="90995" y="41414"/>
                    </a:lnTo>
                  </a:path>
                </a:pathLst>
              </a:custGeom>
              <a:ln w="12700">
                <a:solidFill>
                  <a:schemeClr val="bg2"/>
                </a:solidFill>
              </a:ln>
            </p:spPr>
            <p:txBody>
              <a:bodyPr wrap="square" lIns="0" tIns="0" rIns="0" bIns="0" rtlCol="0"/>
              <a:lstStyle/>
              <a:p>
                <a:endParaRPr/>
              </a:p>
            </p:txBody>
          </p:sp>
          <p:sp>
            <p:nvSpPr>
              <p:cNvPr id="97" name="object 17">
                <a:extLst>
                  <a:ext uri="{FF2B5EF4-FFF2-40B4-BE49-F238E27FC236}">
                    <a16:creationId xmlns:a16="http://schemas.microsoft.com/office/drawing/2014/main" id="{1BD1233B-BBB7-42E7-9E17-C4A3E45BF0B0}"/>
                  </a:ext>
                </a:extLst>
              </p:cNvPr>
              <p:cNvSpPr/>
              <p:nvPr/>
            </p:nvSpPr>
            <p:spPr>
              <a:xfrm>
                <a:off x="8164555" y="6184883"/>
                <a:ext cx="254000" cy="30480"/>
              </a:xfrm>
              <a:custGeom>
                <a:avLst/>
                <a:gdLst/>
                <a:ahLst/>
                <a:cxnLst/>
                <a:rect l="l" t="t" r="r" b="b"/>
                <a:pathLst>
                  <a:path w="254000" h="30479">
                    <a:moveTo>
                      <a:pt x="104901" y="0"/>
                    </a:moveTo>
                    <a:lnTo>
                      <a:pt x="149136" y="0"/>
                    </a:lnTo>
                    <a:lnTo>
                      <a:pt x="253847" y="30187"/>
                    </a:lnTo>
                    <a:lnTo>
                      <a:pt x="153835" y="30187"/>
                    </a:lnTo>
                    <a:lnTo>
                      <a:pt x="0" y="30187"/>
                    </a:lnTo>
                    <a:lnTo>
                      <a:pt x="104901" y="0"/>
                    </a:lnTo>
                    <a:close/>
                  </a:path>
                </a:pathLst>
              </a:custGeom>
              <a:ln w="12700">
                <a:solidFill>
                  <a:schemeClr val="bg2"/>
                </a:solidFill>
              </a:ln>
            </p:spPr>
            <p:txBody>
              <a:bodyPr wrap="square" lIns="0" tIns="0" rIns="0" bIns="0" rtlCol="0"/>
              <a:lstStyle/>
              <a:p>
                <a:endParaRPr/>
              </a:p>
            </p:txBody>
          </p:sp>
          <p:sp>
            <p:nvSpPr>
              <p:cNvPr id="98" name="object 18">
                <a:extLst>
                  <a:ext uri="{FF2B5EF4-FFF2-40B4-BE49-F238E27FC236}">
                    <a16:creationId xmlns:a16="http://schemas.microsoft.com/office/drawing/2014/main" id="{764F7724-B2C4-4EEC-BF78-3B4462C8A03D}"/>
                  </a:ext>
                </a:extLst>
              </p:cNvPr>
              <p:cNvSpPr/>
              <p:nvPr/>
            </p:nvSpPr>
            <p:spPr>
              <a:xfrm>
                <a:off x="8220333" y="6111744"/>
                <a:ext cx="142875" cy="28575"/>
              </a:xfrm>
              <a:custGeom>
                <a:avLst/>
                <a:gdLst/>
                <a:ahLst/>
                <a:cxnLst/>
                <a:rect l="l" t="t" r="r" b="b"/>
                <a:pathLst>
                  <a:path w="142875" h="28575">
                    <a:moveTo>
                      <a:pt x="60299" y="0"/>
                    </a:moveTo>
                    <a:lnTo>
                      <a:pt x="82232" y="0"/>
                    </a:lnTo>
                    <a:lnTo>
                      <a:pt x="142328" y="28384"/>
                    </a:lnTo>
                    <a:lnTo>
                      <a:pt x="0" y="28384"/>
                    </a:lnTo>
                    <a:lnTo>
                      <a:pt x="60299" y="0"/>
                    </a:lnTo>
                    <a:close/>
                  </a:path>
                </a:pathLst>
              </a:custGeom>
              <a:ln w="12700">
                <a:solidFill>
                  <a:schemeClr val="bg2"/>
                </a:solidFill>
              </a:ln>
            </p:spPr>
            <p:txBody>
              <a:bodyPr wrap="square" lIns="0" tIns="0" rIns="0" bIns="0" rtlCol="0"/>
              <a:lstStyle/>
              <a:p>
                <a:endParaRPr/>
              </a:p>
            </p:txBody>
          </p:sp>
          <p:sp>
            <p:nvSpPr>
              <p:cNvPr id="99" name="object 19">
                <a:extLst>
                  <a:ext uri="{FF2B5EF4-FFF2-40B4-BE49-F238E27FC236}">
                    <a16:creationId xmlns:a16="http://schemas.microsoft.com/office/drawing/2014/main" id="{770D05CC-ADE8-4515-B6EC-9B464FCBDEEC}"/>
                  </a:ext>
                </a:extLst>
              </p:cNvPr>
              <p:cNvSpPr/>
              <p:nvPr/>
            </p:nvSpPr>
            <p:spPr>
              <a:xfrm>
                <a:off x="8246643" y="6040373"/>
                <a:ext cx="90170" cy="322580"/>
              </a:xfrm>
              <a:custGeom>
                <a:avLst/>
                <a:gdLst/>
                <a:ahLst/>
                <a:cxnLst/>
                <a:rect l="l" t="t" r="r" b="b"/>
                <a:pathLst>
                  <a:path w="90170" h="322579">
                    <a:moveTo>
                      <a:pt x="69138" y="174269"/>
                    </a:moveTo>
                    <a:lnTo>
                      <a:pt x="0" y="322478"/>
                    </a:lnTo>
                    <a:lnTo>
                      <a:pt x="44996" y="0"/>
                    </a:lnTo>
                    <a:lnTo>
                      <a:pt x="89674" y="322478"/>
                    </a:lnTo>
                    <a:lnTo>
                      <a:pt x="20612" y="174701"/>
                    </a:lnTo>
                  </a:path>
                </a:pathLst>
              </a:custGeom>
              <a:ln w="12700">
                <a:solidFill>
                  <a:schemeClr val="bg2"/>
                </a:solidFill>
              </a:ln>
            </p:spPr>
            <p:txBody>
              <a:bodyPr wrap="square" lIns="0" tIns="0" rIns="0" bIns="0" rtlCol="0"/>
              <a:lstStyle/>
              <a:p>
                <a:endParaRPr/>
              </a:p>
            </p:txBody>
          </p:sp>
          <p:sp>
            <p:nvSpPr>
              <p:cNvPr id="100" name="object 20">
                <a:extLst>
                  <a:ext uri="{FF2B5EF4-FFF2-40B4-BE49-F238E27FC236}">
                    <a16:creationId xmlns:a16="http://schemas.microsoft.com/office/drawing/2014/main" id="{7FB38D60-2387-4A5B-B05E-75C7C11E0929}"/>
                  </a:ext>
                </a:extLst>
              </p:cNvPr>
              <p:cNvSpPr/>
              <p:nvPr/>
            </p:nvSpPr>
            <p:spPr>
              <a:xfrm>
                <a:off x="8497296" y="6364602"/>
                <a:ext cx="529590" cy="111125"/>
              </a:xfrm>
              <a:custGeom>
                <a:avLst/>
                <a:gdLst/>
                <a:ahLst/>
                <a:cxnLst/>
                <a:rect l="l" t="t" r="r" b="b"/>
                <a:pathLst>
                  <a:path w="529590" h="111125">
                    <a:moveTo>
                      <a:pt x="201396" y="76"/>
                    </a:moveTo>
                    <a:lnTo>
                      <a:pt x="473849" y="0"/>
                    </a:lnTo>
                    <a:lnTo>
                      <a:pt x="512968" y="16202"/>
                    </a:lnTo>
                    <a:lnTo>
                      <a:pt x="529170" y="55321"/>
                    </a:lnTo>
                    <a:lnTo>
                      <a:pt x="524823" y="76856"/>
                    </a:lnTo>
                    <a:lnTo>
                      <a:pt x="512968" y="94440"/>
                    </a:lnTo>
                    <a:lnTo>
                      <a:pt x="495384" y="106295"/>
                    </a:lnTo>
                    <a:lnTo>
                      <a:pt x="473849" y="110642"/>
                    </a:lnTo>
                    <a:lnTo>
                      <a:pt x="0" y="110642"/>
                    </a:lnTo>
                  </a:path>
                </a:pathLst>
              </a:custGeom>
              <a:ln w="12699">
                <a:solidFill>
                  <a:schemeClr val="bg2"/>
                </a:solidFill>
              </a:ln>
            </p:spPr>
            <p:txBody>
              <a:bodyPr wrap="square" lIns="0" tIns="0" rIns="0" bIns="0" rtlCol="0"/>
              <a:lstStyle/>
              <a:p>
                <a:endParaRPr/>
              </a:p>
            </p:txBody>
          </p:sp>
          <p:sp>
            <p:nvSpPr>
              <p:cNvPr id="101" name="object 21">
                <a:extLst>
                  <a:ext uri="{FF2B5EF4-FFF2-40B4-BE49-F238E27FC236}">
                    <a16:creationId xmlns:a16="http://schemas.microsoft.com/office/drawing/2014/main" id="{F3E19925-B206-4451-B77A-4F4DDE49D9BE}"/>
                  </a:ext>
                </a:extLst>
              </p:cNvPr>
              <p:cNvSpPr/>
              <p:nvPr/>
            </p:nvSpPr>
            <p:spPr>
              <a:xfrm>
                <a:off x="8446492" y="6449843"/>
                <a:ext cx="50800" cy="50800"/>
              </a:xfrm>
              <a:custGeom>
                <a:avLst/>
                <a:gdLst/>
                <a:ahLst/>
                <a:cxnLst/>
                <a:rect l="l" t="t" r="r" b="b"/>
                <a:pathLst>
                  <a:path w="50800" h="50800">
                    <a:moveTo>
                      <a:pt x="25400" y="0"/>
                    </a:moveTo>
                    <a:lnTo>
                      <a:pt x="15510" y="1995"/>
                    </a:lnTo>
                    <a:lnTo>
                      <a:pt x="7437" y="7437"/>
                    </a:lnTo>
                    <a:lnTo>
                      <a:pt x="1995" y="15510"/>
                    </a:lnTo>
                    <a:lnTo>
                      <a:pt x="0" y="25400"/>
                    </a:lnTo>
                    <a:lnTo>
                      <a:pt x="1995" y="35289"/>
                    </a:lnTo>
                    <a:lnTo>
                      <a:pt x="7437" y="43362"/>
                    </a:lnTo>
                    <a:lnTo>
                      <a:pt x="15510" y="48804"/>
                    </a:lnTo>
                    <a:lnTo>
                      <a:pt x="25400" y="50800"/>
                    </a:lnTo>
                    <a:lnTo>
                      <a:pt x="35289" y="48804"/>
                    </a:lnTo>
                    <a:lnTo>
                      <a:pt x="43362" y="43362"/>
                    </a:lnTo>
                    <a:lnTo>
                      <a:pt x="48804" y="35289"/>
                    </a:lnTo>
                    <a:lnTo>
                      <a:pt x="50800" y="25400"/>
                    </a:lnTo>
                    <a:lnTo>
                      <a:pt x="48804" y="15510"/>
                    </a:lnTo>
                    <a:lnTo>
                      <a:pt x="43362" y="7437"/>
                    </a:lnTo>
                    <a:lnTo>
                      <a:pt x="35289" y="1995"/>
                    </a:lnTo>
                    <a:lnTo>
                      <a:pt x="25400" y="0"/>
                    </a:lnTo>
                    <a:close/>
                  </a:path>
                </a:pathLst>
              </a:custGeom>
              <a:ln w="12700">
                <a:solidFill>
                  <a:schemeClr val="bg2"/>
                </a:solidFill>
              </a:ln>
            </p:spPr>
            <p:txBody>
              <a:bodyPr wrap="square" lIns="0" tIns="0" rIns="0" bIns="0" rtlCol="0"/>
              <a:lstStyle/>
              <a:p>
                <a:endParaRPr/>
              </a:p>
            </p:txBody>
          </p:sp>
        </p:grpSp>
        <p:grpSp>
          <p:nvGrpSpPr>
            <p:cNvPr id="79" name="Group 78">
              <a:extLst>
                <a:ext uri="{FF2B5EF4-FFF2-40B4-BE49-F238E27FC236}">
                  <a16:creationId xmlns:a16="http://schemas.microsoft.com/office/drawing/2014/main" id="{ECE77570-9D88-4A89-9E58-E232CAE25009}"/>
                </a:ext>
              </a:extLst>
            </p:cNvPr>
            <p:cNvGrpSpPr/>
            <p:nvPr userDrawn="1"/>
          </p:nvGrpSpPr>
          <p:grpSpPr>
            <a:xfrm>
              <a:off x="7807856" y="6136761"/>
              <a:ext cx="194402" cy="233814"/>
              <a:chOff x="6199448" y="5757477"/>
              <a:chExt cx="445167" cy="535418"/>
            </a:xfrm>
          </p:grpSpPr>
          <p:sp>
            <p:nvSpPr>
              <p:cNvPr id="80" name="object 9">
                <a:extLst>
                  <a:ext uri="{FF2B5EF4-FFF2-40B4-BE49-F238E27FC236}">
                    <a16:creationId xmlns:a16="http://schemas.microsoft.com/office/drawing/2014/main" id="{FEC2D9A4-E2E9-4D29-A223-7334894C2A16}"/>
                  </a:ext>
                </a:extLst>
              </p:cNvPr>
              <p:cNvSpPr/>
              <p:nvPr userDrawn="1"/>
            </p:nvSpPr>
            <p:spPr>
              <a:xfrm>
                <a:off x="6302730" y="6005107"/>
                <a:ext cx="59055" cy="54610"/>
              </a:xfrm>
              <a:custGeom>
                <a:avLst/>
                <a:gdLst/>
                <a:ahLst/>
                <a:cxnLst/>
                <a:rect l="l" t="t" r="r" b="b"/>
                <a:pathLst>
                  <a:path w="59054" h="54610">
                    <a:moveTo>
                      <a:pt x="58623" y="0"/>
                    </a:moveTo>
                    <a:lnTo>
                      <a:pt x="0" y="54051"/>
                    </a:lnTo>
                  </a:path>
                </a:pathLst>
              </a:custGeom>
              <a:ln w="12700">
                <a:solidFill>
                  <a:schemeClr val="bg2"/>
                </a:solidFill>
              </a:ln>
            </p:spPr>
            <p:txBody>
              <a:bodyPr wrap="square" lIns="0" tIns="0" rIns="0" bIns="0" rtlCol="0"/>
              <a:lstStyle/>
              <a:p>
                <a:endParaRPr/>
              </a:p>
            </p:txBody>
          </p:sp>
          <p:sp>
            <p:nvSpPr>
              <p:cNvPr id="81" name="object 10">
                <a:extLst>
                  <a:ext uri="{FF2B5EF4-FFF2-40B4-BE49-F238E27FC236}">
                    <a16:creationId xmlns:a16="http://schemas.microsoft.com/office/drawing/2014/main" id="{D62B5D13-F397-4170-B45C-1A455297C324}"/>
                  </a:ext>
                </a:extLst>
              </p:cNvPr>
              <p:cNvSpPr/>
              <p:nvPr userDrawn="1"/>
            </p:nvSpPr>
            <p:spPr>
              <a:xfrm>
                <a:off x="6571235" y="6064810"/>
                <a:ext cx="40005" cy="34290"/>
              </a:xfrm>
              <a:custGeom>
                <a:avLst/>
                <a:gdLst/>
                <a:ahLst/>
                <a:cxnLst/>
                <a:rect l="l" t="t" r="r" b="b"/>
                <a:pathLst>
                  <a:path w="40004" h="34289">
                    <a:moveTo>
                      <a:pt x="39458" y="0"/>
                    </a:moveTo>
                    <a:lnTo>
                      <a:pt x="0" y="33693"/>
                    </a:lnTo>
                  </a:path>
                </a:pathLst>
              </a:custGeom>
              <a:ln w="12699">
                <a:solidFill>
                  <a:schemeClr val="bg2"/>
                </a:solidFill>
              </a:ln>
            </p:spPr>
            <p:txBody>
              <a:bodyPr wrap="square" lIns="0" tIns="0" rIns="0" bIns="0" rtlCol="0"/>
              <a:lstStyle/>
              <a:p>
                <a:endParaRPr/>
              </a:p>
            </p:txBody>
          </p:sp>
          <p:sp>
            <p:nvSpPr>
              <p:cNvPr id="82" name="object 11">
                <a:extLst>
                  <a:ext uri="{FF2B5EF4-FFF2-40B4-BE49-F238E27FC236}">
                    <a16:creationId xmlns:a16="http://schemas.microsoft.com/office/drawing/2014/main" id="{E77C0303-3E44-4A26-B9D5-3F1E493E0792}"/>
                  </a:ext>
                </a:extLst>
              </p:cNvPr>
              <p:cNvSpPr/>
              <p:nvPr userDrawn="1"/>
            </p:nvSpPr>
            <p:spPr>
              <a:xfrm>
                <a:off x="6199448" y="5757477"/>
                <a:ext cx="238760" cy="361315"/>
              </a:xfrm>
              <a:custGeom>
                <a:avLst/>
                <a:gdLst/>
                <a:ahLst/>
                <a:cxnLst/>
                <a:rect l="l" t="t" r="r" b="b"/>
                <a:pathLst>
                  <a:path w="238760" h="361314">
                    <a:moveTo>
                      <a:pt x="152401" y="0"/>
                    </a:moveTo>
                    <a:lnTo>
                      <a:pt x="206338" y="59621"/>
                    </a:lnTo>
                    <a:lnTo>
                      <a:pt x="232472" y="101546"/>
                    </a:lnTo>
                    <a:lnTo>
                      <a:pt x="238141" y="145618"/>
                    </a:lnTo>
                    <a:lnTo>
                      <a:pt x="230684" y="211683"/>
                    </a:lnTo>
                    <a:lnTo>
                      <a:pt x="202566" y="282121"/>
                    </a:lnTo>
                    <a:lnTo>
                      <a:pt x="155738" y="328306"/>
                    </a:lnTo>
                    <a:lnTo>
                      <a:pt x="111801" y="353570"/>
                    </a:lnTo>
                    <a:lnTo>
                      <a:pt x="92356" y="361251"/>
                    </a:lnTo>
                    <a:lnTo>
                      <a:pt x="35759" y="331100"/>
                    </a:lnTo>
                    <a:lnTo>
                      <a:pt x="7724" y="306879"/>
                    </a:lnTo>
                    <a:lnTo>
                      <a:pt x="0" y="275833"/>
                    </a:lnTo>
                    <a:lnTo>
                      <a:pt x="4332" y="225209"/>
                    </a:lnTo>
                    <a:lnTo>
                      <a:pt x="18791" y="180068"/>
                    </a:lnTo>
                    <a:lnTo>
                      <a:pt x="47033" y="134047"/>
                    </a:lnTo>
                    <a:lnTo>
                      <a:pt x="81786" y="90087"/>
                    </a:lnTo>
                    <a:lnTo>
                      <a:pt x="115780" y="51131"/>
                    </a:lnTo>
                    <a:lnTo>
                      <a:pt x="141742" y="20121"/>
                    </a:lnTo>
                    <a:lnTo>
                      <a:pt x="152401" y="0"/>
                    </a:lnTo>
                    <a:close/>
                  </a:path>
                </a:pathLst>
              </a:custGeom>
              <a:ln w="12700">
                <a:solidFill>
                  <a:schemeClr val="bg2"/>
                </a:solidFill>
              </a:ln>
            </p:spPr>
            <p:txBody>
              <a:bodyPr wrap="square" lIns="0" tIns="0" rIns="0" bIns="0" rtlCol="0"/>
              <a:lstStyle/>
              <a:p>
                <a:endParaRPr/>
              </a:p>
            </p:txBody>
          </p:sp>
          <p:sp>
            <p:nvSpPr>
              <p:cNvPr id="83" name="object 12">
                <a:extLst>
                  <a:ext uri="{FF2B5EF4-FFF2-40B4-BE49-F238E27FC236}">
                    <a16:creationId xmlns:a16="http://schemas.microsoft.com/office/drawing/2014/main" id="{3167C8E4-F916-4786-9F5E-A17B4C6CE1CB}"/>
                  </a:ext>
                </a:extLst>
              </p:cNvPr>
              <p:cNvSpPr/>
              <p:nvPr userDrawn="1"/>
            </p:nvSpPr>
            <p:spPr>
              <a:xfrm>
                <a:off x="6291800" y="5958885"/>
                <a:ext cx="29845" cy="334010"/>
              </a:xfrm>
              <a:custGeom>
                <a:avLst/>
                <a:gdLst/>
                <a:ahLst/>
                <a:cxnLst/>
                <a:rect l="l" t="t" r="r" b="b"/>
                <a:pathLst>
                  <a:path w="29845" h="334010">
                    <a:moveTo>
                      <a:pt x="0" y="333590"/>
                    </a:moveTo>
                    <a:lnTo>
                      <a:pt x="0" y="159842"/>
                    </a:lnTo>
                    <a:lnTo>
                      <a:pt x="29337" y="0"/>
                    </a:lnTo>
                  </a:path>
                </a:pathLst>
              </a:custGeom>
              <a:ln w="12700">
                <a:solidFill>
                  <a:schemeClr val="bg2"/>
                </a:solidFill>
              </a:ln>
            </p:spPr>
            <p:txBody>
              <a:bodyPr wrap="square" lIns="0" tIns="0" rIns="0" bIns="0" rtlCol="0"/>
              <a:lstStyle/>
              <a:p>
                <a:endParaRPr/>
              </a:p>
            </p:txBody>
          </p:sp>
          <p:sp>
            <p:nvSpPr>
              <p:cNvPr id="84" name="object 13">
                <a:extLst>
                  <a:ext uri="{FF2B5EF4-FFF2-40B4-BE49-F238E27FC236}">
                    <a16:creationId xmlns:a16="http://schemas.microsoft.com/office/drawing/2014/main" id="{4B9D6ACC-3C79-418A-9F36-12C70DF9A1B0}"/>
                  </a:ext>
                </a:extLst>
              </p:cNvPr>
              <p:cNvSpPr/>
              <p:nvPr userDrawn="1"/>
            </p:nvSpPr>
            <p:spPr>
              <a:xfrm>
                <a:off x="6509995" y="5895716"/>
                <a:ext cx="134620" cy="271780"/>
              </a:xfrm>
              <a:custGeom>
                <a:avLst/>
                <a:gdLst/>
                <a:ahLst/>
                <a:cxnLst/>
                <a:rect l="l" t="t" r="r" b="b"/>
                <a:pathLst>
                  <a:path w="134620" h="271779">
                    <a:moveTo>
                      <a:pt x="49169" y="271462"/>
                    </a:moveTo>
                    <a:lnTo>
                      <a:pt x="98809" y="244084"/>
                    </a:lnTo>
                    <a:lnTo>
                      <a:pt x="124248" y="222365"/>
                    </a:lnTo>
                    <a:lnTo>
                      <a:pt x="133490" y="194972"/>
                    </a:lnTo>
                    <a:lnTo>
                      <a:pt x="134539" y="150571"/>
                    </a:lnTo>
                    <a:lnTo>
                      <a:pt x="129037" y="97915"/>
                    </a:lnTo>
                    <a:lnTo>
                      <a:pt x="116451" y="54292"/>
                    </a:lnTo>
                    <a:lnTo>
                      <a:pt x="101517" y="21165"/>
                    </a:lnTo>
                    <a:lnTo>
                      <a:pt x="88971" y="0"/>
                    </a:lnTo>
                    <a:lnTo>
                      <a:pt x="67453" y="33982"/>
                    </a:lnTo>
                    <a:lnTo>
                      <a:pt x="53324" y="55833"/>
                    </a:lnTo>
                    <a:lnTo>
                      <a:pt x="40320" y="75025"/>
                    </a:lnTo>
                    <a:lnTo>
                      <a:pt x="22182" y="101028"/>
                    </a:lnTo>
                    <a:lnTo>
                      <a:pt x="3912" y="139522"/>
                    </a:lnTo>
                    <a:lnTo>
                      <a:pt x="0" y="183183"/>
                    </a:lnTo>
                    <a:lnTo>
                      <a:pt x="13925" y="228374"/>
                    </a:lnTo>
                    <a:lnTo>
                      <a:pt x="49169" y="271462"/>
                    </a:lnTo>
                    <a:close/>
                  </a:path>
                </a:pathLst>
              </a:custGeom>
              <a:ln w="12700">
                <a:solidFill>
                  <a:schemeClr val="bg2"/>
                </a:solidFill>
              </a:ln>
            </p:spPr>
            <p:txBody>
              <a:bodyPr wrap="square" lIns="0" tIns="0" rIns="0" bIns="0" rtlCol="0"/>
              <a:lstStyle/>
              <a:p>
                <a:endParaRPr/>
              </a:p>
            </p:txBody>
          </p:sp>
          <p:sp>
            <p:nvSpPr>
              <p:cNvPr id="85" name="object 14">
                <a:extLst>
                  <a:ext uri="{FF2B5EF4-FFF2-40B4-BE49-F238E27FC236}">
                    <a16:creationId xmlns:a16="http://schemas.microsoft.com/office/drawing/2014/main" id="{36474557-BE7D-4A8F-9C0F-921A858AFE47}"/>
                  </a:ext>
                </a:extLst>
              </p:cNvPr>
              <p:cNvSpPr/>
              <p:nvPr userDrawn="1"/>
            </p:nvSpPr>
            <p:spPr>
              <a:xfrm>
                <a:off x="6559165" y="6040621"/>
                <a:ext cx="22860" cy="252095"/>
              </a:xfrm>
              <a:custGeom>
                <a:avLst/>
                <a:gdLst/>
                <a:ahLst/>
                <a:cxnLst/>
                <a:rect l="l" t="t" r="r" b="b"/>
                <a:pathLst>
                  <a:path w="22859" h="252095">
                    <a:moveTo>
                      <a:pt x="22250" y="0"/>
                    </a:moveTo>
                    <a:lnTo>
                      <a:pt x="0" y="126555"/>
                    </a:lnTo>
                    <a:lnTo>
                      <a:pt x="0" y="251853"/>
                    </a:lnTo>
                  </a:path>
                </a:pathLst>
              </a:custGeom>
              <a:ln w="12700">
                <a:solidFill>
                  <a:schemeClr val="bg2"/>
                </a:solidFill>
              </a:ln>
            </p:spPr>
            <p:txBody>
              <a:bodyPr wrap="square" lIns="0" tIns="0" rIns="0" bIns="0" rtlCol="0"/>
              <a:lstStyle/>
              <a:p>
                <a:endParaRPr/>
              </a:p>
            </p:txBody>
          </p:sp>
        </p:grpSp>
      </p:grpSp>
    </p:spTree>
    <p:extLst>
      <p:ext uri="{BB962C8B-B14F-4D97-AF65-F5344CB8AC3E}">
        <p14:creationId xmlns:p14="http://schemas.microsoft.com/office/powerpoint/2010/main" val="367912908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7_Content with summary without graphics in footer">
    <p:spTree>
      <p:nvGrpSpPr>
        <p:cNvPr id="1" name=""/>
        <p:cNvGrpSpPr/>
        <p:nvPr/>
      </p:nvGrpSpPr>
      <p:grpSpPr>
        <a:xfrm>
          <a:off x="0" y="0"/>
          <a:ext cx="0" cy="0"/>
          <a:chOff x="0" y="0"/>
          <a:chExt cx="0" cy="0"/>
        </a:xfrm>
      </p:grpSpPr>
      <p:sp>
        <p:nvSpPr>
          <p:cNvPr id="8" name="Fußzeilenplatzhalter 46"/>
          <p:cNvSpPr>
            <a:spLocks noGrp="1"/>
          </p:cNvSpPr>
          <p:nvPr>
            <p:ph type="ftr" sz="quarter" idx="3"/>
          </p:nvPr>
        </p:nvSpPr>
        <p:spPr>
          <a:xfrm>
            <a:off x="9296400" y="6282000"/>
            <a:ext cx="2006600" cy="196850"/>
          </a:xfrm>
          <a:prstGeom prst="rect">
            <a:avLst/>
          </a:prstGeom>
        </p:spPr>
        <p:txBody>
          <a:bodyPr vert="horz" wrap="none" lIns="0" tIns="45720" rIns="0" bIns="0" rtlCol="0" anchor="ctr"/>
          <a:lstStyle>
            <a:lvl1pPr algn="r">
              <a:defRPr sz="900">
                <a:solidFill>
                  <a:srgbClr val="364D54"/>
                </a:solidFill>
                <a:latin typeface="Arial"/>
                <a:cs typeface="Arial"/>
              </a:defRPr>
            </a:lvl1pPr>
          </a:lstStyle>
          <a:p>
            <a:endParaRPr lang="en-GB"/>
          </a:p>
        </p:txBody>
      </p:sp>
      <p:sp>
        <p:nvSpPr>
          <p:cNvPr id="6"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9" name="Text Placeholder 2">
            <a:extLst>
              <a:ext uri="{FF2B5EF4-FFF2-40B4-BE49-F238E27FC236}">
                <a16:creationId xmlns:a16="http://schemas.microsoft.com/office/drawing/2014/main" id="{F47F69DD-F085-4615-A808-BCCA300ED4CF}"/>
              </a:ext>
            </a:extLst>
          </p:cNvPr>
          <p:cNvSpPr>
            <a:spLocks noGrp="1"/>
          </p:cNvSpPr>
          <p:nvPr>
            <p:ph type="body" sz="quarter" idx="11" hasCustomPrompt="1"/>
          </p:nvPr>
        </p:nvSpPr>
        <p:spPr>
          <a:xfrm>
            <a:off x="914399" y="5300663"/>
            <a:ext cx="9792000" cy="611955"/>
          </a:xfrm>
          <a:prstGeom prst="rect">
            <a:avLst/>
          </a:prstGeom>
          <a:ln>
            <a:solidFill>
              <a:schemeClr val="bg2"/>
            </a:solidFill>
            <a:prstDash val="sysDot"/>
          </a:ln>
        </p:spPr>
        <p:txBody>
          <a:bodyPr anchor="ctr">
            <a:normAutofit/>
          </a:bodyPr>
          <a:lstStyle>
            <a:lvl1pPr>
              <a:defRPr lang="fr-BE" sz="2000" b="1" kern="1200" baseline="0" dirty="0">
                <a:solidFill>
                  <a:schemeClr val="bg2"/>
                </a:solidFill>
                <a:latin typeface="Arial"/>
                <a:ea typeface="+mj-ea"/>
                <a:cs typeface="Arial"/>
              </a:defRPr>
            </a:lvl1pPr>
          </a:lstStyle>
          <a:p>
            <a:pPr lvl="0"/>
            <a:r>
              <a:rPr lang="en-GB"/>
              <a:t>Summary</a:t>
            </a:r>
            <a:r>
              <a:rPr lang="en-US"/>
              <a:t> - 16 should be the smallest font size. The conclusion should only have two lines.</a:t>
            </a:r>
            <a:endParaRPr lang="fr-BE"/>
          </a:p>
        </p:txBody>
      </p:sp>
      <p:sp>
        <p:nvSpPr>
          <p:cNvPr id="7" name="Titelplatzhalter 10">
            <a:extLst>
              <a:ext uri="{FF2B5EF4-FFF2-40B4-BE49-F238E27FC236}">
                <a16:creationId xmlns:a16="http://schemas.microsoft.com/office/drawing/2014/main" id="{4DF8978D-F11A-433E-A9DE-E6E9F38123DA}"/>
              </a:ext>
            </a:extLst>
          </p:cNvPr>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11" name="Text Placeholder 2">
            <a:extLst>
              <a:ext uri="{FF2B5EF4-FFF2-40B4-BE49-F238E27FC236}">
                <a16:creationId xmlns:a16="http://schemas.microsoft.com/office/drawing/2014/main" id="{1B864982-C658-4547-A284-C0BF8B258D37}"/>
              </a:ext>
            </a:extLst>
          </p:cNvPr>
          <p:cNvSpPr>
            <a:spLocks noGrp="1"/>
          </p:cNvSpPr>
          <p:nvPr>
            <p:ph type="body" sz="quarter" idx="12" hasCustomPrompt="1"/>
          </p:nvPr>
        </p:nvSpPr>
        <p:spPr>
          <a:xfrm>
            <a:off x="914400" y="1952601"/>
            <a:ext cx="9792000" cy="3132584"/>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1007100" indent="-285750">
              <a:lnSpc>
                <a:spcPts val="15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spTree>
    <p:extLst>
      <p:ext uri="{BB962C8B-B14F-4D97-AF65-F5344CB8AC3E}">
        <p14:creationId xmlns:p14="http://schemas.microsoft.com/office/powerpoint/2010/main" val="248812344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8_Content with summary + graphics in footer">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lvl1pPr>
          </a:lstStyle>
          <a:p>
            <a:endParaRPr lang="en-GB"/>
          </a:p>
        </p:txBody>
      </p:sp>
      <p:sp>
        <p:nvSpPr>
          <p:cNvPr id="10" name="object 4"/>
          <p:cNvSpPr/>
          <p:nvPr userDrawn="1"/>
        </p:nvSpPr>
        <p:spPr>
          <a:xfrm>
            <a:off x="11430000" y="6354000"/>
            <a:ext cx="0" cy="117475"/>
          </a:xfrm>
          <a:custGeom>
            <a:avLst/>
            <a:gdLst/>
            <a:ahLst/>
            <a:cxnLst/>
            <a:rect l="l" t="t" r="r" b="b"/>
            <a:pathLst>
              <a:path h="117475">
                <a:moveTo>
                  <a:pt x="0" y="0"/>
                </a:moveTo>
                <a:lnTo>
                  <a:pt x="0" y="117005"/>
                </a:lnTo>
              </a:path>
            </a:pathLst>
          </a:custGeom>
          <a:ln w="6350">
            <a:solidFill>
              <a:srgbClr val="EF7D14"/>
            </a:solidFill>
          </a:ln>
        </p:spPr>
        <p:txBody>
          <a:bodyPr wrap="square" lIns="0" tIns="0" rIns="0" bIns="0" rtlCol="0"/>
          <a:lstStyle/>
          <a:p>
            <a:endParaRPr/>
          </a:p>
        </p:txBody>
      </p:sp>
      <p:sp>
        <p:nvSpPr>
          <p:cNvPr id="34"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5" name="Text Placeholder 2">
            <a:extLst>
              <a:ext uri="{FF2B5EF4-FFF2-40B4-BE49-F238E27FC236}">
                <a16:creationId xmlns:a16="http://schemas.microsoft.com/office/drawing/2014/main" id="{E36865A0-4084-4390-B986-DEC0356C480F}"/>
              </a:ext>
            </a:extLst>
          </p:cNvPr>
          <p:cNvSpPr>
            <a:spLocks noGrp="1"/>
          </p:cNvSpPr>
          <p:nvPr>
            <p:ph type="body" sz="quarter" idx="11" hasCustomPrompt="1"/>
          </p:nvPr>
        </p:nvSpPr>
        <p:spPr>
          <a:xfrm>
            <a:off x="914399" y="5300663"/>
            <a:ext cx="9792000" cy="611955"/>
          </a:xfrm>
          <a:prstGeom prst="rect">
            <a:avLst/>
          </a:prstGeom>
          <a:ln w="12700">
            <a:solidFill>
              <a:schemeClr val="bg2"/>
            </a:solidFill>
            <a:prstDash val="sysDot"/>
          </a:ln>
        </p:spPr>
        <p:txBody>
          <a:bodyPr anchor="ctr">
            <a:normAutofit/>
          </a:bodyPr>
          <a:lstStyle>
            <a:lvl1pPr>
              <a:defRPr lang="fr-BE" sz="2000" b="1" kern="1200" baseline="0" dirty="0">
                <a:solidFill>
                  <a:schemeClr val="bg2"/>
                </a:solidFill>
                <a:latin typeface="Arial"/>
                <a:ea typeface="+mj-ea"/>
                <a:cs typeface="Arial"/>
              </a:defRPr>
            </a:lvl1pPr>
          </a:lstStyle>
          <a:p>
            <a:pPr lvl="0"/>
            <a:r>
              <a:rPr lang="en-GB"/>
              <a:t>Summary</a:t>
            </a:r>
            <a:r>
              <a:rPr lang="en-US"/>
              <a:t> - 16 should be the smallest font size. The conclusion should only have two lines.</a:t>
            </a:r>
            <a:endParaRPr lang="fr-BE"/>
          </a:p>
        </p:txBody>
      </p:sp>
      <p:sp>
        <p:nvSpPr>
          <p:cNvPr id="37" name="Titelplatzhalter 10">
            <a:extLst>
              <a:ext uri="{FF2B5EF4-FFF2-40B4-BE49-F238E27FC236}">
                <a16:creationId xmlns:a16="http://schemas.microsoft.com/office/drawing/2014/main" id="{995529C8-DB2B-44A8-A136-08EA8A458DF8}"/>
              </a:ext>
            </a:extLst>
          </p:cNvPr>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38" name="Text Placeholder 2">
            <a:extLst>
              <a:ext uri="{FF2B5EF4-FFF2-40B4-BE49-F238E27FC236}">
                <a16:creationId xmlns:a16="http://schemas.microsoft.com/office/drawing/2014/main" id="{94D603D1-2D30-4A83-A723-26163691B147}"/>
              </a:ext>
            </a:extLst>
          </p:cNvPr>
          <p:cNvSpPr>
            <a:spLocks noGrp="1"/>
          </p:cNvSpPr>
          <p:nvPr>
            <p:ph type="body" sz="quarter" idx="12" hasCustomPrompt="1"/>
          </p:nvPr>
        </p:nvSpPr>
        <p:spPr>
          <a:xfrm>
            <a:off x="914400" y="1952601"/>
            <a:ext cx="9792000" cy="3132584"/>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1007100" indent="-285750">
              <a:lnSpc>
                <a:spcPts val="15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grpSp>
        <p:nvGrpSpPr>
          <p:cNvPr id="36" name="Group 35">
            <a:extLst>
              <a:ext uri="{FF2B5EF4-FFF2-40B4-BE49-F238E27FC236}">
                <a16:creationId xmlns:a16="http://schemas.microsoft.com/office/drawing/2014/main" id="{472BB4DE-E328-4610-B152-68C00B177B1E}"/>
              </a:ext>
            </a:extLst>
          </p:cNvPr>
          <p:cNvGrpSpPr/>
          <p:nvPr userDrawn="1"/>
        </p:nvGrpSpPr>
        <p:grpSpPr>
          <a:xfrm>
            <a:off x="0" y="5964940"/>
            <a:ext cx="9078301" cy="535703"/>
            <a:chOff x="0" y="5964940"/>
            <a:chExt cx="9078301" cy="535703"/>
          </a:xfrm>
        </p:grpSpPr>
        <p:grpSp>
          <p:nvGrpSpPr>
            <p:cNvPr id="39" name="Group 38">
              <a:extLst>
                <a:ext uri="{FF2B5EF4-FFF2-40B4-BE49-F238E27FC236}">
                  <a16:creationId xmlns:a16="http://schemas.microsoft.com/office/drawing/2014/main" id="{4B9F7AD7-9BA3-4D70-96E9-363326716BEE}"/>
                </a:ext>
              </a:extLst>
            </p:cNvPr>
            <p:cNvGrpSpPr/>
            <p:nvPr userDrawn="1"/>
          </p:nvGrpSpPr>
          <p:grpSpPr>
            <a:xfrm>
              <a:off x="8906480" y="5964940"/>
              <a:ext cx="171821" cy="171821"/>
              <a:chOff x="10960096" y="4204963"/>
              <a:chExt cx="405867" cy="405866"/>
            </a:xfrm>
          </p:grpSpPr>
          <p:sp>
            <p:nvSpPr>
              <p:cNvPr id="64" name="object 26">
                <a:extLst>
                  <a:ext uri="{FF2B5EF4-FFF2-40B4-BE49-F238E27FC236}">
                    <a16:creationId xmlns:a16="http://schemas.microsoft.com/office/drawing/2014/main" id="{E5C0F357-C732-449D-B971-1F3389905D2A}"/>
                  </a:ext>
                </a:extLst>
              </p:cNvPr>
              <p:cNvSpPr/>
              <p:nvPr userDrawn="1"/>
            </p:nvSpPr>
            <p:spPr>
              <a:xfrm>
                <a:off x="11162878" y="4204963"/>
                <a:ext cx="0" cy="64807"/>
              </a:xfrm>
              <a:custGeom>
                <a:avLst/>
                <a:gdLst/>
                <a:ahLst/>
                <a:cxnLst/>
                <a:rect l="l" t="t" r="r" b="b"/>
                <a:pathLst>
                  <a:path h="78739">
                    <a:moveTo>
                      <a:pt x="0" y="78371"/>
                    </a:moveTo>
                    <a:lnTo>
                      <a:pt x="0" y="0"/>
                    </a:lnTo>
                  </a:path>
                </a:pathLst>
              </a:custGeom>
              <a:ln w="12700">
                <a:solidFill>
                  <a:schemeClr val="bg2"/>
                </a:solidFill>
              </a:ln>
            </p:spPr>
            <p:txBody>
              <a:bodyPr wrap="square" lIns="0" tIns="0" rIns="0" bIns="0" rtlCol="0"/>
              <a:lstStyle/>
              <a:p>
                <a:endParaRPr/>
              </a:p>
            </p:txBody>
          </p:sp>
          <p:sp>
            <p:nvSpPr>
              <p:cNvPr id="65" name="object 27">
                <a:extLst>
                  <a:ext uri="{FF2B5EF4-FFF2-40B4-BE49-F238E27FC236}">
                    <a16:creationId xmlns:a16="http://schemas.microsoft.com/office/drawing/2014/main" id="{265763EF-C8AA-424F-9D78-8E610B3FD52A}"/>
                  </a:ext>
                </a:extLst>
              </p:cNvPr>
              <p:cNvSpPr/>
              <p:nvPr userDrawn="1"/>
            </p:nvSpPr>
            <p:spPr>
              <a:xfrm>
                <a:off x="10960096" y="4407744"/>
                <a:ext cx="64807" cy="0"/>
              </a:xfrm>
              <a:custGeom>
                <a:avLst/>
                <a:gdLst/>
                <a:ahLst/>
                <a:cxnLst/>
                <a:rect l="l" t="t" r="r" b="b"/>
                <a:pathLst>
                  <a:path w="78740">
                    <a:moveTo>
                      <a:pt x="78371" y="0"/>
                    </a:moveTo>
                    <a:lnTo>
                      <a:pt x="0" y="0"/>
                    </a:lnTo>
                  </a:path>
                </a:pathLst>
              </a:custGeom>
              <a:ln w="12700">
                <a:solidFill>
                  <a:schemeClr val="bg2"/>
                </a:solidFill>
              </a:ln>
            </p:spPr>
            <p:txBody>
              <a:bodyPr wrap="square" lIns="0" tIns="0" rIns="0" bIns="0" rtlCol="0"/>
              <a:lstStyle/>
              <a:p>
                <a:endParaRPr/>
              </a:p>
            </p:txBody>
          </p:sp>
          <p:sp>
            <p:nvSpPr>
              <p:cNvPr id="66" name="object 28">
                <a:extLst>
                  <a:ext uri="{FF2B5EF4-FFF2-40B4-BE49-F238E27FC236}">
                    <a16:creationId xmlns:a16="http://schemas.microsoft.com/office/drawing/2014/main" id="{6FA2ABAC-7025-4C7F-AF8C-258866B7F80B}"/>
                  </a:ext>
                </a:extLst>
              </p:cNvPr>
              <p:cNvSpPr/>
              <p:nvPr userDrawn="1"/>
            </p:nvSpPr>
            <p:spPr>
              <a:xfrm>
                <a:off x="11162878" y="4546022"/>
                <a:ext cx="0" cy="64807"/>
              </a:xfrm>
              <a:custGeom>
                <a:avLst/>
                <a:gdLst/>
                <a:ahLst/>
                <a:cxnLst/>
                <a:rect l="l" t="t" r="r" b="b"/>
                <a:pathLst>
                  <a:path h="78739">
                    <a:moveTo>
                      <a:pt x="0" y="0"/>
                    </a:moveTo>
                    <a:lnTo>
                      <a:pt x="0" y="78371"/>
                    </a:lnTo>
                  </a:path>
                </a:pathLst>
              </a:custGeom>
              <a:ln w="12700">
                <a:solidFill>
                  <a:schemeClr val="bg2"/>
                </a:solidFill>
              </a:ln>
            </p:spPr>
            <p:txBody>
              <a:bodyPr wrap="square" lIns="0" tIns="0" rIns="0" bIns="0" rtlCol="0"/>
              <a:lstStyle/>
              <a:p>
                <a:endParaRPr/>
              </a:p>
            </p:txBody>
          </p:sp>
          <p:sp>
            <p:nvSpPr>
              <p:cNvPr id="67" name="object 29">
                <a:extLst>
                  <a:ext uri="{FF2B5EF4-FFF2-40B4-BE49-F238E27FC236}">
                    <a16:creationId xmlns:a16="http://schemas.microsoft.com/office/drawing/2014/main" id="{05625C50-16B3-4DD4-9934-E5857BE37E6E}"/>
                  </a:ext>
                </a:extLst>
              </p:cNvPr>
              <p:cNvSpPr/>
              <p:nvPr userDrawn="1"/>
            </p:nvSpPr>
            <p:spPr>
              <a:xfrm>
                <a:off x="11301156" y="4407744"/>
                <a:ext cx="64807" cy="0"/>
              </a:xfrm>
              <a:custGeom>
                <a:avLst/>
                <a:gdLst/>
                <a:ahLst/>
                <a:cxnLst/>
                <a:rect l="l" t="t" r="r" b="b"/>
                <a:pathLst>
                  <a:path w="78740">
                    <a:moveTo>
                      <a:pt x="0" y="0"/>
                    </a:moveTo>
                    <a:lnTo>
                      <a:pt x="78371" y="0"/>
                    </a:lnTo>
                  </a:path>
                </a:pathLst>
              </a:custGeom>
              <a:ln w="12700">
                <a:solidFill>
                  <a:schemeClr val="bg2"/>
                </a:solidFill>
              </a:ln>
            </p:spPr>
            <p:txBody>
              <a:bodyPr wrap="square" lIns="0" tIns="0" rIns="0" bIns="0" rtlCol="0"/>
              <a:lstStyle/>
              <a:p>
                <a:endParaRPr/>
              </a:p>
            </p:txBody>
          </p:sp>
          <p:sp>
            <p:nvSpPr>
              <p:cNvPr id="68" name="object 30">
                <a:extLst>
                  <a:ext uri="{FF2B5EF4-FFF2-40B4-BE49-F238E27FC236}">
                    <a16:creationId xmlns:a16="http://schemas.microsoft.com/office/drawing/2014/main" id="{1E053922-07B6-4A55-895F-1E197FD65CE3}"/>
                  </a:ext>
                </a:extLst>
              </p:cNvPr>
              <p:cNvSpPr/>
              <p:nvPr userDrawn="1"/>
            </p:nvSpPr>
            <p:spPr>
              <a:xfrm>
                <a:off x="10998198" y="4312662"/>
                <a:ext cx="44947" cy="26132"/>
              </a:xfrm>
              <a:custGeom>
                <a:avLst/>
                <a:gdLst/>
                <a:ahLst/>
                <a:cxnLst/>
                <a:rect l="l" t="t" r="r" b="b"/>
                <a:pathLst>
                  <a:path w="54609" h="31750">
                    <a:moveTo>
                      <a:pt x="54584" y="31521"/>
                    </a:moveTo>
                    <a:lnTo>
                      <a:pt x="0" y="0"/>
                    </a:lnTo>
                  </a:path>
                </a:pathLst>
              </a:custGeom>
              <a:ln w="12700">
                <a:solidFill>
                  <a:schemeClr val="bg2"/>
                </a:solidFill>
              </a:ln>
            </p:spPr>
            <p:txBody>
              <a:bodyPr wrap="square" lIns="0" tIns="0" rIns="0" bIns="0" rtlCol="0"/>
              <a:lstStyle/>
              <a:p>
                <a:endParaRPr/>
              </a:p>
            </p:txBody>
          </p:sp>
          <p:sp>
            <p:nvSpPr>
              <p:cNvPr id="69" name="object 31">
                <a:extLst>
                  <a:ext uri="{FF2B5EF4-FFF2-40B4-BE49-F238E27FC236}">
                    <a16:creationId xmlns:a16="http://schemas.microsoft.com/office/drawing/2014/main" id="{9B822AE2-2B27-403E-B9C7-1A155EC7EAF5}"/>
                  </a:ext>
                </a:extLst>
              </p:cNvPr>
              <p:cNvSpPr/>
              <p:nvPr userDrawn="1"/>
            </p:nvSpPr>
            <p:spPr>
              <a:xfrm>
                <a:off x="11282630" y="4476883"/>
                <a:ext cx="44947" cy="26132"/>
              </a:xfrm>
              <a:custGeom>
                <a:avLst/>
                <a:gdLst/>
                <a:ahLst/>
                <a:cxnLst/>
                <a:rect l="l" t="t" r="r" b="b"/>
                <a:pathLst>
                  <a:path w="54609" h="31750">
                    <a:moveTo>
                      <a:pt x="0" y="0"/>
                    </a:moveTo>
                    <a:lnTo>
                      <a:pt x="54584" y="31508"/>
                    </a:lnTo>
                  </a:path>
                </a:pathLst>
              </a:custGeom>
              <a:ln w="12700">
                <a:solidFill>
                  <a:schemeClr val="bg2"/>
                </a:solidFill>
              </a:ln>
            </p:spPr>
            <p:txBody>
              <a:bodyPr wrap="square" lIns="0" tIns="0" rIns="0" bIns="0" rtlCol="0"/>
              <a:lstStyle/>
              <a:p>
                <a:endParaRPr/>
              </a:p>
            </p:txBody>
          </p:sp>
          <p:sp>
            <p:nvSpPr>
              <p:cNvPr id="70" name="object 32">
                <a:extLst>
                  <a:ext uri="{FF2B5EF4-FFF2-40B4-BE49-F238E27FC236}">
                    <a16:creationId xmlns:a16="http://schemas.microsoft.com/office/drawing/2014/main" id="{7EB02F45-EFE9-4AB7-A4F5-76561BC40908}"/>
                  </a:ext>
                </a:extLst>
              </p:cNvPr>
              <p:cNvSpPr/>
              <p:nvPr userDrawn="1"/>
            </p:nvSpPr>
            <p:spPr>
              <a:xfrm>
                <a:off x="11067805" y="4243066"/>
                <a:ext cx="26132" cy="44947"/>
              </a:xfrm>
              <a:custGeom>
                <a:avLst/>
                <a:gdLst/>
                <a:ahLst/>
                <a:cxnLst/>
                <a:rect l="l" t="t" r="r" b="b"/>
                <a:pathLst>
                  <a:path w="31750" h="54610">
                    <a:moveTo>
                      <a:pt x="31508" y="54584"/>
                    </a:moveTo>
                    <a:lnTo>
                      <a:pt x="0" y="0"/>
                    </a:lnTo>
                  </a:path>
                </a:pathLst>
              </a:custGeom>
              <a:ln w="12700">
                <a:solidFill>
                  <a:schemeClr val="bg2"/>
                </a:solidFill>
              </a:ln>
            </p:spPr>
            <p:txBody>
              <a:bodyPr wrap="square" lIns="0" tIns="0" rIns="0" bIns="0" rtlCol="0"/>
              <a:lstStyle/>
              <a:p>
                <a:endParaRPr/>
              </a:p>
            </p:txBody>
          </p:sp>
          <p:sp>
            <p:nvSpPr>
              <p:cNvPr id="71" name="object 33">
                <a:extLst>
                  <a:ext uri="{FF2B5EF4-FFF2-40B4-BE49-F238E27FC236}">
                    <a16:creationId xmlns:a16="http://schemas.microsoft.com/office/drawing/2014/main" id="{87FE0918-87CE-4D00-B4AB-1DCE2B76CB01}"/>
                  </a:ext>
                </a:extLst>
              </p:cNvPr>
              <p:cNvSpPr/>
              <p:nvPr userDrawn="1"/>
            </p:nvSpPr>
            <p:spPr>
              <a:xfrm>
                <a:off x="11232017" y="4527495"/>
                <a:ext cx="26132" cy="44947"/>
              </a:xfrm>
              <a:custGeom>
                <a:avLst/>
                <a:gdLst/>
                <a:ahLst/>
                <a:cxnLst/>
                <a:rect l="l" t="t" r="r" b="b"/>
                <a:pathLst>
                  <a:path w="31750" h="54610">
                    <a:moveTo>
                      <a:pt x="0" y="0"/>
                    </a:moveTo>
                    <a:lnTo>
                      <a:pt x="31521" y="54584"/>
                    </a:lnTo>
                  </a:path>
                </a:pathLst>
              </a:custGeom>
              <a:ln w="12700">
                <a:solidFill>
                  <a:schemeClr val="bg2"/>
                </a:solidFill>
              </a:ln>
            </p:spPr>
            <p:txBody>
              <a:bodyPr wrap="square" lIns="0" tIns="0" rIns="0" bIns="0" rtlCol="0"/>
              <a:lstStyle/>
              <a:p>
                <a:endParaRPr/>
              </a:p>
            </p:txBody>
          </p:sp>
          <p:sp>
            <p:nvSpPr>
              <p:cNvPr id="72" name="object 34">
                <a:extLst>
                  <a:ext uri="{FF2B5EF4-FFF2-40B4-BE49-F238E27FC236}">
                    <a16:creationId xmlns:a16="http://schemas.microsoft.com/office/drawing/2014/main" id="{9188B3E8-9BBF-489F-9BF7-EC1BADAB53D5}"/>
                  </a:ext>
                </a:extLst>
              </p:cNvPr>
              <p:cNvSpPr/>
              <p:nvPr userDrawn="1"/>
            </p:nvSpPr>
            <p:spPr>
              <a:xfrm>
                <a:off x="11282630" y="4312662"/>
                <a:ext cx="44947" cy="26132"/>
              </a:xfrm>
              <a:custGeom>
                <a:avLst/>
                <a:gdLst/>
                <a:ahLst/>
                <a:cxnLst/>
                <a:rect l="l" t="t" r="r" b="b"/>
                <a:pathLst>
                  <a:path w="54609" h="31750">
                    <a:moveTo>
                      <a:pt x="0" y="31521"/>
                    </a:moveTo>
                    <a:lnTo>
                      <a:pt x="54584" y="0"/>
                    </a:lnTo>
                  </a:path>
                </a:pathLst>
              </a:custGeom>
              <a:ln w="12700">
                <a:solidFill>
                  <a:schemeClr val="bg2"/>
                </a:solidFill>
              </a:ln>
            </p:spPr>
            <p:txBody>
              <a:bodyPr wrap="square" lIns="0" tIns="0" rIns="0" bIns="0" rtlCol="0"/>
              <a:lstStyle/>
              <a:p>
                <a:endParaRPr/>
              </a:p>
            </p:txBody>
          </p:sp>
          <p:sp>
            <p:nvSpPr>
              <p:cNvPr id="73" name="object 35">
                <a:extLst>
                  <a:ext uri="{FF2B5EF4-FFF2-40B4-BE49-F238E27FC236}">
                    <a16:creationId xmlns:a16="http://schemas.microsoft.com/office/drawing/2014/main" id="{A9D26A0F-2993-48AD-B101-6E708585A23D}"/>
                  </a:ext>
                </a:extLst>
              </p:cNvPr>
              <p:cNvSpPr/>
              <p:nvPr userDrawn="1"/>
            </p:nvSpPr>
            <p:spPr>
              <a:xfrm>
                <a:off x="10998198" y="4476883"/>
                <a:ext cx="44947" cy="26132"/>
              </a:xfrm>
              <a:custGeom>
                <a:avLst/>
                <a:gdLst/>
                <a:ahLst/>
                <a:cxnLst/>
                <a:rect l="l" t="t" r="r" b="b"/>
                <a:pathLst>
                  <a:path w="54609" h="31750">
                    <a:moveTo>
                      <a:pt x="54584" y="0"/>
                    </a:moveTo>
                    <a:lnTo>
                      <a:pt x="0" y="31508"/>
                    </a:lnTo>
                  </a:path>
                </a:pathLst>
              </a:custGeom>
              <a:ln w="12700">
                <a:solidFill>
                  <a:schemeClr val="bg2"/>
                </a:solidFill>
              </a:ln>
            </p:spPr>
            <p:txBody>
              <a:bodyPr wrap="square" lIns="0" tIns="0" rIns="0" bIns="0" rtlCol="0"/>
              <a:lstStyle/>
              <a:p>
                <a:endParaRPr/>
              </a:p>
            </p:txBody>
          </p:sp>
          <p:sp>
            <p:nvSpPr>
              <p:cNvPr id="74" name="object 36">
                <a:extLst>
                  <a:ext uri="{FF2B5EF4-FFF2-40B4-BE49-F238E27FC236}">
                    <a16:creationId xmlns:a16="http://schemas.microsoft.com/office/drawing/2014/main" id="{7A6B297E-7170-439F-B843-8BA54EB8D844}"/>
                  </a:ext>
                </a:extLst>
              </p:cNvPr>
              <p:cNvSpPr/>
              <p:nvPr userDrawn="1"/>
            </p:nvSpPr>
            <p:spPr>
              <a:xfrm>
                <a:off x="11232017" y="4243066"/>
                <a:ext cx="26132" cy="44947"/>
              </a:xfrm>
              <a:custGeom>
                <a:avLst/>
                <a:gdLst/>
                <a:ahLst/>
                <a:cxnLst/>
                <a:rect l="l" t="t" r="r" b="b"/>
                <a:pathLst>
                  <a:path w="31750" h="54610">
                    <a:moveTo>
                      <a:pt x="0" y="54584"/>
                    </a:moveTo>
                    <a:lnTo>
                      <a:pt x="31521" y="0"/>
                    </a:lnTo>
                  </a:path>
                </a:pathLst>
              </a:custGeom>
              <a:ln w="12700">
                <a:solidFill>
                  <a:schemeClr val="bg2"/>
                </a:solidFill>
              </a:ln>
            </p:spPr>
            <p:txBody>
              <a:bodyPr wrap="square" lIns="0" tIns="0" rIns="0" bIns="0" rtlCol="0"/>
              <a:lstStyle/>
              <a:p>
                <a:endParaRPr/>
              </a:p>
            </p:txBody>
          </p:sp>
          <p:sp>
            <p:nvSpPr>
              <p:cNvPr id="75" name="object 37">
                <a:extLst>
                  <a:ext uri="{FF2B5EF4-FFF2-40B4-BE49-F238E27FC236}">
                    <a16:creationId xmlns:a16="http://schemas.microsoft.com/office/drawing/2014/main" id="{D4ACD853-CC6B-45BE-84EB-7599DC83D1E0}"/>
                  </a:ext>
                </a:extLst>
              </p:cNvPr>
              <p:cNvSpPr/>
              <p:nvPr userDrawn="1"/>
            </p:nvSpPr>
            <p:spPr>
              <a:xfrm>
                <a:off x="11067794" y="4527495"/>
                <a:ext cx="26132" cy="44947"/>
              </a:xfrm>
              <a:custGeom>
                <a:avLst/>
                <a:gdLst/>
                <a:ahLst/>
                <a:cxnLst/>
                <a:rect l="l" t="t" r="r" b="b"/>
                <a:pathLst>
                  <a:path w="31750" h="54610">
                    <a:moveTo>
                      <a:pt x="31521" y="0"/>
                    </a:moveTo>
                    <a:lnTo>
                      <a:pt x="0" y="54584"/>
                    </a:lnTo>
                  </a:path>
                </a:pathLst>
              </a:custGeom>
              <a:ln w="12700">
                <a:solidFill>
                  <a:schemeClr val="bg2"/>
                </a:solidFill>
              </a:ln>
            </p:spPr>
            <p:txBody>
              <a:bodyPr wrap="square" lIns="0" tIns="0" rIns="0" bIns="0" rtlCol="0"/>
              <a:lstStyle/>
              <a:p>
                <a:endParaRPr/>
              </a:p>
            </p:txBody>
          </p:sp>
          <p:sp>
            <p:nvSpPr>
              <p:cNvPr id="76" name="object 38">
                <a:extLst>
                  <a:ext uri="{FF2B5EF4-FFF2-40B4-BE49-F238E27FC236}">
                    <a16:creationId xmlns:a16="http://schemas.microsoft.com/office/drawing/2014/main" id="{77D7F7DB-A2CE-45C6-A4FB-24A6A1A5B469}"/>
                  </a:ext>
                </a:extLst>
              </p:cNvPr>
              <p:cNvSpPr/>
              <p:nvPr userDrawn="1"/>
            </p:nvSpPr>
            <p:spPr>
              <a:xfrm>
                <a:off x="11062674" y="4307544"/>
                <a:ext cx="200693" cy="200693"/>
              </a:xfrm>
              <a:custGeom>
                <a:avLst/>
                <a:gdLst/>
                <a:ahLst/>
                <a:cxnLst/>
                <a:rect l="l" t="t" r="r" b="b"/>
                <a:pathLst>
                  <a:path w="243840" h="243839">
                    <a:moveTo>
                      <a:pt x="0" y="121742"/>
                    </a:moveTo>
                    <a:lnTo>
                      <a:pt x="9567" y="169130"/>
                    </a:lnTo>
                    <a:lnTo>
                      <a:pt x="35658" y="207832"/>
                    </a:lnTo>
                    <a:lnTo>
                      <a:pt x="74355" y="233927"/>
                    </a:lnTo>
                    <a:lnTo>
                      <a:pt x="121742" y="243497"/>
                    </a:lnTo>
                    <a:lnTo>
                      <a:pt x="169136" y="233927"/>
                    </a:lnTo>
                    <a:lnTo>
                      <a:pt x="207837" y="207832"/>
                    </a:lnTo>
                    <a:lnTo>
                      <a:pt x="233929" y="169130"/>
                    </a:lnTo>
                    <a:lnTo>
                      <a:pt x="243497" y="121742"/>
                    </a:lnTo>
                    <a:lnTo>
                      <a:pt x="233929" y="74355"/>
                    </a:lnTo>
                    <a:lnTo>
                      <a:pt x="207837" y="35658"/>
                    </a:lnTo>
                    <a:lnTo>
                      <a:pt x="169136" y="9567"/>
                    </a:lnTo>
                    <a:lnTo>
                      <a:pt x="121742" y="0"/>
                    </a:lnTo>
                    <a:lnTo>
                      <a:pt x="74355" y="9567"/>
                    </a:lnTo>
                    <a:lnTo>
                      <a:pt x="35658" y="35658"/>
                    </a:lnTo>
                    <a:lnTo>
                      <a:pt x="9567" y="74355"/>
                    </a:lnTo>
                    <a:lnTo>
                      <a:pt x="0" y="121742"/>
                    </a:lnTo>
                    <a:close/>
                  </a:path>
                </a:pathLst>
              </a:custGeom>
              <a:ln w="12700">
                <a:solidFill>
                  <a:schemeClr val="bg2"/>
                </a:solidFill>
              </a:ln>
            </p:spPr>
            <p:txBody>
              <a:bodyPr wrap="square" lIns="0" tIns="0" rIns="0" bIns="0" rtlCol="0"/>
              <a:lstStyle/>
              <a:p>
                <a:endParaRPr/>
              </a:p>
            </p:txBody>
          </p:sp>
        </p:grpSp>
        <p:grpSp>
          <p:nvGrpSpPr>
            <p:cNvPr id="40" name="Gruppierung 14">
              <a:extLst>
                <a:ext uri="{FF2B5EF4-FFF2-40B4-BE49-F238E27FC236}">
                  <a16:creationId xmlns:a16="http://schemas.microsoft.com/office/drawing/2014/main" id="{2C0783D8-DFD0-462E-9F8D-49D333E6F941}"/>
                </a:ext>
              </a:extLst>
            </p:cNvPr>
            <p:cNvGrpSpPr/>
            <p:nvPr userDrawn="1"/>
          </p:nvGrpSpPr>
          <p:grpSpPr>
            <a:xfrm>
              <a:off x="0" y="6040373"/>
              <a:ext cx="9026886" cy="460270"/>
              <a:chOff x="0" y="6040373"/>
              <a:chExt cx="9026886" cy="460270"/>
            </a:xfrm>
          </p:grpSpPr>
          <p:sp>
            <p:nvSpPr>
              <p:cNvPr id="48" name="object 5">
                <a:extLst>
                  <a:ext uri="{FF2B5EF4-FFF2-40B4-BE49-F238E27FC236}">
                    <a16:creationId xmlns:a16="http://schemas.microsoft.com/office/drawing/2014/main" id="{CB0F9A52-532F-4130-A289-5E63CB495114}"/>
                  </a:ext>
                </a:extLst>
              </p:cNvPr>
              <p:cNvSpPr/>
              <p:nvPr/>
            </p:nvSpPr>
            <p:spPr>
              <a:xfrm>
                <a:off x="8337530" y="6363619"/>
                <a:ext cx="177165" cy="0"/>
              </a:xfrm>
              <a:custGeom>
                <a:avLst/>
                <a:gdLst/>
                <a:ahLst/>
                <a:cxnLst/>
                <a:rect l="l" t="t" r="r" b="b"/>
                <a:pathLst>
                  <a:path w="177165">
                    <a:moveTo>
                      <a:pt x="0" y="0"/>
                    </a:moveTo>
                    <a:lnTo>
                      <a:pt x="176809" y="0"/>
                    </a:lnTo>
                  </a:path>
                </a:pathLst>
              </a:custGeom>
              <a:ln w="12700">
                <a:solidFill>
                  <a:schemeClr val="bg2"/>
                </a:solidFill>
              </a:ln>
            </p:spPr>
            <p:txBody>
              <a:bodyPr wrap="square" lIns="0" tIns="0" rIns="0" bIns="0" rtlCol="0"/>
              <a:lstStyle/>
              <a:p>
                <a:endParaRPr/>
              </a:p>
            </p:txBody>
          </p:sp>
          <p:sp>
            <p:nvSpPr>
              <p:cNvPr id="49" name="object 7">
                <a:extLst>
                  <a:ext uri="{FF2B5EF4-FFF2-40B4-BE49-F238E27FC236}">
                    <a16:creationId xmlns:a16="http://schemas.microsoft.com/office/drawing/2014/main" id="{5DD8F509-9430-4836-9EB6-65F7AEEC06F4}"/>
                  </a:ext>
                </a:extLst>
              </p:cNvPr>
              <p:cNvSpPr/>
              <p:nvPr/>
            </p:nvSpPr>
            <p:spPr>
              <a:xfrm>
                <a:off x="0" y="6363619"/>
                <a:ext cx="8247380" cy="0"/>
              </a:xfrm>
              <a:custGeom>
                <a:avLst/>
                <a:gdLst/>
                <a:ahLst/>
                <a:cxnLst/>
                <a:rect l="l" t="t" r="r" b="b"/>
                <a:pathLst>
                  <a:path w="8247380">
                    <a:moveTo>
                      <a:pt x="0" y="0"/>
                    </a:moveTo>
                    <a:lnTo>
                      <a:pt x="8247143" y="0"/>
                    </a:lnTo>
                  </a:path>
                </a:pathLst>
              </a:custGeom>
              <a:ln w="12700">
                <a:solidFill>
                  <a:schemeClr val="bg2"/>
                </a:solidFill>
              </a:ln>
            </p:spPr>
            <p:txBody>
              <a:bodyPr wrap="square" lIns="0" tIns="0" rIns="0" bIns="0" rtlCol="0"/>
              <a:lstStyle/>
              <a:p>
                <a:endParaRPr/>
              </a:p>
            </p:txBody>
          </p:sp>
          <p:sp>
            <p:nvSpPr>
              <p:cNvPr id="50" name="object 8">
                <a:extLst>
                  <a:ext uri="{FF2B5EF4-FFF2-40B4-BE49-F238E27FC236}">
                    <a16:creationId xmlns:a16="http://schemas.microsoft.com/office/drawing/2014/main" id="{7821111F-2103-4581-9B97-39C3124D2A11}"/>
                  </a:ext>
                </a:extLst>
              </p:cNvPr>
              <p:cNvSpPr/>
              <p:nvPr/>
            </p:nvSpPr>
            <p:spPr>
              <a:xfrm>
                <a:off x="8730631"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51" name="object 9">
                <a:extLst>
                  <a:ext uri="{FF2B5EF4-FFF2-40B4-BE49-F238E27FC236}">
                    <a16:creationId xmlns:a16="http://schemas.microsoft.com/office/drawing/2014/main" id="{8B636DF9-4F0C-405D-AA15-A5A2F4887A26}"/>
                  </a:ext>
                </a:extLst>
              </p:cNvPr>
              <p:cNvSpPr/>
              <p:nvPr/>
            </p:nvSpPr>
            <p:spPr>
              <a:xfrm>
                <a:off x="8483920"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52" name="object 10">
                <a:extLst>
                  <a:ext uri="{FF2B5EF4-FFF2-40B4-BE49-F238E27FC236}">
                    <a16:creationId xmlns:a16="http://schemas.microsoft.com/office/drawing/2014/main" id="{FAD43923-F240-4534-9EBA-923E61BE7852}"/>
                  </a:ext>
                </a:extLst>
              </p:cNvPr>
              <p:cNvSpPr/>
              <p:nvPr/>
            </p:nvSpPr>
            <p:spPr>
              <a:xfrm>
                <a:off x="8730631"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53" name="object 11">
                <a:extLst>
                  <a:ext uri="{FF2B5EF4-FFF2-40B4-BE49-F238E27FC236}">
                    <a16:creationId xmlns:a16="http://schemas.microsoft.com/office/drawing/2014/main" id="{C7A2CA51-B24F-4E22-9F7F-109BE16B2425}"/>
                  </a:ext>
                </a:extLst>
              </p:cNvPr>
              <p:cNvSpPr/>
              <p:nvPr/>
            </p:nvSpPr>
            <p:spPr>
              <a:xfrm>
                <a:off x="8483920"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54" name="object 12">
                <a:extLst>
                  <a:ext uri="{FF2B5EF4-FFF2-40B4-BE49-F238E27FC236}">
                    <a16:creationId xmlns:a16="http://schemas.microsoft.com/office/drawing/2014/main" id="{32BB6F28-A513-4EE6-876B-E3202A1AB554}"/>
                  </a:ext>
                </a:extLst>
              </p:cNvPr>
              <p:cNvSpPr/>
              <p:nvPr/>
            </p:nvSpPr>
            <p:spPr>
              <a:xfrm>
                <a:off x="8566326" y="6060876"/>
                <a:ext cx="81915" cy="252729"/>
              </a:xfrm>
              <a:custGeom>
                <a:avLst/>
                <a:gdLst/>
                <a:ahLst/>
                <a:cxnLst/>
                <a:rect l="l" t="t" r="r" b="b"/>
                <a:pathLst>
                  <a:path w="81915" h="252729">
                    <a:moveTo>
                      <a:pt x="0" y="210934"/>
                    </a:moveTo>
                    <a:lnTo>
                      <a:pt x="40944" y="252349"/>
                    </a:lnTo>
                    <a:lnTo>
                      <a:pt x="81902" y="210934"/>
                    </a:lnTo>
                    <a:lnTo>
                      <a:pt x="81902" y="0"/>
                    </a:lnTo>
                    <a:lnTo>
                      <a:pt x="0" y="0"/>
                    </a:lnTo>
                    <a:lnTo>
                      <a:pt x="0" y="210934"/>
                    </a:lnTo>
                    <a:close/>
                  </a:path>
                </a:pathLst>
              </a:custGeom>
              <a:ln w="12699">
                <a:solidFill>
                  <a:schemeClr val="bg2"/>
                </a:solidFill>
              </a:ln>
            </p:spPr>
            <p:txBody>
              <a:bodyPr wrap="square" lIns="0" tIns="0" rIns="0" bIns="0" rtlCol="0"/>
              <a:lstStyle/>
              <a:p>
                <a:endParaRPr/>
              </a:p>
            </p:txBody>
          </p:sp>
          <p:sp>
            <p:nvSpPr>
              <p:cNvPr id="55" name="object 13">
                <a:extLst>
                  <a:ext uri="{FF2B5EF4-FFF2-40B4-BE49-F238E27FC236}">
                    <a16:creationId xmlns:a16="http://schemas.microsoft.com/office/drawing/2014/main" id="{01643410-59D1-4ABD-AAFD-2B651A292910}"/>
                  </a:ext>
                </a:extLst>
              </p:cNvPr>
              <p:cNvSpPr/>
              <p:nvPr/>
            </p:nvSpPr>
            <p:spPr>
              <a:xfrm>
                <a:off x="8483920" y="6167417"/>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56" name="object 14">
                <a:extLst>
                  <a:ext uri="{FF2B5EF4-FFF2-40B4-BE49-F238E27FC236}">
                    <a16:creationId xmlns:a16="http://schemas.microsoft.com/office/drawing/2014/main" id="{C96032E9-42D7-4BE8-86E5-D5527630927E}"/>
                  </a:ext>
                </a:extLst>
              </p:cNvPr>
              <p:cNvSpPr/>
              <p:nvPr/>
            </p:nvSpPr>
            <p:spPr>
              <a:xfrm>
                <a:off x="8483920" y="6060874"/>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57" name="object 15">
                <a:extLst>
                  <a:ext uri="{FF2B5EF4-FFF2-40B4-BE49-F238E27FC236}">
                    <a16:creationId xmlns:a16="http://schemas.microsoft.com/office/drawing/2014/main" id="{79444300-870C-4A32-A2E6-88B0361F63FE}"/>
                  </a:ext>
                </a:extLst>
              </p:cNvPr>
              <p:cNvSpPr/>
              <p:nvPr/>
            </p:nvSpPr>
            <p:spPr>
              <a:xfrm>
                <a:off x="8607279" y="6271811"/>
                <a:ext cx="91440" cy="92710"/>
              </a:xfrm>
              <a:custGeom>
                <a:avLst/>
                <a:gdLst/>
                <a:ahLst/>
                <a:cxnLst/>
                <a:rect l="l" t="t" r="r" b="b"/>
                <a:pathLst>
                  <a:path w="91440" h="92710">
                    <a:moveTo>
                      <a:pt x="40944" y="0"/>
                    </a:moveTo>
                    <a:lnTo>
                      <a:pt x="90995" y="92151"/>
                    </a:lnTo>
                    <a:lnTo>
                      <a:pt x="0" y="41414"/>
                    </a:lnTo>
                  </a:path>
                </a:pathLst>
              </a:custGeom>
              <a:ln w="12700">
                <a:solidFill>
                  <a:schemeClr val="bg2"/>
                </a:solidFill>
              </a:ln>
            </p:spPr>
            <p:txBody>
              <a:bodyPr wrap="square" lIns="0" tIns="0" rIns="0" bIns="0" rtlCol="0"/>
              <a:lstStyle/>
              <a:p>
                <a:endParaRPr/>
              </a:p>
            </p:txBody>
          </p:sp>
          <p:sp>
            <p:nvSpPr>
              <p:cNvPr id="58" name="object 16">
                <a:extLst>
                  <a:ext uri="{FF2B5EF4-FFF2-40B4-BE49-F238E27FC236}">
                    <a16:creationId xmlns:a16="http://schemas.microsoft.com/office/drawing/2014/main" id="{208D1ECC-E334-491B-B095-B19F282AE3B3}"/>
                  </a:ext>
                </a:extLst>
              </p:cNvPr>
              <p:cNvSpPr/>
              <p:nvPr/>
            </p:nvSpPr>
            <p:spPr>
              <a:xfrm>
                <a:off x="8516275" y="6271811"/>
                <a:ext cx="91440" cy="92710"/>
              </a:xfrm>
              <a:custGeom>
                <a:avLst/>
                <a:gdLst/>
                <a:ahLst/>
                <a:cxnLst/>
                <a:rect l="l" t="t" r="r" b="b"/>
                <a:pathLst>
                  <a:path w="91440" h="92710">
                    <a:moveTo>
                      <a:pt x="50050" y="0"/>
                    </a:moveTo>
                    <a:lnTo>
                      <a:pt x="0" y="92151"/>
                    </a:lnTo>
                    <a:lnTo>
                      <a:pt x="90995" y="41414"/>
                    </a:lnTo>
                  </a:path>
                </a:pathLst>
              </a:custGeom>
              <a:ln w="12700">
                <a:solidFill>
                  <a:schemeClr val="bg2"/>
                </a:solidFill>
              </a:ln>
            </p:spPr>
            <p:txBody>
              <a:bodyPr wrap="square" lIns="0" tIns="0" rIns="0" bIns="0" rtlCol="0"/>
              <a:lstStyle/>
              <a:p>
                <a:endParaRPr/>
              </a:p>
            </p:txBody>
          </p:sp>
          <p:sp>
            <p:nvSpPr>
              <p:cNvPr id="59" name="object 17">
                <a:extLst>
                  <a:ext uri="{FF2B5EF4-FFF2-40B4-BE49-F238E27FC236}">
                    <a16:creationId xmlns:a16="http://schemas.microsoft.com/office/drawing/2014/main" id="{620FFE82-4576-4FDF-9424-39AEB91DB04A}"/>
                  </a:ext>
                </a:extLst>
              </p:cNvPr>
              <p:cNvSpPr/>
              <p:nvPr/>
            </p:nvSpPr>
            <p:spPr>
              <a:xfrm>
                <a:off x="8164555" y="6184883"/>
                <a:ext cx="254000" cy="30480"/>
              </a:xfrm>
              <a:custGeom>
                <a:avLst/>
                <a:gdLst/>
                <a:ahLst/>
                <a:cxnLst/>
                <a:rect l="l" t="t" r="r" b="b"/>
                <a:pathLst>
                  <a:path w="254000" h="30479">
                    <a:moveTo>
                      <a:pt x="104901" y="0"/>
                    </a:moveTo>
                    <a:lnTo>
                      <a:pt x="149136" y="0"/>
                    </a:lnTo>
                    <a:lnTo>
                      <a:pt x="253847" y="30187"/>
                    </a:lnTo>
                    <a:lnTo>
                      <a:pt x="153835" y="30187"/>
                    </a:lnTo>
                    <a:lnTo>
                      <a:pt x="0" y="30187"/>
                    </a:lnTo>
                    <a:lnTo>
                      <a:pt x="104901" y="0"/>
                    </a:lnTo>
                    <a:close/>
                  </a:path>
                </a:pathLst>
              </a:custGeom>
              <a:ln w="12700">
                <a:solidFill>
                  <a:schemeClr val="bg2"/>
                </a:solidFill>
              </a:ln>
            </p:spPr>
            <p:txBody>
              <a:bodyPr wrap="square" lIns="0" tIns="0" rIns="0" bIns="0" rtlCol="0"/>
              <a:lstStyle/>
              <a:p>
                <a:endParaRPr/>
              </a:p>
            </p:txBody>
          </p:sp>
          <p:sp>
            <p:nvSpPr>
              <p:cNvPr id="60" name="object 18">
                <a:extLst>
                  <a:ext uri="{FF2B5EF4-FFF2-40B4-BE49-F238E27FC236}">
                    <a16:creationId xmlns:a16="http://schemas.microsoft.com/office/drawing/2014/main" id="{47F00932-EB59-4EF9-A251-56B1EAA952AE}"/>
                  </a:ext>
                </a:extLst>
              </p:cNvPr>
              <p:cNvSpPr/>
              <p:nvPr/>
            </p:nvSpPr>
            <p:spPr>
              <a:xfrm>
                <a:off x="8220333" y="6111744"/>
                <a:ext cx="142875" cy="28575"/>
              </a:xfrm>
              <a:custGeom>
                <a:avLst/>
                <a:gdLst/>
                <a:ahLst/>
                <a:cxnLst/>
                <a:rect l="l" t="t" r="r" b="b"/>
                <a:pathLst>
                  <a:path w="142875" h="28575">
                    <a:moveTo>
                      <a:pt x="60299" y="0"/>
                    </a:moveTo>
                    <a:lnTo>
                      <a:pt x="82232" y="0"/>
                    </a:lnTo>
                    <a:lnTo>
                      <a:pt x="142328" y="28384"/>
                    </a:lnTo>
                    <a:lnTo>
                      <a:pt x="0" y="28384"/>
                    </a:lnTo>
                    <a:lnTo>
                      <a:pt x="60299" y="0"/>
                    </a:lnTo>
                    <a:close/>
                  </a:path>
                </a:pathLst>
              </a:custGeom>
              <a:ln w="12700">
                <a:solidFill>
                  <a:schemeClr val="bg2"/>
                </a:solidFill>
              </a:ln>
            </p:spPr>
            <p:txBody>
              <a:bodyPr wrap="square" lIns="0" tIns="0" rIns="0" bIns="0" rtlCol="0"/>
              <a:lstStyle/>
              <a:p>
                <a:endParaRPr/>
              </a:p>
            </p:txBody>
          </p:sp>
          <p:sp>
            <p:nvSpPr>
              <p:cNvPr id="61" name="object 19">
                <a:extLst>
                  <a:ext uri="{FF2B5EF4-FFF2-40B4-BE49-F238E27FC236}">
                    <a16:creationId xmlns:a16="http://schemas.microsoft.com/office/drawing/2014/main" id="{3B8B9FF6-70F4-451C-9604-5E4AE63E52C6}"/>
                  </a:ext>
                </a:extLst>
              </p:cNvPr>
              <p:cNvSpPr/>
              <p:nvPr/>
            </p:nvSpPr>
            <p:spPr>
              <a:xfrm>
                <a:off x="8246643" y="6040373"/>
                <a:ext cx="90170" cy="322580"/>
              </a:xfrm>
              <a:custGeom>
                <a:avLst/>
                <a:gdLst/>
                <a:ahLst/>
                <a:cxnLst/>
                <a:rect l="l" t="t" r="r" b="b"/>
                <a:pathLst>
                  <a:path w="90170" h="322579">
                    <a:moveTo>
                      <a:pt x="69138" y="174269"/>
                    </a:moveTo>
                    <a:lnTo>
                      <a:pt x="0" y="322478"/>
                    </a:lnTo>
                    <a:lnTo>
                      <a:pt x="44996" y="0"/>
                    </a:lnTo>
                    <a:lnTo>
                      <a:pt x="89674" y="322478"/>
                    </a:lnTo>
                    <a:lnTo>
                      <a:pt x="20612" y="174701"/>
                    </a:lnTo>
                  </a:path>
                </a:pathLst>
              </a:custGeom>
              <a:ln w="12700">
                <a:solidFill>
                  <a:schemeClr val="bg2"/>
                </a:solidFill>
              </a:ln>
            </p:spPr>
            <p:txBody>
              <a:bodyPr wrap="square" lIns="0" tIns="0" rIns="0" bIns="0" rtlCol="0"/>
              <a:lstStyle/>
              <a:p>
                <a:endParaRPr/>
              </a:p>
            </p:txBody>
          </p:sp>
          <p:sp>
            <p:nvSpPr>
              <p:cNvPr id="62" name="object 20">
                <a:extLst>
                  <a:ext uri="{FF2B5EF4-FFF2-40B4-BE49-F238E27FC236}">
                    <a16:creationId xmlns:a16="http://schemas.microsoft.com/office/drawing/2014/main" id="{B0B70CA7-E014-4A3B-A4D7-D45FD9ED5F36}"/>
                  </a:ext>
                </a:extLst>
              </p:cNvPr>
              <p:cNvSpPr/>
              <p:nvPr/>
            </p:nvSpPr>
            <p:spPr>
              <a:xfrm>
                <a:off x="8497296" y="6364602"/>
                <a:ext cx="529590" cy="111125"/>
              </a:xfrm>
              <a:custGeom>
                <a:avLst/>
                <a:gdLst/>
                <a:ahLst/>
                <a:cxnLst/>
                <a:rect l="l" t="t" r="r" b="b"/>
                <a:pathLst>
                  <a:path w="529590" h="111125">
                    <a:moveTo>
                      <a:pt x="201396" y="76"/>
                    </a:moveTo>
                    <a:lnTo>
                      <a:pt x="473849" y="0"/>
                    </a:lnTo>
                    <a:lnTo>
                      <a:pt x="512968" y="16202"/>
                    </a:lnTo>
                    <a:lnTo>
                      <a:pt x="529170" y="55321"/>
                    </a:lnTo>
                    <a:lnTo>
                      <a:pt x="524823" y="76856"/>
                    </a:lnTo>
                    <a:lnTo>
                      <a:pt x="512968" y="94440"/>
                    </a:lnTo>
                    <a:lnTo>
                      <a:pt x="495384" y="106295"/>
                    </a:lnTo>
                    <a:lnTo>
                      <a:pt x="473849" y="110642"/>
                    </a:lnTo>
                    <a:lnTo>
                      <a:pt x="0" y="110642"/>
                    </a:lnTo>
                  </a:path>
                </a:pathLst>
              </a:custGeom>
              <a:ln w="12699">
                <a:solidFill>
                  <a:schemeClr val="bg2"/>
                </a:solidFill>
              </a:ln>
            </p:spPr>
            <p:txBody>
              <a:bodyPr wrap="square" lIns="0" tIns="0" rIns="0" bIns="0" rtlCol="0"/>
              <a:lstStyle/>
              <a:p>
                <a:endParaRPr/>
              </a:p>
            </p:txBody>
          </p:sp>
          <p:sp>
            <p:nvSpPr>
              <p:cNvPr id="63" name="object 21">
                <a:extLst>
                  <a:ext uri="{FF2B5EF4-FFF2-40B4-BE49-F238E27FC236}">
                    <a16:creationId xmlns:a16="http://schemas.microsoft.com/office/drawing/2014/main" id="{B351977E-CC05-43C2-84C0-2A32C28269D4}"/>
                  </a:ext>
                </a:extLst>
              </p:cNvPr>
              <p:cNvSpPr/>
              <p:nvPr/>
            </p:nvSpPr>
            <p:spPr>
              <a:xfrm>
                <a:off x="8446492" y="6449843"/>
                <a:ext cx="50800" cy="50800"/>
              </a:xfrm>
              <a:custGeom>
                <a:avLst/>
                <a:gdLst/>
                <a:ahLst/>
                <a:cxnLst/>
                <a:rect l="l" t="t" r="r" b="b"/>
                <a:pathLst>
                  <a:path w="50800" h="50800">
                    <a:moveTo>
                      <a:pt x="25400" y="0"/>
                    </a:moveTo>
                    <a:lnTo>
                      <a:pt x="15510" y="1995"/>
                    </a:lnTo>
                    <a:lnTo>
                      <a:pt x="7437" y="7437"/>
                    </a:lnTo>
                    <a:lnTo>
                      <a:pt x="1995" y="15510"/>
                    </a:lnTo>
                    <a:lnTo>
                      <a:pt x="0" y="25400"/>
                    </a:lnTo>
                    <a:lnTo>
                      <a:pt x="1995" y="35289"/>
                    </a:lnTo>
                    <a:lnTo>
                      <a:pt x="7437" y="43362"/>
                    </a:lnTo>
                    <a:lnTo>
                      <a:pt x="15510" y="48804"/>
                    </a:lnTo>
                    <a:lnTo>
                      <a:pt x="25400" y="50800"/>
                    </a:lnTo>
                    <a:lnTo>
                      <a:pt x="35289" y="48804"/>
                    </a:lnTo>
                    <a:lnTo>
                      <a:pt x="43362" y="43362"/>
                    </a:lnTo>
                    <a:lnTo>
                      <a:pt x="48804" y="35289"/>
                    </a:lnTo>
                    <a:lnTo>
                      <a:pt x="50800" y="25400"/>
                    </a:lnTo>
                    <a:lnTo>
                      <a:pt x="48804" y="15510"/>
                    </a:lnTo>
                    <a:lnTo>
                      <a:pt x="43362" y="7437"/>
                    </a:lnTo>
                    <a:lnTo>
                      <a:pt x="35289" y="1995"/>
                    </a:lnTo>
                    <a:lnTo>
                      <a:pt x="25400" y="0"/>
                    </a:lnTo>
                    <a:close/>
                  </a:path>
                </a:pathLst>
              </a:custGeom>
              <a:ln w="12700">
                <a:solidFill>
                  <a:schemeClr val="bg2"/>
                </a:solidFill>
              </a:ln>
            </p:spPr>
            <p:txBody>
              <a:bodyPr wrap="square" lIns="0" tIns="0" rIns="0" bIns="0" rtlCol="0"/>
              <a:lstStyle/>
              <a:p>
                <a:endParaRPr/>
              </a:p>
            </p:txBody>
          </p:sp>
        </p:grpSp>
        <p:grpSp>
          <p:nvGrpSpPr>
            <p:cNvPr id="41" name="Group 40">
              <a:extLst>
                <a:ext uri="{FF2B5EF4-FFF2-40B4-BE49-F238E27FC236}">
                  <a16:creationId xmlns:a16="http://schemas.microsoft.com/office/drawing/2014/main" id="{17C637AD-C9D6-48CE-8ED7-6A3A9E41B984}"/>
                </a:ext>
              </a:extLst>
            </p:cNvPr>
            <p:cNvGrpSpPr/>
            <p:nvPr userDrawn="1"/>
          </p:nvGrpSpPr>
          <p:grpSpPr>
            <a:xfrm>
              <a:off x="7807856" y="6136761"/>
              <a:ext cx="194402" cy="233814"/>
              <a:chOff x="6199448" y="5757477"/>
              <a:chExt cx="445167" cy="535418"/>
            </a:xfrm>
          </p:grpSpPr>
          <p:sp>
            <p:nvSpPr>
              <p:cNvPr id="42" name="object 9">
                <a:extLst>
                  <a:ext uri="{FF2B5EF4-FFF2-40B4-BE49-F238E27FC236}">
                    <a16:creationId xmlns:a16="http://schemas.microsoft.com/office/drawing/2014/main" id="{EE738D41-8509-4C38-AF90-3E6FA81CB7FE}"/>
                  </a:ext>
                </a:extLst>
              </p:cNvPr>
              <p:cNvSpPr/>
              <p:nvPr userDrawn="1"/>
            </p:nvSpPr>
            <p:spPr>
              <a:xfrm>
                <a:off x="6302730" y="6005107"/>
                <a:ext cx="59055" cy="54610"/>
              </a:xfrm>
              <a:custGeom>
                <a:avLst/>
                <a:gdLst/>
                <a:ahLst/>
                <a:cxnLst/>
                <a:rect l="l" t="t" r="r" b="b"/>
                <a:pathLst>
                  <a:path w="59054" h="54610">
                    <a:moveTo>
                      <a:pt x="58623" y="0"/>
                    </a:moveTo>
                    <a:lnTo>
                      <a:pt x="0" y="54051"/>
                    </a:lnTo>
                  </a:path>
                </a:pathLst>
              </a:custGeom>
              <a:ln w="12700">
                <a:solidFill>
                  <a:schemeClr val="bg2"/>
                </a:solidFill>
              </a:ln>
            </p:spPr>
            <p:txBody>
              <a:bodyPr wrap="square" lIns="0" tIns="0" rIns="0" bIns="0" rtlCol="0"/>
              <a:lstStyle/>
              <a:p>
                <a:endParaRPr/>
              </a:p>
            </p:txBody>
          </p:sp>
          <p:sp>
            <p:nvSpPr>
              <p:cNvPr id="43" name="object 10">
                <a:extLst>
                  <a:ext uri="{FF2B5EF4-FFF2-40B4-BE49-F238E27FC236}">
                    <a16:creationId xmlns:a16="http://schemas.microsoft.com/office/drawing/2014/main" id="{A6CEF314-6179-4764-8BD2-4015527BEF72}"/>
                  </a:ext>
                </a:extLst>
              </p:cNvPr>
              <p:cNvSpPr/>
              <p:nvPr userDrawn="1"/>
            </p:nvSpPr>
            <p:spPr>
              <a:xfrm>
                <a:off x="6571235" y="6064810"/>
                <a:ext cx="40005" cy="34290"/>
              </a:xfrm>
              <a:custGeom>
                <a:avLst/>
                <a:gdLst/>
                <a:ahLst/>
                <a:cxnLst/>
                <a:rect l="l" t="t" r="r" b="b"/>
                <a:pathLst>
                  <a:path w="40004" h="34289">
                    <a:moveTo>
                      <a:pt x="39458" y="0"/>
                    </a:moveTo>
                    <a:lnTo>
                      <a:pt x="0" y="33693"/>
                    </a:lnTo>
                  </a:path>
                </a:pathLst>
              </a:custGeom>
              <a:ln w="12699">
                <a:solidFill>
                  <a:schemeClr val="bg2"/>
                </a:solidFill>
              </a:ln>
            </p:spPr>
            <p:txBody>
              <a:bodyPr wrap="square" lIns="0" tIns="0" rIns="0" bIns="0" rtlCol="0"/>
              <a:lstStyle/>
              <a:p>
                <a:endParaRPr/>
              </a:p>
            </p:txBody>
          </p:sp>
          <p:sp>
            <p:nvSpPr>
              <p:cNvPr id="44" name="object 11">
                <a:extLst>
                  <a:ext uri="{FF2B5EF4-FFF2-40B4-BE49-F238E27FC236}">
                    <a16:creationId xmlns:a16="http://schemas.microsoft.com/office/drawing/2014/main" id="{847C9FA1-54EC-4378-BCFC-4AAE6F5D7024}"/>
                  </a:ext>
                </a:extLst>
              </p:cNvPr>
              <p:cNvSpPr/>
              <p:nvPr userDrawn="1"/>
            </p:nvSpPr>
            <p:spPr>
              <a:xfrm>
                <a:off x="6199448" y="5757477"/>
                <a:ext cx="238760" cy="361315"/>
              </a:xfrm>
              <a:custGeom>
                <a:avLst/>
                <a:gdLst/>
                <a:ahLst/>
                <a:cxnLst/>
                <a:rect l="l" t="t" r="r" b="b"/>
                <a:pathLst>
                  <a:path w="238760" h="361314">
                    <a:moveTo>
                      <a:pt x="152401" y="0"/>
                    </a:moveTo>
                    <a:lnTo>
                      <a:pt x="206338" y="59621"/>
                    </a:lnTo>
                    <a:lnTo>
                      <a:pt x="232472" y="101546"/>
                    </a:lnTo>
                    <a:lnTo>
                      <a:pt x="238141" y="145618"/>
                    </a:lnTo>
                    <a:lnTo>
                      <a:pt x="230684" y="211683"/>
                    </a:lnTo>
                    <a:lnTo>
                      <a:pt x="202566" y="282121"/>
                    </a:lnTo>
                    <a:lnTo>
                      <a:pt x="155738" y="328306"/>
                    </a:lnTo>
                    <a:lnTo>
                      <a:pt x="111801" y="353570"/>
                    </a:lnTo>
                    <a:lnTo>
                      <a:pt x="92356" y="361251"/>
                    </a:lnTo>
                    <a:lnTo>
                      <a:pt x="35759" y="331100"/>
                    </a:lnTo>
                    <a:lnTo>
                      <a:pt x="7724" y="306879"/>
                    </a:lnTo>
                    <a:lnTo>
                      <a:pt x="0" y="275833"/>
                    </a:lnTo>
                    <a:lnTo>
                      <a:pt x="4332" y="225209"/>
                    </a:lnTo>
                    <a:lnTo>
                      <a:pt x="18791" y="180068"/>
                    </a:lnTo>
                    <a:lnTo>
                      <a:pt x="47033" y="134047"/>
                    </a:lnTo>
                    <a:lnTo>
                      <a:pt x="81786" y="90087"/>
                    </a:lnTo>
                    <a:lnTo>
                      <a:pt x="115780" y="51131"/>
                    </a:lnTo>
                    <a:lnTo>
                      <a:pt x="141742" y="20121"/>
                    </a:lnTo>
                    <a:lnTo>
                      <a:pt x="152401" y="0"/>
                    </a:lnTo>
                    <a:close/>
                  </a:path>
                </a:pathLst>
              </a:custGeom>
              <a:ln w="12700">
                <a:solidFill>
                  <a:schemeClr val="bg2"/>
                </a:solidFill>
              </a:ln>
            </p:spPr>
            <p:txBody>
              <a:bodyPr wrap="square" lIns="0" tIns="0" rIns="0" bIns="0" rtlCol="0"/>
              <a:lstStyle/>
              <a:p>
                <a:endParaRPr/>
              </a:p>
            </p:txBody>
          </p:sp>
          <p:sp>
            <p:nvSpPr>
              <p:cNvPr id="45" name="object 12">
                <a:extLst>
                  <a:ext uri="{FF2B5EF4-FFF2-40B4-BE49-F238E27FC236}">
                    <a16:creationId xmlns:a16="http://schemas.microsoft.com/office/drawing/2014/main" id="{929D8ED8-D3B1-42D9-9D4A-F682F2213ED9}"/>
                  </a:ext>
                </a:extLst>
              </p:cNvPr>
              <p:cNvSpPr/>
              <p:nvPr userDrawn="1"/>
            </p:nvSpPr>
            <p:spPr>
              <a:xfrm>
                <a:off x="6291800" y="5958885"/>
                <a:ext cx="29845" cy="334010"/>
              </a:xfrm>
              <a:custGeom>
                <a:avLst/>
                <a:gdLst/>
                <a:ahLst/>
                <a:cxnLst/>
                <a:rect l="l" t="t" r="r" b="b"/>
                <a:pathLst>
                  <a:path w="29845" h="334010">
                    <a:moveTo>
                      <a:pt x="0" y="333590"/>
                    </a:moveTo>
                    <a:lnTo>
                      <a:pt x="0" y="159842"/>
                    </a:lnTo>
                    <a:lnTo>
                      <a:pt x="29337" y="0"/>
                    </a:lnTo>
                  </a:path>
                </a:pathLst>
              </a:custGeom>
              <a:ln w="12700">
                <a:solidFill>
                  <a:schemeClr val="bg2"/>
                </a:solidFill>
              </a:ln>
            </p:spPr>
            <p:txBody>
              <a:bodyPr wrap="square" lIns="0" tIns="0" rIns="0" bIns="0" rtlCol="0"/>
              <a:lstStyle/>
              <a:p>
                <a:endParaRPr/>
              </a:p>
            </p:txBody>
          </p:sp>
          <p:sp>
            <p:nvSpPr>
              <p:cNvPr id="46" name="object 13">
                <a:extLst>
                  <a:ext uri="{FF2B5EF4-FFF2-40B4-BE49-F238E27FC236}">
                    <a16:creationId xmlns:a16="http://schemas.microsoft.com/office/drawing/2014/main" id="{02B43D3B-A588-4D27-AE6D-35E7AEB07895}"/>
                  </a:ext>
                </a:extLst>
              </p:cNvPr>
              <p:cNvSpPr/>
              <p:nvPr userDrawn="1"/>
            </p:nvSpPr>
            <p:spPr>
              <a:xfrm>
                <a:off x="6509995" y="5895716"/>
                <a:ext cx="134620" cy="271780"/>
              </a:xfrm>
              <a:custGeom>
                <a:avLst/>
                <a:gdLst/>
                <a:ahLst/>
                <a:cxnLst/>
                <a:rect l="l" t="t" r="r" b="b"/>
                <a:pathLst>
                  <a:path w="134620" h="271779">
                    <a:moveTo>
                      <a:pt x="49169" y="271462"/>
                    </a:moveTo>
                    <a:lnTo>
                      <a:pt x="98809" y="244084"/>
                    </a:lnTo>
                    <a:lnTo>
                      <a:pt x="124248" y="222365"/>
                    </a:lnTo>
                    <a:lnTo>
                      <a:pt x="133490" y="194972"/>
                    </a:lnTo>
                    <a:lnTo>
                      <a:pt x="134539" y="150571"/>
                    </a:lnTo>
                    <a:lnTo>
                      <a:pt x="129037" y="97915"/>
                    </a:lnTo>
                    <a:lnTo>
                      <a:pt x="116451" y="54292"/>
                    </a:lnTo>
                    <a:lnTo>
                      <a:pt x="101517" y="21165"/>
                    </a:lnTo>
                    <a:lnTo>
                      <a:pt x="88971" y="0"/>
                    </a:lnTo>
                    <a:lnTo>
                      <a:pt x="67453" y="33982"/>
                    </a:lnTo>
                    <a:lnTo>
                      <a:pt x="53324" y="55833"/>
                    </a:lnTo>
                    <a:lnTo>
                      <a:pt x="40320" y="75025"/>
                    </a:lnTo>
                    <a:lnTo>
                      <a:pt x="22182" y="101028"/>
                    </a:lnTo>
                    <a:lnTo>
                      <a:pt x="3912" y="139522"/>
                    </a:lnTo>
                    <a:lnTo>
                      <a:pt x="0" y="183183"/>
                    </a:lnTo>
                    <a:lnTo>
                      <a:pt x="13925" y="228374"/>
                    </a:lnTo>
                    <a:lnTo>
                      <a:pt x="49169" y="271462"/>
                    </a:lnTo>
                    <a:close/>
                  </a:path>
                </a:pathLst>
              </a:custGeom>
              <a:ln w="12700">
                <a:solidFill>
                  <a:schemeClr val="bg2"/>
                </a:solidFill>
              </a:ln>
            </p:spPr>
            <p:txBody>
              <a:bodyPr wrap="square" lIns="0" tIns="0" rIns="0" bIns="0" rtlCol="0"/>
              <a:lstStyle/>
              <a:p>
                <a:endParaRPr/>
              </a:p>
            </p:txBody>
          </p:sp>
          <p:sp>
            <p:nvSpPr>
              <p:cNvPr id="47" name="object 14">
                <a:extLst>
                  <a:ext uri="{FF2B5EF4-FFF2-40B4-BE49-F238E27FC236}">
                    <a16:creationId xmlns:a16="http://schemas.microsoft.com/office/drawing/2014/main" id="{6405CB4A-C947-4DCC-A311-62920128EF8A}"/>
                  </a:ext>
                </a:extLst>
              </p:cNvPr>
              <p:cNvSpPr/>
              <p:nvPr userDrawn="1"/>
            </p:nvSpPr>
            <p:spPr>
              <a:xfrm>
                <a:off x="6559165" y="6040621"/>
                <a:ext cx="22860" cy="252095"/>
              </a:xfrm>
              <a:custGeom>
                <a:avLst/>
                <a:gdLst/>
                <a:ahLst/>
                <a:cxnLst/>
                <a:rect l="l" t="t" r="r" b="b"/>
                <a:pathLst>
                  <a:path w="22859" h="252095">
                    <a:moveTo>
                      <a:pt x="22250" y="0"/>
                    </a:moveTo>
                    <a:lnTo>
                      <a:pt x="0" y="126555"/>
                    </a:lnTo>
                    <a:lnTo>
                      <a:pt x="0" y="251853"/>
                    </a:lnTo>
                  </a:path>
                </a:pathLst>
              </a:custGeom>
              <a:ln w="12700">
                <a:solidFill>
                  <a:schemeClr val="bg2"/>
                </a:solidFill>
              </a:ln>
            </p:spPr>
            <p:txBody>
              <a:bodyPr wrap="square" lIns="0" tIns="0" rIns="0" bIns="0" rtlCol="0"/>
              <a:lstStyle/>
              <a:p>
                <a:endParaRPr/>
              </a:p>
            </p:txBody>
          </p:sp>
        </p:grpSp>
      </p:grpSp>
    </p:spTree>
    <p:extLst>
      <p:ext uri="{BB962C8B-B14F-4D97-AF65-F5344CB8AC3E}">
        <p14:creationId xmlns:p14="http://schemas.microsoft.com/office/powerpoint/2010/main" val="330121988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9_Content in 2 colums + Not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lvl1pPr>
          </a:lstStyle>
          <a:p>
            <a:endParaRPr lang="en-GB"/>
          </a:p>
        </p:txBody>
      </p:sp>
      <p:sp>
        <p:nvSpPr>
          <p:cNvPr id="8"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11" name="Titelplatzhalter 10">
            <a:extLst>
              <a:ext uri="{FF2B5EF4-FFF2-40B4-BE49-F238E27FC236}">
                <a16:creationId xmlns:a16="http://schemas.microsoft.com/office/drawing/2014/main" id="{D7EE0D7F-270C-4552-B249-E18FCA1563B6}"/>
              </a:ext>
            </a:extLst>
          </p:cNvPr>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12" name="Textplatzhalter 17">
            <a:extLst>
              <a:ext uri="{FF2B5EF4-FFF2-40B4-BE49-F238E27FC236}">
                <a16:creationId xmlns:a16="http://schemas.microsoft.com/office/drawing/2014/main" id="{FBCC8302-4233-4401-9C0B-5AD39EC898BF}"/>
              </a:ext>
            </a:extLst>
          </p:cNvPr>
          <p:cNvSpPr>
            <a:spLocks noGrp="1"/>
          </p:cNvSpPr>
          <p:nvPr>
            <p:ph type="body" sz="quarter" idx="16" hasCustomPrompt="1"/>
          </p:nvPr>
        </p:nvSpPr>
        <p:spPr>
          <a:xfrm>
            <a:off x="914400" y="5378400"/>
            <a:ext cx="9792000" cy="547232"/>
          </a:xfrm>
          <a:prstGeom prst="rect">
            <a:avLst/>
          </a:prstGeom>
        </p:spPr>
        <p:txBody>
          <a:bodyPr>
            <a:normAutofit/>
          </a:bodyPr>
          <a:lstStyle>
            <a:lvl1pPr>
              <a:lnSpc>
                <a:spcPts val="1400"/>
              </a:lnSpc>
              <a:spcBef>
                <a:spcPts val="219"/>
              </a:spcBef>
              <a:defRPr sz="1100" b="0" baseline="0">
                <a:solidFill>
                  <a:schemeClr val="accent2"/>
                </a:solidFill>
              </a:defRPr>
            </a:lvl1pPr>
          </a:lstStyle>
          <a:p>
            <a:r>
              <a:rPr lang="en-GB" b="1">
                <a:solidFill>
                  <a:schemeClr val="bg2"/>
                </a:solidFill>
              </a:rPr>
              <a:t>This is a minor note, </a:t>
            </a:r>
            <a:r>
              <a:rPr lang="en-GB"/>
              <a:t>meaning that no final version is available yet. This is running text in black, meaning that no final version is available yet.</a:t>
            </a:r>
          </a:p>
        </p:txBody>
      </p:sp>
      <p:sp>
        <p:nvSpPr>
          <p:cNvPr id="14" name="Text Placeholder 2">
            <a:extLst>
              <a:ext uri="{FF2B5EF4-FFF2-40B4-BE49-F238E27FC236}">
                <a16:creationId xmlns:a16="http://schemas.microsoft.com/office/drawing/2014/main" id="{E48F09BF-C8B6-4D38-B2BB-A9C7173B519F}"/>
              </a:ext>
            </a:extLst>
          </p:cNvPr>
          <p:cNvSpPr>
            <a:spLocks noGrp="1"/>
          </p:cNvSpPr>
          <p:nvPr>
            <p:ph type="body" sz="quarter" idx="12" hasCustomPrompt="1"/>
          </p:nvPr>
        </p:nvSpPr>
        <p:spPr>
          <a:xfrm>
            <a:off x="914400" y="1952601"/>
            <a:ext cx="4716000" cy="3132584"/>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811350" indent="-285750">
              <a:lnSpc>
                <a:spcPts val="20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sp>
        <p:nvSpPr>
          <p:cNvPr id="15" name="Text Placeholder 2">
            <a:extLst>
              <a:ext uri="{FF2B5EF4-FFF2-40B4-BE49-F238E27FC236}">
                <a16:creationId xmlns:a16="http://schemas.microsoft.com/office/drawing/2014/main" id="{51DEABD4-9B4C-4BF3-AF9A-28A80D2C5DAB}"/>
              </a:ext>
            </a:extLst>
          </p:cNvPr>
          <p:cNvSpPr>
            <a:spLocks noGrp="1"/>
          </p:cNvSpPr>
          <p:nvPr>
            <p:ph type="body" sz="quarter" idx="17" hasCustomPrompt="1"/>
          </p:nvPr>
        </p:nvSpPr>
        <p:spPr>
          <a:xfrm>
            <a:off x="5990400" y="1952601"/>
            <a:ext cx="4716000" cy="3132584"/>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811350" indent="-285750">
              <a:lnSpc>
                <a:spcPts val="20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spTree>
    <p:extLst>
      <p:ext uri="{BB962C8B-B14F-4D97-AF65-F5344CB8AC3E}">
        <p14:creationId xmlns:p14="http://schemas.microsoft.com/office/powerpoint/2010/main" val="162509654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0_Content in 2 colums + Note + graphics in footer">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lvl1pPr>
          </a:lstStyle>
          <a:p>
            <a:endParaRPr lang="en-GB"/>
          </a:p>
        </p:txBody>
      </p:sp>
      <p:sp>
        <p:nvSpPr>
          <p:cNvPr id="8"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2" name="Titelplatzhalter 10">
            <a:extLst>
              <a:ext uri="{FF2B5EF4-FFF2-40B4-BE49-F238E27FC236}">
                <a16:creationId xmlns:a16="http://schemas.microsoft.com/office/drawing/2014/main" id="{336B1238-7809-4012-8741-6E3084548C43}"/>
              </a:ext>
            </a:extLst>
          </p:cNvPr>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33" name="Textplatzhalter 17">
            <a:extLst>
              <a:ext uri="{FF2B5EF4-FFF2-40B4-BE49-F238E27FC236}">
                <a16:creationId xmlns:a16="http://schemas.microsoft.com/office/drawing/2014/main" id="{AC8BD974-6F88-4CAC-BD9D-3CE80DE1A648}"/>
              </a:ext>
            </a:extLst>
          </p:cNvPr>
          <p:cNvSpPr>
            <a:spLocks noGrp="1"/>
          </p:cNvSpPr>
          <p:nvPr>
            <p:ph type="body" sz="quarter" idx="16" hasCustomPrompt="1"/>
          </p:nvPr>
        </p:nvSpPr>
        <p:spPr>
          <a:xfrm>
            <a:off x="914400" y="5378400"/>
            <a:ext cx="9792000" cy="547232"/>
          </a:xfrm>
          <a:prstGeom prst="rect">
            <a:avLst/>
          </a:prstGeom>
        </p:spPr>
        <p:txBody>
          <a:bodyPr>
            <a:normAutofit/>
          </a:bodyPr>
          <a:lstStyle>
            <a:lvl1pPr>
              <a:lnSpc>
                <a:spcPts val="1400"/>
              </a:lnSpc>
              <a:spcBef>
                <a:spcPts val="219"/>
              </a:spcBef>
              <a:defRPr sz="1100" b="0" baseline="0">
                <a:solidFill>
                  <a:schemeClr val="accent2"/>
                </a:solidFill>
              </a:defRPr>
            </a:lvl1pPr>
          </a:lstStyle>
          <a:p>
            <a:r>
              <a:rPr lang="en-GB" b="1">
                <a:solidFill>
                  <a:schemeClr val="bg2"/>
                </a:solidFill>
              </a:rPr>
              <a:t>This is a minor note, </a:t>
            </a:r>
            <a:r>
              <a:rPr lang="en-GB"/>
              <a:t>meaning that no final version is available yet. This is running text in black, meaning that no final version is available yet.</a:t>
            </a:r>
          </a:p>
        </p:txBody>
      </p:sp>
      <p:sp>
        <p:nvSpPr>
          <p:cNvPr id="34" name="Text Placeholder 2">
            <a:extLst>
              <a:ext uri="{FF2B5EF4-FFF2-40B4-BE49-F238E27FC236}">
                <a16:creationId xmlns:a16="http://schemas.microsoft.com/office/drawing/2014/main" id="{88C0815E-F267-4906-A645-2DD4F5A2369E}"/>
              </a:ext>
            </a:extLst>
          </p:cNvPr>
          <p:cNvSpPr>
            <a:spLocks noGrp="1"/>
          </p:cNvSpPr>
          <p:nvPr>
            <p:ph type="body" sz="quarter" idx="12" hasCustomPrompt="1"/>
          </p:nvPr>
        </p:nvSpPr>
        <p:spPr>
          <a:xfrm>
            <a:off x="914400" y="1952601"/>
            <a:ext cx="4716000" cy="3132584"/>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811350" indent="-285750">
              <a:lnSpc>
                <a:spcPts val="2000"/>
              </a:lnSpc>
              <a:spcBef>
                <a:spcPts val="1000"/>
              </a:spcBef>
              <a:buClr>
                <a:schemeClr val="bg2"/>
              </a:buClr>
              <a:buFont typeface="Arial" panose="020B0604020202020204" pitchFamily="34" charset="0"/>
              <a:buChar char="–"/>
              <a:defRPr lang="de-DE" sz="1400" kern="1200" dirty="0" smtClean="0">
                <a:solidFill>
                  <a:schemeClr val="accent2"/>
                </a:solidFill>
                <a:latin typeface="Arial" panose="020B0604020202020204" pitchFamily="34" charset="0"/>
                <a:ea typeface="+mn-ea"/>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sp>
        <p:nvSpPr>
          <p:cNvPr id="35" name="Text Placeholder 2">
            <a:extLst>
              <a:ext uri="{FF2B5EF4-FFF2-40B4-BE49-F238E27FC236}">
                <a16:creationId xmlns:a16="http://schemas.microsoft.com/office/drawing/2014/main" id="{111BFE82-F3A3-4E59-B944-5480B0896920}"/>
              </a:ext>
            </a:extLst>
          </p:cNvPr>
          <p:cNvSpPr>
            <a:spLocks noGrp="1"/>
          </p:cNvSpPr>
          <p:nvPr>
            <p:ph type="body" sz="quarter" idx="17" hasCustomPrompt="1"/>
          </p:nvPr>
        </p:nvSpPr>
        <p:spPr>
          <a:xfrm>
            <a:off x="5990400" y="1952601"/>
            <a:ext cx="4716000" cy="3132584"/>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811350" indent="-285750">
              <a:lnSpc>
                <a:spcPts val="2000"/>
              </a:lnSpc>
              <a:spcBef>
                <a:spcPts val="1000"/>
              </a:spcBef>
              <a:buClr>
                <a:schemeClr val="bg2"/>
              </a:buClr>
              <a:buFont typeface="Arial" panose="020B0604020202020204" pitchFamily="34" charset="0"/>
              <a:buChar char="–"/>
              <a:defRPr lang="de-DE" sz="1400" kern="1200" dirty="0" smtClean="0">
                <a:solidFill>
                  <a:schemeClr val="accent2"/>
                </a:solidFill>
                <a:latin typeface="Arial" panose="020B0604020202020204" pitchFamily="34" charset="0"/>
                <a:ea typeface="+mn-ea"/>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grpSp>
        <p:nvGrpSpPr>
          <p:cNvPr id="36" name="Group 35">
            <a:extLst>
              <a:ext uri="{FF2B5EF4-FFF2-40B4-BE49-F238E27FC236}">
                <a16:creationId xmlns:a16="http://schemas.microsoft.com/office/drawing/2014/main" id="{29EA06EE-CCA2-413E-8539-94F1D5B1F3A0}"/>
              </a:ext>
            </a:extLst>
          </p:cNvPr>
          <p:cNvGrpSpPr/>
          <p:nvPr userDrawn="1"/>
        </p:nvGrpSpPr>
        <p:grpSpPr>
          <a:xfrm>
            <a:off x="0" y="5964940"/>
            <a:ext cx="9078301" cy="535703"/>
            <a:chOff x="0" y="5964940"/>
            <a:chExt cx="9078301" cy="535703"/>
          </a:xfrm>
        </p:grpSpPr>
        <p:grpSp>
          <p:nvGrpSpPr>
            <p:cNvPr id="37" name="Group 36">
              <a:extLst>
                <a:ext uri="{FF2B5EF4-FFF2-40B4-BE49-F238E27FC236}">
                  <a16:creationId xmlns:a16="http://schemas.microsoft.com/office/drawing/2014/main" id="{2300E17B-D518-477A-8287-228586E7A306}"/>
                </a:ext>
              </a:extLst>
            </p:cNvPr>
            <p:cNvGrpSpPr/>
            <p:nvPr userDrawn="1"/>
          </p:nvGrpSpPr>
          <p:grpSpPr>
            <a:xfrm>
              <a:off x="8906480" y="5964940"/>
              <a:ext cx="171821" cy="171821"/>
              <a:chOff x="10960096" y="4204963"/>
              <a:chExt cx="405867" cy="405866"/>
            </a:xfrm>
          </p:grpSpPr>
          <p:sp>
            <p:nvSpPr>
              <p:cNvPr id="62" name="object 26">
                <a:extLst>
                  <a:ext uri="{FF2B5EF4-FFF2-40B4-BE49-F238E27FC236}">
                    <a16:creationId xmlns:a16="http://schemas.microsoft.com/office/drawing/2014/main" id="{83B0147F-AA8A-4AD4-8578-0A85F2C491EC}"/>
                  </a:ext>
                </a:extLst>
              </p:cNvPr>
              <p:cNvSpPr/>
              <p:nvPr userDrawn="1"/>
            </p:nvSpPr>
            <p:spPr>
              <a:xfrm>
                <a:off x="11162878" y="4204963"/>
                <a:ext cx="0" cy="64807"/>
              </a:xfrm>
              <a:custGeom>
                <a:avLst/>
                <a:gdLst/>
                <a:ahLst/>
                <a:cxnLst/>
                <a:rect l="l" t="t" r="r" b="b"/>
                <a:pathLst>
                  <a:path h="78739">
                    <a:moveTo>
                      <a:pt x="0" y="78371"/>
                    </a:moveTo>
                    <a:lnTo>
                      <a:pt x="0" y="0"/>
                    </a:lnTo>
                  </a:path>
                </a:pathLst>
              </a:custGeom>
              <a:ln w="12700">
                <a:solidFill>
                  <a:schemeClr val="bg2"/>
                </a:solidFill>
              </a:ln>
            </p:spPr>
            <p:txBody>
              <a:bodyPr wrap="square" lIns="0" tIns="0" rIns="0" bIns="0" rtlCol="0"/>
              <a:lstStyle/>
              <a:p>
                <a:endParaRPr/>
              </a:p>
            </p:txBody>
          </p:sp>
          <p:sp>
            <p:nvSpPr>
              <p:cNvPr id="63" name="object 27">
                <a:extLst>
                  <a:ext uri="{FF2B5EF4-FFF2-40B4-BE49-F238E27FC236}">
                    <a16:creationId xmlns:a16="http://schemas.microsoft.com/office/drawing/2014/main" id="{0207EADF-4B15-442D-8A18-C84E52C7151C}"/>
                  </a:ext>
                </a:extLst>
              </p:cNvPr>
              <p:cNvSpPr/>
              <p:nvPr userDrawn="1"/>
            </p:nvSpPr>
            <p:spPr>
              <a:xfrm>
                <a:off x="10960096" y="4407744"/>
                <a:ext cx="64807" cy="0"/>
              </a:xfrm>
              <a:custGeom>
                <a:avLst/>
                <a:gdLst/>
                <a:ahLst/>
                <a:cxnLst/>
                <a:rect l="l" t="t" r="r" b="b"/>
                <a:pathLst>
                  <a:path w="78740">
                    <a:moveTo>
                      <a:pt x="78371" y="0"/>
                    </a:moveTo>
                    <a:lnTo>
                      <a:pt x="0" y="0"/>
                    </a:lnTo>
                  </a:path>
                </a:pathLst>
              </a:custGeom>
              <a:ln w="12700">
                <a:solidFill>
                  <a:schemeClr val="bg2"/>
                </a:solidFill>
              </a:ln>
            </p:spPr>
            <p:txBody>
              <a:bodyPr wrap="square" lIns="0" tIns="0" rIns="0" bIns="0" rtlCol="0"/>
              <a:lstStyle/>
              <a:p>
                <a:endParaRPr/>
              </a:p>
            </p:txBody>
          </p:sp>
          <p:sp>
            <p:nvSpPr>
              <p:cNvPr id="64" name="object 28">
                <a:extLst>
                  <a:ext uri="{FF2B5EF4-FFF2-40B4-BE49-F238E27FC236}">
                    <a16:creationId xmlns:a16="http://schemas.microsoft.com/office/drawing/2014/main" id="{783FA8FD-ECF5-4DB8-9B59-C8EFFB4CBB00}"/>
                  </a:ext>
                </a:extLst>
              </p:cNvPr>
              <p:cNvSpPr/>
              <p:nvPr userDrawn="1"/>
            </p:nvSpPr>
            <p:spPr>
              <a:xfrm>
                <a:off x="11162878" y="4546022"/>
                <a:ext cx="0" cy="64807"/>
              </a:xfrm>
              <a:custGeom>
                <a:avLst/>
                <a:gdLst/>
                <a:ahLst/>
                <a:cxnLst/>
                <a:rect l="l" t="t" r="r" b="b"/>
                <a:pathLst>
                  <a:path h="78739">
                    <a:moveTo>
                      <a:pt x="0" y="0"/>
                    </a:moveTo>
                    <a:lnTo>
                      <a:pt x="0" y="78371"/>
                    </a:lnTo>
                  </a:path>
                </a:pathLst>
              </a:custGeom>
              <a:ln w="12700">
                <a:solidFill>
                  <a:schemeClr val="bg2"/>
                </a:solidFill>
              </a:ln>
            </p:spPr>
            <p:txBody>
              <a:bodyPr wrap="square" lIns="0" tIns="0" rIns="0" bIns="0" rtlCol="0"/>
              <a:lstStyle/>
              <a:p>
                <a:endParaRPr/>
              </a:p>
            </p:txBody>
          </p:sp>
          <p:sp>
            <p:nvSpPr>
              <p:cNvPr id="65" name="object 29">
                <a:extLst>
                  <a:ext uri="{FF2B5EF4-FFF2-40B4-BE49-F238E27FC236}">
                    <a16:creationId xmlns:a16="http://schemas.microsoft.com/office/drawing/2014/main" id="{CFD6AD3B-8A85-4C3D-B8F4-671642A4BA87}"/>
                  </a:ext>
                </a:extLst>
              </p:cNvPr>
              <p:cNvSpPr/>
              <p:nvPr userDrawn="1"/>
            </p:nvSpPr>
            <p:spPr>
              <a:xfrm>
                <a:off x="11301156" y="4407744"/>
                <a:ext cx="64807" cy="0"/>
              </a:xfrm>
              <a:custGeom>
                <a:avLst/>
                <a:gdLst/>
                <a:ahLst/>
                <a:cxnLst/>
                <a:rect l="l" t="t" r="r" b="b"/>
                <a:pathLst>
                  <a:path w="78740">
                    <a:moveTo>
                      <a:pt x="0" y="0"/>
                    </a:moveTo>
                    <a:lnTo>
                      <a:pt x="78371" y="0"/>
                    </a:lnTo>
                  </a:path>
                </a:pathLst>
              </a:custGeom>
              <a:ln w="12700">
                <a:solidFill>
                  <a:schemeClr val="bg2"/>
                </a:solidFill>
              </a:ln>
            </p:spPr>
            <p:txBody>
              <a:bodyPr wrap="square" lIns="0" tIns="0" rIns="0" bIns="0" rtlCol="0"/>
              <a:lstStyle/>
              <a:p>
                <a:endParaRPr/>
              </a:p>
            </p:txBody>
          </p:sp>
          <p:sp>
            <p:nvSpPr>
              <p:cNvPr id="66" name="object 30">
                <a:extLst>
                  <a:ext uri="{FF2B5EF4-FFF2-40B4-BE49-F238E27FC236}">
                    <a16:creationId xmlns:a16="http://schemas.microsoft.com/office/drawing/2014/main" id="{4443FB02-9500-49E0-AB5C-463FF1DE6975}"/>
                  </a:ext>
                </a:extLst>
              </p:cNvPr>
              <p:cNvSpPr/>
              <p:nvPr userDrawn="1"/>
            </p:nvSpPr>
            <p:spPr>
              <a:xfrm>
                <a:off x="10998198" y="4312662"/>
                <a:ext cx="44947" cy="26132"/>
              </a:xfrm>
              <a:custGeom>
                <a:avLst/>
                <a:gdLst/>
                <a:ahLst/>
                <a:cxnLst/>
                <a:rect l="l" t="t" r="r" b="b"/>
                <a:pathLst>
                  <a:path w="54609" h="31750">
                    <a:moveTo>
                      <a:pt x="54584" y="31521"/>
                    </a:moveTo>
                    <a:lnTo>
                      <a:pt x="0" y="0"/>
                    </a:lnTo>
                  </a:path>
                </a:pathLst>
              </a:custGeom>
              <a:ln w="12700">
                <a:solidFill>
                  <a:schemeClr val="bg2"/>
                </a:solidFill>
              </a:ln>
            </p:spPr>
            <p:txBody>
              <a:bodyPr wrap="square" lIns="0" tIns="0" rIns="0" bIns="0" rtlCol="0"/>
              <a:lstStyle/>
              <a:p>
                <a:endParaRPr/>
              </a:p>
            </p:txBody>
          </p:sp>
          <p:sp>
            <p:nvSpPr>
              <p:cNvPr id="67" name="object 31">
                <a:extLst>
                  <a:ext uri="{FF2B5EF4-FFF2-40B4-BE49-F238E27FC236}">
                    <a16:creationId xmlns:a16="http://schemas.microsoft.com/office/drawing/2014/main" id="{944B1EA1-2690-457A-B299-623B9E1C0304}"/>
                  </a:ext>
                </a:extLst>
              </p:cNvPr>
              <p:cNvSpPr/>
              <p:nvPr userDrawn="1"/>
            </p:nvSpPr>
            <p:spPr>
              <a:xfrm>
                <a:off x="11282630" y="4476883"/>
                <a:ext cx="44947" cy="26132"/>
              </a:xfrm>
              <a:custGeom>
                <a:avLst/>
                <a:gdLst/>
                <a:ahLst/>
                <a:cxnLst/>
                <a:rect l="l" t="t" r="r" b="b"/>
                <a:pathLst>
                  <a:path w="54609" h="31750">
                    <a:moveTo>
                      <a:pt x="0" y="0"/>
                    </a:moveTo>
                    <a:lnTo>
                      <a:pt x="54584" y="31508"/>
                    </a:lnTo>
                  </a:path>
                </a:pathLst>
              </a:custGeom>
              <a:ln w="12700">
                <a:solidFill>
                  <a:schemeClr val="bg2"/>
                </a:solidFill>
              </a:ln>
            </p:spPr>
            <p:txBody>
              <a:bodyPr wrap="square" lIns="0" tIns="0" rIns="0" bIns="0" rtlCol="0"/>
              <a:lstStyle/>
              <a:p>
                <a:endParaRPr/>
              </a:p>
            </p:txBody>
          </p:sp>
          <p:sp>
            <p:nvSpPr>
              <p:cNvPr id="68" name="object 32">
                <a:extLst>
                  <a:ext uri="{FF2B5EF4-FFF2-40B4-BE49-F238E27FC236}">
                    <a16:creationId xmlns:a16="http://schemas.microsoft.com/office/drawing/2014/main" id="{5F403432-8E1B-4ACB-8FB9-BD7C58874AA4}"/>
                  </a:ext>
                </a:extLst>
              </p:cNvPr>
              <p:cNvSpPr/>
              <p:nvPr userDrawn="1"/>
            </p:nvSpPr>
            <p:spPr>
              <a:xfrm>
                <a:off x="11067805" y="4243066"/>
                <a:ext cx="26132" cy="44947"/>
              </a:xfrm>
              <a:custGeom>
                <a:avLst/>
                <a:gdLst/>
                <a:ahLst/>
                <a:cxnLst/>
                <a:rect l="l" t="t" r="r" b="b"/>
                <a:pathLst>
                  <a:path w="31750" h="54610">
                    <a:moveTo>
                      <a:pt x="31508" y="54584"/>
                    </a:moveTo>
                    <a:lnTo>
                      <a:pt x="0" y="0"/>
                    </a:lnTo>
                  </a:path>
                </a:pathLst>
              </a:custGeom>
              <a:ln w="12700">
                <a:solidFill>
                  <a:schemeClr val="bg2"/>
                </a:solidFill>
              </a:ln>
            </p:spPr>
            <p:txBody>
              <a:bodyPr wrap="square" lIns="0" tIns="0" rIns="0" bIns="0" rtlCol="0"/>
              <a:lstStyle/>
              <a:p>
                <a:endParaRPr/>
              </a:p>
            </p:txBody>
          </p:sp>
          <p:sp>
            <p:nvSpPr>
              <p:cNvPr id="69" name="object 33">
                <a:extLst>
                  <a:ext uri="{FF2B5EF4-FFF2-40B4-BE49-F238E27FC236}">
                    <a16:creationId xmlns:a16="http://schemas.microsoft.com/office/drawing/2014/main" id="{87C2B030-7191-4F48-A24D-0CB97221AF01}"/>
                  </a:ext>
                </a:extLst>
              </p:cNvPr>
              <p:cNvSpPr/>
              <p:nvPr userDrawn="1"/>
            </p:nvSpPr>
            <p:spPr>
              <a:xfrm>
                <a:off x="11232017" y="4527495"/>
                <a:ext cx="26132" cy="44947"/>
              </a:xfrm>
              <a:custGeom>
                <a:avLst/>
                <a:gdLst/>
                <a:ahLst/>
                <a:cxnLst/>
                <a:rect l="l" t="t" r="r" b="b"/>
                <a:pathLst>
                  <a:path w="31750" h="54610">
                    <a:moveTo>
                      <a:pt x="0" y="0"/>
                    </a:moveTo>
                    <a:lnTo>
                      <a:pt x="31521" y="54584"/>
                    </a:lnTo>
                  </a:path>
                </a:pathLst>
              </a:custGeom>
              <a:ln w="12700">
                <a:solidFill>
                  <a:schemeClr val="bg2"/>
                </a:solidFill>
              </a:ln>
            </p:spPr>
            <p:txBody>
              <a:bodyPr wrap="square" lIns="0" tIns="0" rIns="0" bIns="0" rtlCol="0"/>
              <a:lstStyle/>
              <a:p>
                <a:endParaRPr/>
              </a:p>
            </p:txBody>
          </p:sp>
          <p:sp>
            <p:nvSpPr>
              <p:cNvPr id="70" name="object 34">
                <a:extLst>
                  <a:ext uri="{FF2B5EF4-FFF2-40B4-BE49-F238E27FC236}">
                    <a16:creationId xmlns:a16="http://schemas.microsoft.com/office/drawing/2014/main" id="{78E1F970-DE16-4CEC-B926-5238A087EBFD}"/>
                  </a:ext>
                </a:extLst>
              </p:cNvPr>
              <p:cNvSpPr/>
              <p:nvPr userDrawn="1"/>
            </p:nvSpPr>
            <p:spPr>
              <a:xfrm>
                <a:off x="11282630" y="4312662"/>
                <a:ext cx="44947" cy="26132"/>
              </a:xfrm>
              <a:custGeom>
                <a:avLst/>
                <a:gdLst/>
                <a:ahLst/>
                <a:cxnLst/>
                <a:rect l="l" t="t" r="r" b="b"/>
                <a:pathLst>
                  <a:path w="54609" h="31750">
                    <a:moveTo>
                      <a:pt x="0" y="31521"/>
                    </a:moveTo>
                    <a:lnTo>
                      <a:pt x="54584" y="0"/>
                    </a:lnTo>
                  </a:path>
                </a:pathLst>
              </a:custGeom>
              <a:ln w="12700">
                <a:solidFill>
                  <a:schemeClr val="bg2"/>
                </a:solidFill>
              </a:ln>
            </p:spPr>
            <p:txBody>
              <a:bodyPr wrap="square" lIns="0" tIns="0" rIns="0" bIns="0" rtlCol="0"/>
              <a:lstStyle/>
              <a:p>
                <a:endParaRPr/>
              </a:p>
            </p:txBody>
          </p:sp>
          <p:sp>
            <p:nvSpPr>
              <p:cNvPr id="71" name="object 35">
                <a:extLst>
                  <a:ext uri="{FF2B5EF4-FFF2-40B4-BE49-F238E27FC236}">
                    <a16:creationId xmlns:a16="http://schemas.microsoft.com/office/drawing/2014/main" id="{25BF79DB-8147-47D8-9146-A07B8B4D4676}"/>
                  </a:ext>
                </a:extLst>
              </p:cNvPr>
              <p:cNvSpPr/>
              <p:nvPr userDrawn="1"/>
            </p:nvSpPr>
            <p:spPr>
              <a:xfrm>
                <a:off x="10998198" y="4476883"/>
                <a:ext cx="44947" cy="26132"/>
              </a:xfrm>
              <a:custGeom>
                <a:avLst/>
                <a:gdLst/>
                <a:ahLst/>
                <a:cxnLst/>
                <a:rect l="l" t="t" r="r" b="b"/>
                <a:pathLst>
                  <a:path w="54609" h="31750">
                    <a:moveTo>
                      <a:pt x="54584" y="0"/>
                    </a:moveTo>
                    <a:lnTo>
                      <a:pt x="0" y="31508"/>
                    </a:lnTo>
                  </a:path>
                </a:pathLst>
              </a:custGeom>
              <a:ln w="12700">
                <a:solidFill>
                  <a:schemeClr val="bg2"/>
                </a:solidFill>
              </a:ln>
            </p:spPr>
            <p:txBody>
              <a:bodyPr wrap="square" lIns="0" tIns="0" rIns="0" bIns="0" rtlCol="0"/>
              <a:lstStyle/>
              <a:p>
                <a:endParaRPr/>
              </a:p>
            </p:txBody>
          </p:sp>
          <p:sp>
            <p:nvSpPr>
              <p:cNvPr id="72" name="object 36">
                <a:extLst>
                  <a:ext uri="{FF2B5EF4-FFF2-40B4-BE49-F238E27FC236}">
                    <a16:creationId xmlns:a16="http://schemas.microsoft.com/office/drawing/2014/main" id="{2B9EEF6F-2940-4E5D-ADE9-B599ABAEF7BA}"/>
                  </a:ext>
                </a:extLst>
              </p:cNvPr>
              <p:cNvSpPr/>
              <p:nvPr userDrawn="1"/>
            </p:nvSpPr>
            <p:spPr>
              <a:xfrm>
                <a:off x="11232017" y="4243066"/>
                <a:ext cx="26132" cy="44947"/>
              </a:xfrm>
              <a:custGeom>
                <a:avLst/>
                <a:gdLst/>
                <a:ahLst/>
                <a:cxnLst/>
                <a:rect l="l" t="t" r="r" b="b"/>
                <a:pathLst>
                  <a:path w="31750" h="54610">
                    <a:moveTo>
                      <a:pt x="0" y="54584"/>
                    </a:moveTo>
                    <a:lnTo>
                      <a:pt x="31521" y="0"/>
                    </a:lnTo>
                  </a:path>
                </a:pathLst>
              </a:custGeom>
              <a:ln w="12700">
                <a:solidFill>
                  <a:schemeClr val="bg2"/>
                </a:solidFill>
              </a:ln>
            </p:spPr>
            <p:txBody>
              <a:bodyPr wrap="square" lIns="0" tIns="0" rIns="0" bIns="0" rtlCol="0"/>
              <a:lstStyle/>
              <a:p>
                <a:endParaRPr/>
              </a:p>
            </p:txBody>
          </p:sp>
          <p:sp>
            <p:nvSpPr>
              <p:cNvPr id="73" name="object 37">
                <a:extLst>
                  <a:ext uri="{FF2B5EF4-FFF2-40B4-BE49-F238E27FC236}">
                    <a16:creationId xmlns:a16="http://schemas.microsoft.com/office/drawing/2014/main" id="{2EF7831E-B9E2-4F7C-9954-5C53E45232F7}"/>
                  </a:ext>
                </a:extLst>
              </p:cNvPr>
              <p:cNvSpPr/>
              <p:nvPr userDrawn="1"/>
            </p:nvSpPr>
            <p:spPr>
              <a:xfrm>
                <a:off x="11067794" y="4527495"/>
                <a:ext cx="26132" cy="44947"/>
              </a:xfrm>
              <a:custGeom>
                <a:avLst/>
                <a:gdLst/>
                <a:ahLst/>
                <a:cxnLst/>
                <a:rect l="l" t="t" r="r" b="b"/>
                <a:pathLst>
                  <a:path w="31750" h="54610">
                    <a:moveTo>
                      <a:pt x="31521" y="0"/>
                    </a:moveTo>
                    <a:lnTo>
                      <a:pt x="0" y="54584"/>
                    </a:lnTo>
                  </a:path>
                </a:pathLst>
              </a:custGeom>
              <a:ln w="12700">
                <a:solidFill>
                  <a:schemeClr val="bg2"/>
                </a:solidFill>
              </a:ln>
            </p:spPr>
            <p:txBody>
              <a:bodyPr wrap="square" lIns="0" tIns="0" rIns="0" bIns="0" rtlCol="0"/>
              <a:lstStyle/>
              <a:p>
                <a:endParaRPr/>
              </a:p>
            </p:txBody>
          </p:sp>
          <p:sp>
            <p:nvSpPr>
              <p:cNvPr id="74" name="object 38">
                <a:extLst>
                  <a:ext uri="{FF2B5EF4-FFF2-40B4-BE49-F238E27FC236}">
                    <a16:creationId xmlns:a16="http://schemas.microsoft.com/office/drawing/2014/main" id="{9E7E06B5-83E8-41C4-B837-68574D71F1CC}"/>
                  </a:ext>
                </a:extLst>
              </p:cNvPr>
              <p:cNvSpPr/>
              <p:nvPr userDrawn="1"/>
            </p:nvSpPr>
            <p:spPr>
              <a:xfrm>
                <a:off x="11062674" y="4307544"/>
                <a:ext cx="200693" cy="200693"/>
              </a:xfrm>
              <a:custGeom>
                <a:avLst/>
                <a:gdLst/>
                <a:ahLst/>
                <a:cxnLst/>
                <a:rect l="l" t="t" r="r" b="b"/>
                <a:pathLst>
                  <a:path w="243840" h="243839">
                    <a:moveTo>
                      <a:pt x="0" y="121742"/>
                    </a:moveTo>
                    <a:lnTo>
                      <a:pt x="9567" y="169130"/>
                    </a:lnTo>
                    <a:lnTo>
                      <a:pt x="35658" y="207832"/>
                    </a:lnTo>
                    <a:lnTo>
                      <a:pt x="74355" y="233927"/>
                    </a:lnTo>
                    <a:lnTo>
                      <a:pt x="121742" y="243497"/>
                    </a:lnTo>
                    <a:lnTo>
                      <a:pt x="169136" y="233927"/>
                    </a:lnTo>
                    <a:lnTo>
                      <a:pt x="207837" y="207832"/>
                    </a:lnTo>
                    <a:lnTo>
                      <a:pt x="233929" y="169130"/>
                    </a:lnTo>
                    <a:lnTo>
                      <a:pt x="243497" y="121742"/>
                    </a:lnTo>
                    <a:lnTo>
                      <a:pt x="233929" y="74355"/>
                    </a:lnTo>
                    <a:lnTo>
                      <a:pt x="207837" y="35658"/>
                    </a:lnTo>
                    <a:lnTo>
                      <a:pt x="169136" y="9567"/>
                    </a:lnTo>
                    <a:lnTo>
                      <a:pt x="121742" y="0"/>
                    </a:lnTo>
                    <a:lnTo>
                      <a:pt x="74355" y="9567"/>
                    </a:lnTo>
                    <a:lnTo>
                      <a:pt x="35658" y="35658"/>
                    </a:lnTo>
                    <a:lnTo>
                      <a:pt x="9567" y="74355"/>
                    </a:lnTo>
                    <a:lnTo>
                      <a:pt x="0" y="121742"/>
                    </a:lnTo>
                    <a:close/>
                  </a:path>
                </a:pathLst>
              </a:custGeom>
              <a:ln w="12700">
                <a:solidFill>
                  <a:schemeClr val="bg2"/>
                </a:solidFill>
              </a:ln>
            </p:spPr>
            <p:txBody>
              <a:bodyPr wrap="square" lIns="0" tIns="0" rIns="0" bIns="0" rtlCol="0"/>
              <a:lstStyle/>
              <a:p>
                <a:endParaRPr/>
              </a:p>
            </p:txBody>
          </p:sp>
        </p:grpSp>
        <p:grpSp>
          <p:nvGrpSpPr>
            <p:cNvPr id="38" name="Gruppierung 14">
              <a:extLst>
                <a:ext uri="{FF2B5EF4-FFF2-40B4-BE49-F238E27FC236}">
                  <a16:creationId xmlns:a16="http://schemas.microsoft.com/office/drawing/2014/main" id="{C3F1219A-61A5-450B-819F-71CEF639F1F1}"/>
                </a:ext>
              </a:extLst>
            </p:cNvPr>
            <p:cNvGrpSpPr/>
            <p:nvPr userDrawn="1"/>
          </p:nvGrpSpPr>
          <p:grpSpPr>
            <a:xfrm>
              <a:off x="0" y="6040373"/>
              <a:ext cx="9026886" cy="460270"/>
              <a:chOff x="0" y="6040373"/>
              <a:chExt cx="9026886" cy="460270"/>
            </a:xfrm>
          </p:grpSpPr>
          <p:sp>
            <p:nvSpPr>
              <p:cNvPr id="46" name="object 5">
                <a:extLst>
                  <a:ext uri="{FF2B5EF4-FFF2-40B4-BE49-F238E27FC236}">
                    <a16:creationId xmlns:a16="http://schemas.microsoft.com/office/drawing/2014/main" id="{6A65ECB9-AAAD-45B8-B23D-C5ED712365B8}"/>
                  </a:ext>
                </a:extLst>
              </p:cNvPr>
              <p:cNvSpPr/>
              <p:nvPr/>
            </p:nvSpPr>
            <p:spPr>
              <a:xfrm>
                <a:off x="8337530" y="6363619"/>
                <a:ext cx="177165" cy="0"/>
              </a:xfrm>
              <a:custGeom>
                <a:avLst/>
                <a:gdLst/>
                <a:ahLst/>
                <a:cxnLst/>
                <a:rect l="l" t="t" r="r" b="b"/>
                <a:pathLst>
                  <a:path w="177165">
                    <a:moveTo>
                      <a:pt x="0" y="0"/>
                    </a:moveTo>
                    <a:lnTo>
                      <a:pt x="176809" y="0"/>
                    </a:lnTo>
                  </a:path>
                </a:pathLst>
              </a:custGeom>
              <a:ln w="12700">
                <a:solidFill>
                  <a:schemeClr val="bg2"/>
                </a:solidFill>
              </a:ln>
            </p:spPr>
            <p:txBody>
              <a:bodyPr wrap="square" lIns="0" tIns="0" rIns="0" bIns="0" rtlCol="0"/>
              <a:lstStyle/>
              <a:p>
                <a:endParaRPr/>
              </a:p>
            </p:txBody>
          </p:sp>
          <p:sp>
            <p:nvSpPr>
              <p:cNvPr id="47" name="object 7">
                <a:extLst>
                  <a:ext uri="{FF2B5EF4-FFF2-40B4-BE49-F238E27FC236}">
                    <a16:creationId xmlns:a16="http://schemas.microsoft.com/office/drawing/2014/main" id="{A8002860-C4D2-49D0-A62B-7B4C5E97E379}"/>
                  </a:ext>
                </a:extLst>
              </p:cNvPr>
              <p:cNvSpPr/>
              <p:nvPr/>
            </p:nvSpPr>
            <p:spPr>
              <a:xfrm>
                <a:off x="0" y="6363619"/>
                <a:ext cx="8247380" cy="0"/>
              </a:xfrm>
              <a:custGeom>
                <a:avLst/>
                <a:gdLst/>
                <a:ahLst/>
                <a:cxnLst/>
                <a:rect l="l" t="t" r="r" b="b"/>
                <a:pathLst>
                  <a:path w="8247380">
                    <a:moveTo>
                      <a:pt x="0" y="0"/>
                    </a:moveTo>
                    <a:lnTo>
                      <a:pt x="8247143" y="0"/>
                    </a:lnTo>
                  </a:path>
                </a:pathLst>
              </a:custGeom>
              <a:ln w="12700">
                <a:solidFill>
                  <a:schemeClr val="bg2"/>
                </a:solidFill>
              </a:ln>
            </p:spPr>
            <p:txBody>
              <a:bodyPr wrap="square" lIns="0" tIns="0" rIns="0" bIns="0" rtlCol="0"/>
              <a:lstStyle/>
              <a:p>
                <a:endParaRPr/>
              </a:p>
            </p:txBody>
          </p:sp>
          <p:sp>
            <p:nvSpPr>
              <p:cNvPr id="48" name="object 8">
                <a:extLst>
                  <a:ext uri="{FF2B5EF4-FFF2-40B4-BE49-F238E27FC236}">
                    <a16:creationId xmlns:a16="http://schemas.microsoft.com/office/drawing/2014/main" id="{5232C8E8-80F7-4454-BF95-20604B9F413F}"/>
                  </a:ext>
                </a:extLst>
              </p:cNvPr>
              <p:cNvSpPr/>
              <p:nvPr/>
            </p:nvSpPr>
            <p:spPr>
              <a:xfrm>
                <a:off x="8730631"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49" name="object 9">
                <a:extLst>
                  <a:ext uri="{FF2B5EF4-FFF2-40B4-BE49-F238E27FC236}">
                    <a16:creationId xmlns:a16="http://schemas.microsoft.com/office/drawing/2014/main" id="{E0530151-0CA9-4CDF-B5FF-81406E3999A4}"/>
                  </a:ext>
                </a:extLst>
              </p:cNvPr>
              <p:cNvSpPr/>
              <p:nvPr/>
            </p:nvSpPr>
            <p:spPr>
              <a:xfrm>
                <a:off x="8483920"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50" name="object 10">
                <a:extLst>
                  <a:ext uri="{FF2B5EF4-FFF2-40B4-BE49-F238E27FC236}">
                    <a16:creationId xmlns:a16="http://schemas.microsoft.com/office/drawing/2014/main" id="{BB9C4F84-28DB-429A-865A-4E0E7E4292C9}"/>
                  </a:ext>
                </a:extLst>
              </p:cNvPr>
              <p:cNvSpPr/>
              <p:nvPr/>
            </p:nvSpPr>
            <p:spPr>
              <a:xfrm>
                <a:off x="8730631"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51" name="object 11">
                <a:extLst>
                  <a:ext uri="{FF2B5EF4-FFF2-40B4-BE49-F238E27FC236}">
                    <a16:creationId xmlns:a16="http://schemas.microsoft.com/office/drawing/2014/main" id="{A64E11F1-68A5-4E6A-9AC5-8E98A4149B59}"/>
                  </a:ext>
                </a:extLst>
              </p:cNvPr>
              <p:cNvSpPr/>
              <p:nvPr/>
            </p:nvSpPr>
            <p:spPr>
              <a:xfrm>
                <a:off x="8483920"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52" name="object 12">
                <a:extLst>
                  <a:ext uri="{FF2B5EF4-FFF2-40B4-BE49-F238E27FC236}">
                    <a16:creationId xmlns:a16="http://schemas.microsoft.com/office/drawing/2014/main" id="{35A9D1F3-985E-4C02-BEF6-B80D6E946FB8}"/>
                  </a:ext>
                </a:extLst>
              </p:cNvPr>
              <p:cNvSpPr/>
              <p:nvPr/>
            </p:nvSpPr>
            <p:spPr>
              <a:xfrm>
                <a:off x="8566326" y="6060876"/>
                <a:ext cx="81915" cy="252729"/>
              </a:xfrm>
              <a:custGeom>
                <a:avLst/>
                <a:gdLst/>
                <a:ahLst/>
                <a:cxnLst/>
                <a:rect l="l" t="t" r="r" b="b"/>
                <a:pathLst>
                  <a:path w="81915" h="252729">
                    <a:moveTo>
                      <a:pt x="0" y="210934"/>
                    </a:moveTo>
                    <a:lnTo>
                      <a:pt x="40944" y="252349"/>
                    </a:lnTo>
                    <a:lnTo>
                      <a:pt x="81902" y="210934"/>
                    </a:lnTo>
                    <a:lnTo>
                      <a:pt x="81902" y="0"/>
                    </a:lnTo>
                    <a:lnTo>
                      <a:pt x="0" y="0"/>
                    </a:lnTo>
                    <a:lnTo>
                      <a:pt x="0" y="210934"/>
                    </a:lnTo>
                    <a:close/>
                  </a:path>
                </a:pathLst>
              </a:custGeom>
              <a:ln w="12699">
                <a:solidFill>
                  <a:schemeClr val="bg2"/>
                </a:solidFill>
              </a:ln>
            </p:spPr>
            <p:txBody>
              <a:bodyPr wrap="square" lIns="0" tIns="0" rIns="0" bIns="0" rtlCol="0"/>
              <a:lstStyle/>
              <a:p>
                <a:endParaRPr/>
              </a:p>
            </p:txBody>
          </p:sp>
          <p:sp>
            <p:nvSpPr>
              <p:cNvPr id="53" name="object 13">
                <a:extLst>
                  <a:ext uri="{FF2B5EF4-FFF2-40B4-BE49-F238E27FC236}">
                    <a16:creationId xmlns:a16="http://schemas.microsoft.com/office/drawing/2014/main" id="{9002D268-BB7C-47B7-8DAA-3045B8C17C8E}"/>
                  </a:ext>
                </a:extLst>
              </p:cNvPr>
              <p:cNvSpPr/>
              <p:nvPr/>
            </p:nvSpPr>
            <p:spPr>
              <a:xfrm>
                <a:off x="8483920" y="6167417"/>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54" name="object 14">
                <a:extLst>
                  <a:ext uri="{FF2B5EF4-FFF2-40B4-BE49-F238E27FC236}">
                    <a16:creationId xmlns:a16="http://schemas.microsoft.com/office/drawing/2014/main" id="{E3071341-5316-4450-AF6E-4DD518CBAE02}"/>
                  </a:ext>
                </a:extLst>
              </p:cNvPr>
              <p:cNvSpPr/>
              <p:nvPr/>
            </p:nvSpPr>
            <p:spPr>
              <a:xfrm>
                <a:off x="8483920" y="6060874"/>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55" name="object 15">
                <a:extLst>
                  <a:ext uri="{FF2B5EF4-FFF2-40B4-BE49-F238E27FC236}">
                    <a16:creationId xmlns:a16="http://schemas.microsoft.com/office/drawing/2014/main" id="{FE93AA9D-D5A2-44E3-8503-7E15737DC0DA}"/>
                  </a:ext>
                </a:extLst>
              </p:cNvPr>
              <p:cNvSpPr/>
              <p:nvPr/>
            </p:nvSpPr>
            <p:spPr>
              <a:xfrm>
                <a:off x="8607279" y="6271811"/>
                <a:ext cx="91440" cy="92710"/>
              </a:xfrm>
              <a:custGeom>
                <a:avLst/>
                <a:gdLst/>
                <a:ahLst/>
                <a:cxnLst/>
                <a:rect l="l" t="t" r="r" b="b"/>
                <a:pathLst>
                  <a:path w="91440" h="92710">
                    <a:moveTo>
                      <a:pt x="40944" y="0"/>
                    </a:moveTo>
                    <a:lnTo>
                      <a:pt x="90995" y="92151"/>
                    </a:lnTo>
                    <a:lnTo>
                      <a:pt x="0" y="41414"/>
                    </a:lnTo>
                  </a:path>
                </a:pathLst>
              </a:custGeom>
              <a:ln w="12700">
                <a:solidFill>
                  <a:schemeClr val="bg2"/>
                </a:solidFill>
              </a:ln>
            </p:spPr>
            <p:txBody>
              <a:bodyPr wrap="square" lIns="0" tIns="0" rIns="0" bIns="0" rtlCol="0"/>
              <a:lstStyle/>
              <a:p>
                <a:endParaRPr/>
              </a:p>
            </p:txBody>
          </p:sp>
          <p:sp>
            <p:nvSpPr>
              <p:cNvPr id="56" name="object 16">
                <a:extLst>
                  <a:ext uri="{FF2B5EF4-FFF2-40B4-BE49-F238E27FC236}">
                    <a16:creationId xmlns:a16="http://schemas.microsoft.com/office/drawing/2014/main" id="{99DCB6C7-1ECD-439A-BC92-CFC6A8DA4913}"/>
                  </a:ext>
                </a:extLst>
              </p:cNvPr>
              <p:cNvSpPr/>
              <p:nvPr/>
            </p:nvSpPr>
            <p:spPr>
              <a:xfrm>
                <a:off x="8516275" y="6271811"/>
                <a:ext cx="91440" cy="92710"/>
              </a:xfrm>
              <a:custGeom>
                <a:avLst/>
                <a:gdLst/>
                <a:ahLst/>
                <a:cxnLst/>
                <a:rect l="l" t="t" r="r" b="b"/>
                <a:pathLst>
                  <a:path w="91440" h="92710">
                    <a:moveTo>
                      <a:pt x="50050" y="0"/>
                    </a:moveTo>
                    <a:lnTo>
                      <a:pt x="0" y="92151"/>
                    </a:lnTo>
                    <a:lnTo>
                      <a:pt x="90995" y="41414"/>
                    </a:lnTo>
                  </a:path>
                </a:pathLst>
              </a:custGeom>
              <a:ln w="12700">
                <a:solidFill>
                  <a:schemeClr val="bg2"/>
                </a:solidFill>
              </a:ln>
            </p:spPr>
            <p:txBody>
              <a:bodyPr wrap="square" lIns="0" tIns="0" rIns="0" bIns="0" rtlCol="0"/>
              <a:lstStyle/>
              <a:p>
                <a:endParaRPr/>
              </a:p>
            </p:txBody>
          </p:sp>
          <p:sp>
            <p:nvSpPr>
              <p:cNvPr id="57" name="object 17">
                <a:extLst>
                  <a:ext uri="{FF2B5EF4-FFF2-40B4-BE49-F238E27FC236}">
                    <a16:creationId xmlns:a16="http://schemas.microsoft.com/office/drawing/2014/main" id="{873190E5-5692-452C-AC10-7CD757E81948}"/>
                  </a:ext>
                </a:extLst>
              </p:cNvPr>
              <p:cNvSpPr/>
              <p:nvPr/>
            </p:nvSpPr>
            <p:spPr>
              <a:xfrm>
                <a:off x="8164555" y="6184883"/>
                <a:ext cx="254000" cy="30480"/>
              </a:xfrm>
              <a:custGeom>
                <a:avLst/>
                <a:gdLst/>
                <a:ahLst/>
                <a:cxnLst/>
                <a:rect l="l" t="t" r="r" b="b"/>
                <a:pathLst>
                  <a:path w="254000" h="30479">
                    <a:moveTo>
                      <a:pt x="104901" y="0"/>
                    </a:moveTo>
                    <a:lnTo>
                      <a:pt x="149136" y="0"/>
                    </a:lnTo>
                    <a:lnTo>
                      <a:pt x="253847" y="30187"/>
                    </a:lnTo>
                    <a:lnTo>
                      <a:pt x="153835" y="30187"/>
                    </a:lnTo>
                    <a:lnTo>
                      <a:pt x="0" y="30187"/>
                    </a:lnTo>
                    <a:lnTo>
                      <a:pt x="104901" y="0"/>
                    </a:lnTo>
                    <a:close/>
                  </a:path>
                </a:pathLst>
              </a:custGeom>
              <a:ln w="12700">
                <a:solidFill>
                  <a:schemeClr val="bg2"/>
                </a:solidFill>
              </a:ln>
            </p:spPr>
            <p:txBody>
              <a:bodyPr wrap="square" lIns="0" tIns="0" rIns="0" bIns="0" rtlCol="0"/>
              <a:lstStyle/>
              <a:p>
                <a:endParaRPr/>
              </a:p>
            </p:txBody>
          </p:sp>
          <p:sp>
            <p:nvSpPr>
              <p:cNvPr id="58" name="object 18">
                <a:extLst>
                  <a:ext uri="{FF2B5EF4-FFF2-40B4-BE49-F238E27FC236}">
                    <a16:creationId xmlns:a16="http://schemas.microsoft.com/office/drawing/2014/main" id="{AD1117A2-8C39-4481-8A7A-0442884A60C3}"/>
                  </a:ext>
                </a:extLst>
              </p:cNvPr>
              <p:cNvSpPr/>
              <p:nvPr/>
            </p:nvSpPr>
            <p:spPr>
              <a:xfrm>
                <a:off x="8220333" y="6111744"/>
                <a:ext cx="142875" cy="28575"/>
              </a:xfrm>
              <a:custGeom>
                <a:avLst/>
                <a:gdLst/>
                <a:ahLst/>
                <a:cxnLst/>
                <a:rect l="l" t="t" r="r" b="b"/>
                <a:pathLst>
                  <a:path w="142875" h="28575">
                    <a:moveTo>
                      <a:pt x="60299" y="0"/>
                    </a:moveTo>
                    <a:lnTo>
                      <a:pt x="82232" y="0"/>
                    </a:lnTo>
                    <a:lnTo>
                      <a:pt x="142328" y="28384"/>
                    </a:lnTo>
                    <a:lnTo>
                      <a:pt x="0" y="28384"/>
                    </a:lnTo>
                    <a:lnTo>
                      <a:pt x="60299" y="0"/>
                    </a:lnTo>
                    <a:close/>
                  </a:path>
                </a:pathLst>
              </a:custGeom>
              <a:ln w="12700">
                <a:solidFill>
                  <a:schemeClr val="bg2"/>
                </a:solidFill>
              </a:ln>
            </p:spPr>
            <p:txBody>
              <a:bodyPr wrap="square" lIns="0" tIns="0" rIns="0" bIns="0" rtlCol="0"/>
              <a:lstStyle/>
              <a:p>
                <a:endParaRPr/>
              </a:p>
            </p:txBody>
          </p:sp>
          <p:sp>
            <p:nvSpPr>
              <p:cNvPr id="59" name="object 19">
                <a:extLst>
                  <a:ext uri="{FF2B5EF4-FFF2-40B4-BE49-F238E27FC236}">
                    <a16:creationId xmlns:a16="http://schemas.microsoft.com/office/drawing/2014/main" id="{652ED167-A171-4FD4-8226-4240BC6FDE69}"/>
                  </a:ext>
                </a:extLst>
              </p:cNvPr>
              <p:cNvSpPr/>
              <p:nvPr/>
            </p:nvSpPr>
            <p:spPr>
              <a:xfrm>
                <a:off x="8246643" y="6040373"/>
                <a:ext cx="90170" cy="322580"/>
              </a:xfrm>
              <a:custGeom>
                <a:avLst/>
                <a:gdLst/>
                <a:ahLst/>
                <a:cxnLst/>
                <a:rect l="l" t="t" r="r" b="b"/>
                <a:pathLst>
                  <a:path w="90170" h="322579">
                    <a:moveTo>
                      <a:pt x="69138" y="174269"/>
                    </a:moveTo>
                    <a:lnTo>
                      <a:pt x="0" y="322478"/>
                    </a:lnTo>
                    <a:lnTo>
                      <a:pt x="44996" y="0"/>
                    </a:lnTo>
                    <a:lnTo>
                      <a:pt x="89674" y="322478"/>
                    </a:lnTo>
                    <a:lnTo>
                      <a:pt x="20612" y="174701"/>
                    </a:lnTo>
                  </a:path>
                </a:pathLst>
              </a:custGeom>
              <a:ln w="12700">
                <a:solidFill>
                  <a:schemeClr val="bg2"/>
                </a:solidFill>
              </a:ln>
            </p:spPr>
            <p:txBody>
              <a:bodyPr wrap="square" lIns="0" tIns="0" rIns="0" bIns="0" rtlCol="0"/>
              <a:lstStyle/>
              <a:p>
                <a:endParaRPr/>
              </a:p>
            </p:txBody>
          </p:sp>
          <p:sp>
            <p:nvSpPr>
              <p:cNvPr id="60" name="object 20">
                <a:extLst>
                  <a:ext uri="{FF2B5EF4-FFF2-40B4-BE49-F238E27FC236}">
                    <a16:creationId xmlns:a16="http://schemas.microsoft.com/office/drawing/2014/main" id="{BE526F89-4C25-4200-89E3-10C915E2159C}"/>
                  </a:ext>
                </a:extLst>
              </p:cNvPr>
              <p:cNvSpPr/>
              <p:nvPr/>
            </p:nvSpPr>
            <p:spPr>
              <a:xfrm>
                <a:off x="8497296" y="6364602"/>
                <a:ext cx="529590" cy="111125"/>
              </a:xfrm>
              <a:custGeom>
                <a:avLst/>
                <a:gdLst/>
                <a:ahLst/>
                <a:cxnLst/>
                <a:rect l="l" t="t" r="r" b="b"/>
                <a:pathLst>
                  <a:path w="529590" h="111125">
                    <a:moveTo>
                      <a:pt x="201396" y="76"/>
                    </a:moveTo>
                    <a:lnTo>
                      <a:pt x="473849" y="0"/>
                    </a:lnTo>
                    <a:lnTo>
                      <a:pt x="512968" y="16202"/>
                    </a:lnTo>
                    <a:lnTo>
                      <a:pt x="529170" y="55321"/>
                    </a:lnTo>
                    <a:lnTo>
                      <a:pt x="524823" y="76856"/>
                    </a:lnTo>
                    <a:lnTo>
                      <a:pt x="512968" y="94440"/>
                    </a:lnTo>
                    <a:lnTo>
                      <a:pt x="495384" y="106295"/>
                    </a:lnTo>
                    <a:lnTo>
                      <a:pt x="473849" y="110642"/>
                    </a:lnTo>
                    <a:lnTo>
                      <a:pt x="0" y="110642"/>
                    </a:lnTo>
                  </a:path>
                </a:pathLst>
              </a:custGeom>
              <a:ln w="12699">
                <a:solidFill>
                  <a:schemeClr val="bg2"/>
                </a:solidFill>
              </a:ln>
            </p:spPr>
            <p:txBody>
              <a:bodyPr wrap="square" lIns="0" tIns="0" rIns="0" bIns="0" rtlCol="0"/>
              <a:lstStyle/>
              <a:p>
                <a:endParaRPr/>
              </a:p>
            </p:txBody>
          </p:sp>
          <p:sp>
            <p:nvSpPr>
              <p:cNvPr id="61" name="object 21">
                <a:extLst>
                  <a:ext uri="{FF2B5EF4-FFF2-40B4-BE49-F238E27FC236}">
                    <a16:creationId xmlns:a16="http://schemas.microsoft.com/office/drawing/2014/main" id="{BD728810-BFCD-40A6-85B9-70FDD972F5FD}"/>
                  </a:ext>
                </a:extLst>
              </p:cNvPr>
              <p:cNvSpPr/>
              <p:nvPr/>
            </p:nvSpPr>
            <p:spPr>
              <a:xfrm>
                <a:off x="8446492" y="6449843"/>
                <a:ext cx="50800" cy="50800"/>
              </a:xfrm>
              <a:custGeom>
                <a:avLst/>
                <a:gdLst/>
                <a:ahLst/>
                <a:cxnLst/>
                <a:rect l="l" t="t" r="r" b="b"/>
                <a:pathLst>
                  <a:path w="50800" h="50800">
                    <a:moveTo>
                      <a:pt x="25400" y="0"/>
                    </a:moveTo>
                    <a:lnTo>
                      <a:pt x="15510" y="1995"/>
                    </a:lnTo>
                    <a:lnTo>
                      <a:pt x="7437" y="7437"/>
                    </a:lnTo>
                    <a:lnTo>
                      <a:pt x="1995" y="15510"/>
                    </a:lnTo>
                    <a:lnTo>
                      <a:pt x="0" y="25400"/>
                    </a:lnTo>
                    <a:lnTo>
                      <a:pt x="1995" y="35289"/>
                    </a:lnTo>
                    <a:lnTo>
                      <a:pt x="7437" y="43362"/>
                    </a:lnTo>
                    <a:lnTo>
                      <a:pt x="15510" y="48804"/>
                    </a:lnTo>
                    <a:lnTo>
                      <a:pt x="25400" y="50800"/>
                    </a:lnTo>
                    <a:lnTo>
                      <a:pt x="35289" y="48804"/>
                    </a:lnTo>
                    <a:lnTo>
                      <a:pt x="43362" y="43362"/>
                    </a:lnTo>
                    <a:lnTo>
                      <a:pt x="48804" y="35289"/>
                    </a:lnTo>
                    <a:lnTo>
                      <a:pt x="50800" y="25400"/>
                    </a:lnTo>
                    <a:lnTo>
                      <a:pt x="48804" y="15510"/>
                    </a:lnTo>
                    <a:lnTo>
                      <a:pt x="43362" y="7437"/>
                    </a:lnTo>
                    <a:lnTo>
                      <a:pt x="35289" y="1995"/>
                    </a:lnTo>
                    <a:lnTo>
                      <a:pt x="25400" y="0"/>
                    </a:lnTo>
                    <a:close/>
                  </a:path>
                </a:pathLst>
              </a:custGeom>
              <a:ln w="12700">
                <a:solidFill>
                  <a:schemeClr val="bg2"/>
                </a:solidFill>
              </a:ln>
            </p:spPr>
            <p:txBody>
              <a:bodyPr wrap="square" lIns="0" tIns="0" rIns="0" bIns="0" rtlCol="0"/>
              <a:lstStyle/>
              <a:p>
                <a:endParaRPr/>
              </a:p>
            </p:txBody>
          </p:sp>
        </p:grpSp>
        <p:grpSp>
          <p:nvGrpSpPr>
            <p:cNvPr id="39" name="Group 38">
              <a:extLst>
                <a:ext uri="{FF2B5EF4-FFF2-40B4-BE49-F238E27FC236}">
                  <a16:creationId xmlns:a16="http://schemas.microsoft.com/office/drawing/2014/main" id="{78D2E19A-BE99-4FE4-9364-5D459004CF6B}"/>
                </a:ext>
              </a:extLst>
            </p:cNvPr>
            <p:cNvGrpSpPr/>
            <p:nvPr userDrawn="1"/>
          </p:nvGrpSpPr>
          <p:grpSpPr>
            <a:xfrm>
              <a:off x="7807856" y="6136761"/>
              <a:ext cx="194402" cy="233814"/>
              <a:chOff x="6199448" y="5757477"/>
              <a:chExt cx="445167" cy="535418"/>
            </a:xfrm>
          </p:grpSpPr>
          <p:sp>
            <p:nvSpPr>
              <p:cNvPr id="40" name="object 9">
                <a:extLst>
                  <a:ext uri="{FF2B5EF4-FFF2-40B4-BE49-F238E27FC236}">
                    <a16:creationId xmlns:a16="http://schemas.microsoft.com/office/drawing/2014/main" id="{117E5DD4-5948-49BD-9FA9-7364B9E826BE}"/>
                  </a:ext>
                </a:extLst>
              </p:cNvPr>
              <p:cNvSpPr/>
              <p:nvPr userDrawn="1"/>
            </p:nvSpPr>
            <p:spPr>
              <a:xfrm>
                <a:off x="6302730" y="6005107"/>
                <a:ext cx="59055" cy="54610"/>
              </a:xfrm>
              <a:custGeom>
                <a:avLst/>
                <a:gdLst/>
                <a:ahLst/>
                <a:cxnLst/>
                <a:rect l="l" t="t" r="r" b="b"/>
                <a:pathLst>
                  <a:path w="59054" h="54610">
                    <a:moveTo>
                      <a:pt x="58623" y="0"/>
                    </a:moveTo>
                    <a:lnTo>
                      <a:pt x="0" y="54051"/>
                    </a:lnTo>
                  </a:path>
                </a:pathLst>
              </a:custGeom>
              <a:ln w="12700">
                <a:solidFill>
                  <a:schemeClr val="bg2"/>
                </a:solidFill>
              </a:ln>
            </p:spPr>
            <p:txBody>
              <a:bodyPr wrap="square" lIns="0" tIns="0" rIns="0" bIns="0" rtlCol="0"/>
              <a:lstStyle/>
              <a:p>
                <a:endParaRPr/>
              </a:p>
            </p:txBody>
          </p:sp>
          <p:sp>
            <p:nvSpPr>
              <p:cNvPr id="41" name="object 10">
                <a:extLst>
                  <a:ext uri="{FF2B5EF4-FFF2-40B4-BE49-F238E27FC236}">
                    <a16:creationId xmlns:a16="http://schemas.microsoft.com/office/drawing/2014/main" id="{40926237-0339-432D-A76D-AAA3330C4127}"/>
                  </a:ext>
                </a:extLst>
              </p:cNvPr>
              <p:cNvSpPr/>
              <p:nvPr userDrawn="1"/>
            </p:nvSpPr>
            <p:spPr>
              <a:xfrm>
                <a:off x="6571235" y="6064810"/>
                <a:ext cx="40005" cy="34290"/>
              </a:xfrm>
              <a:custGeom>
                <a:avLst/>
                <a:gdLst/>
                <a:ahLst/>
                <a:cxnLst/>
                <a:rect l="l" t="t" r="r" b="b"/>
                <a:pathLst>
                  <a:path w="40004" h="34289">
                    <a:moveTo>
                      <a:pt x="39458" y="0"/>
                    </a:moveTo>
                    <a:lnTo>
                      <a:pt x="0" y="33693"/>
                    </a:lnTo>
                  </a:path>
                </a:pathLst>
              </a:custGeom>
              <a:ln w="12699">
                <a:solidFill>
                  <a:schemeClr val="bg2"/>
                </a:solidFill>
              </a:ln>
            </p:spPr>
            <p:txBody>
              <a:bodyPr wrap="square" lIns="0" tIns="0" rIns="0" bIns="0" rtlCol="0"/>
              <a:lstStyle/>
              <a:p>
                <a:endParaRPr/>
              </a:p>
            </p:txBody>
          </p:sp>
          <p:sp>
            <p:nvSpPr>
              <p:cNvPr id="42" name="object 11">
                <a:extLst>
                  <a:ext uri="{FF2B5EF4-FFF2-40B4-BE49-F238E27FC236}">
                    <a16:creationId xmlns:a16="http://schemas.microsoft.com/office/drawing/2014/main" id="{228FBEC8-F6CD-401D-A90F-0A69CA70F535}"/>
                  </a:ext>
                </a:extLst>
              </p:cNvPr>
              <p:cNvSpPr/>
              <p:nvPr userDrawn="1"/>
            </p:nvSpPr>
            <p:spPr>
              <a:xfrm>
                <a:off x="6199448" y="5757477"/>
                <a:ext cx="238760" cy="361315"/>
              </a:xfrm>
              <a:custGeom>
                <a:avLst/>
                <a:gdLst/>
                <a:ahLst/>
                <a:cxnLst/>
                <a:rect l="l" t="t" r="r" b="b"/>
                <a:pathLst>
                  <a:path w="238760" h="361314">
                    <a:moveTo>
                      <a:pt x="152401" y="0"/>
                    </a:moveTo>
                    <a:lnTo>
                      <a:pt x="206338" y="59621"/>
                    </a:lnTo>
                    <a:lnTo>
                      <a:pt x="232472" y="101546"/>
                    </a:lnTo>
                    <a:lnTo>
                      <a:pt x="238141" y="145618"/>
                    </a:lnTo>
                    <a:lnTo>
                      <a:pt x="230684" y="211683"/>
                    </a:lnTo>
                    <a:lnTo>
                      <a:pt x="202566" y="282121"/>
                    </a:lnTo>
                    <a:lnTo>
                      <a:pt x="155738" y="328306"/>
                    </a:lnTo>
                    <a:lnTo>
                      <a:pt x="111801" y="353570"/>
                    </a:lnTo>
                    <a:lnTo>
                      <a:pt x="92356" y="361251"/>
                    </a:lnTo>
                    <a:lnTo>
                      <a:pt x="35759" y="331100"/>
                    </a:lnTo>
                    <a:lnTo>
                      <a:pt x="7724" y="306879"/>
                    </a:lnTo>
                    <a:lnTo>
                      <a:pt x="0" y="275833"/>
                    </a:lnTo>
                    <a:lnTo>
                      <a:pt x="4332" y="225209"/>
                    </a:lnTo>
                    <a:lnTo>
                      <a:pt x="18791" y="180068"/>
                    </a:lnTo>
                    <a:lnTo>
                      <a:pt x="47033" y="134047"/>
                    </a:lnTo>
                    <a:lnTo>
                      <a:pt x="81786" y="90087"/>
                    </a:lnTo>
                    <a:lnTo>
                      <a:pt x="115780" y="51131"/>
                    </a:lnTo>
                    <a:lnTo>
                      <a:pt x="141742" y="20121"/>
                    </a:lnTo>
                    <a:lnTo>
                      <a:pt x="152401" y="0"/>
                    </a:lnTo>
                    <a:close/>
                  </a:path>
                </a:pathLst>
              </a:custGeom>
              <a:ln w="12700">
                <a:solidFill>
                  <a:schemeClr val="bg2"/>
                </a:solidFill>
              </a:ln>
            </p:spPr>
            <p:txBody>
              <a:bodyPr wrap="square" lIns="0" tIns="0" rIns="0" bIns="0" rtlCol="0"/>
              <a:lstStyle/>
              <a:p>
                <a:endParaRPr/>
              </a:p>
            </p:txBody>
          </p:sp>
          <p:sp>
            <p:nvSpPr>
              <p:cNvPr id="43" name="object 12">
                <a:extLst>
                  <a:ext uri="{FF2B5EF4-FFF2-40B4-BE49-F238E27FC236}">
                    <a16:creationId xmlns:a16="http://schemas.microsoft.com/office/drawing/2014/main" id="{9B776CF1-AAF6-4002-9CEB-C4507AF9A4EC}"/>
                  </a:ext>
                </a:extLst>
              </p:cNvPr>
              <p:cNvSpPr/>
              <p:nvPr userDrawn="1"/>
            </p:nvSpPr>
            <p:spPr>
              <a:xfrm>
                <a:off x="6291800" y="5958885"/>
                <a:ext cx="29845" cy="334010"/>
              </a:xfrm>
              <a:custGeom>
                <a:avLst/>
                <a:gdLst/>
                <a:ahLst/>
                <a:cxnLst/>
                <a:rect l="l" t="t" r="r" b="b"/>
                <a:pathLst>
                  <a:path w="29845" h="334010">
                    <a:moveTo>
                      <a:pt x="0" y="333590"/>
                    </a:moveTo>
                    <a:lnTo>
                      <a:pt x="0" y="159842"/>
                    </a:lnTo>
                    <a:lnTo>
                      <a:pt x="29337" y="0"/>
                    </a:lnTo>
                  </a:path>
                </a:pathLst>
              </a:custGeom>
              <a:ln w="12700">
                <a:solidFill>
                  <a:schemeClr val="bg2"/>
                </a:solidFill>
              </a:ln>
            </p:spPr>
            <p:txBody>
              <a:bodyPr wrap="square" lIns="0" tIns="0" rIns="0" bIns="0" rtlCol="0"/>
              <a:lstStyle/>
              <a:p>
                <a:endParaRPr/>
              </a:p>
            </p:txBody>
          </p:sp>
          <p:sp>
            <p:nvSpPr>
              <p:cNvPr id="44" name="object 13">
                <a:extLst>
                  <a:ext uri="{FF2B5EF4-FFF2-40B4-BE49-F238E27FC236}">
                    <a16:creationId xmlns:a16="http://schemas.microsoft.com/office/drawing/2014/main" id="{521084B1-A51E-4F5D-811C-413E80708971}"/>
                  </a:ext>
                </a:extLst>
              </p:cNvPr>
              <p:cNvSpPr/>
              <p:nvPr userDrawn="1"/>
            </p:nvSpPr>
            <p:spPr>
              <a:xfrm>
                <a:off x="6509995" y="5895716"/>
                <a:ext cx="134620" cy="271780"/>
              </a:xfrm>
              <a:custGeom>
                <a:avLst/>
                <a:gdLst/>
                <a:ahLst/>
                <a:cxnLst/>
                <a:rect l="l" t="t" r="r" b="b"/>
                <a:pathLst>
                  <a:path w="134620" h="271779">
                    <a:moveTo>
                      <a:pt x="49169" y="271462"/>
                    </a:moveTo>
                    <a:lnTo>
                      <a:pt x="98809" y="244084"/>
                    </a:lnTo>
                    <a:lnTo>
                      <a:pt x="124248" y="222365"/>
                    </a:lnTo>
                    <a:lnTo>
                      <a:pt x="133490" y="194972"/>
                    </a:lnTo>
                    <a:lnTo>
                      <a:pt x="134539" y="150571"/>
                    </a:lnTo>
                    <a:lnTo>
                      <a:pt x="129037" y="97915"/>
                    </a:lnTo>
                    <a:lnTo>
                      <a:pt x="116451" y="54292"/>
                    </a:lnTo>
                    <a:lnTo>
                      <a:pt x="101517" y="21165"/>
                    </a:lnTo>
                    <a:lnTo>
                      <a:pt x="88971" y="0"/>
                    </a:lnTo>
                    <a:lnTo>
                      <a:pt x="67453" y="33982"/>
                    </a:lnTo>
                    <a:lnTo>
                      <a:pt x="53324" y="55833"/>
                    </a:lnTo>
                    <a:lnTo>
                      <a:pt x="40320" y="75025"/>
                    </a:lnTo>
                    <a:lnTo>
                      <a:pt x="22182" y="101028"/>
                    </a:lnTo>
                    <a:lnTo>
                      <a:pt x="3912" y="139522"/>
                    </a:lnTo>
                    <a:lnTo>
                      <a:pt x="0" y="183183"/>
                    </a:lnTo>
                    <a:lnTo>
                      <a:pt x="13925" y="228374"/>
                    </a:lnTo>
                    <a:lnTo>
                      <a:pt x="49169" y="271462"/>
                    </a:lnTo>
                    <a:close/>
                  </a:path>
                </a:pathLst>
              </a:custGeom>
              <a:ln w="12700">
                <a:solidFill>
                  <a:schemeClr val="bg2"/>
                </a:solidFill>
              </a:ln>
            </p:spPr>
            <p:txBody>
              <a:bodyPr wrap="square" lIns="0" tIns="0" rIns="0" bIns="0" rtlCol="0"/>
              <a:lstStyle/>
              <a:p>
                <a:endParaRPr/>
              </a:p>
            </p:txBody>
          </p:sp>
          <p:sp>
            <p:nvSpPr>
              <p:cNvPr id="45" name="object 14">
                <a:extLst>
                  <a:ext uri="{FF2B5EF4-FFF2-40B4-BE49-F238E27FC236}">
                    <a16:creationId xmlns:a16="http://schemas.microsoft.com/office/drawing/2014/main" id="{334541F4-5D70-45CD-9A4C-997F5EE281CB}"/>
                  </a:ext>
                </a:extLst>
              </p:cNvPr>
              <p:cNvSpPr/>
              <p:nvPr userDrawn="1"/>
            </p:nvSpPr>
            <p:spPr>
              <a:xfrm>
                <a:off x="6559165" y="6040621"/>
                <a:ext cx="22860" cy="252095"/>
              </a:xfrm>
              <a:custGeom>
                <a:avLst/>
                <a:gdLst/>
                <a:ahLst/>
                <a:cxnLst/>
                <a:rect l="l" t="t" r="r" b="b"/>
                <a:pathLst>
                  <a:path w="22859" h="252095">
                    <a:moveTo>
                      <a:pt x="22250" y="0"/>
                    </a:moveTo>
                    <a:lnTo>
                      <a:pt x="0" y="126555"/>
                    </a:lnTo>
                    <a:lnTo>
                      <a:pt x="0" y="251853"/>
                    </a:lnTo>
                  </a:path>
                </a:pathLst>
              </a:custGeom>
              <a:ln w="12700">
                <a:solidFill>
                  <a:schemeClr val="bg2"/>
                </a:solidFill>
              </a:ln>
            </p:spPr>
            <p:txBody>
              <a:bodyPr wrap="square" lIns="0" tIns="0" rIns="0" bIns="0" rtlCol="0"/>
              <a:lstStyle/>
              <a:p>
                <a:endParaRPr/>
              </a:p>
            </p:txBody>
          </p:sp>
        </p:grpSp>
      </p:grpSp>
    </p:spTree>
    <p:extLst>
      <p:ext uri="{BB962C8B-B14F-4D97-AF65-F5344CB8AC3E}">
        <p14:creationId xmlns:p14="http://schemas.microsoft.com/office/powerpoint/2010/main" val="316025270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1_Content in 3 colums + Not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lvl1pPr>
          </a:lstStyle>
          <a:p>
            <a:endParaRPr lang="en-GB"/>
          </a:p>
        </p:txBody>
      </p:sp>
      <p:sp>
        <p:nvSpPr>
          <p:cNvPr id="8"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9" name="Titelplatzhalter 10">
            <a:extLst>
              <a:ext uri="{FF2B5EF4-FFF2-40B4-BE49-F238E27FC236}">
                <a16:creationId xmlns:a16="http://schemas.microsoft.com/office/drawing/2014/main" id="{95EB53E9-404A-46C9-A447-DBA71B00F96C}"/>
              </a:ext>
            </a:extLst>
          </p:cNvPr>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14" name="Textplatzhalter 17">
            <a:extLst>
              <a:ext uri="{FF2B5EF4-FFF2-40B4-BE49-F238E27FC236}">
                <a16:creationId xmlns:a16="http://schemas.microsoft.com/office/drawing/2014/main" id="{50F90D1E-D944-4C73-B14F-B2A9D89D1F3A}"/>
              </a:ext>
            </a:extLst>
          </p:cNvPr>
          <p:cNvSpPr>
            <a:spLocks noGrp="1"/>
          </p:cNvSpPr>
          <p:nvPr>
            <p:ph type="body" sz="quarter" idx="16" hasCustomPrompt="1"/>
          </p:nvPr>
        </p:nvSpPr>
        <p:spPr>
          <a:xfrm>
            <a:off x="914400" y="5378400"/>
            <a:ext cx="9792000" cy="547232"/>
          </a:xfrm>
          <a:prstGeom prst="rect">
            <a:avLst/>
          </a:prstGeom>
        </p:spPr>
        <p:txBody>
          <a:bodyPr>
            <a:normAutofit/>
          </a:bodyPr>
          <a:lstStyle>
            <a:lvl1pPr>
              <a:lnSpc>
                <a:spcPts val="1400"/>
              </a:lnSpc>
              <a:spcBef>
                <a:spcPts val="219"/>
              </a:spcBef>
              <a:defRPr sz="1100" b="0" baseline="0">
                <a:solidFill>
                  <a:schemeClr val="accent2"/>
                </a:solidFill>
              </a:defRPr>
            </a:lvl1pPr>
          </a:lstStyle>
          <a:p>
            <a:r>
              <a:rPr lang="en-GB" b="1">
                <a:solidFill>
                  <a:schemeClr val="bg2"/>
                </a:solidFill>
              </a:rPr>
              <a:t>This is a minor note, </a:t>
            </a:r>
            <a:r>
              <a:rPr lang="en-GB"/>
              <a:t>meaning that no final version is available yet. This is running text in black, meaning that no final version is available yet.</a:t>
            </a:r>
          </a:p>
        </p:txBody>
      </p:sp>
      <p:sp>
        <p:nvSpPr>
          <p:cNvPr id="15" name="Text Placeholder 2">
            <a:extLst>
              <a:ext uri="{FF2B5EF4-FFF2-40B4-BE49-F238E27FC236}">
                <a16:creationId xmlns:a16="http://schemas.microsoft.com/office/drawing/2014/main" id="{9604D8E5-6B41-4978-BADF-E9F4F7570232}"/>
              </a:ext>
            </a:extLst>
          </p:cNvPr>
          <p:cNvSpPr>
            <a:spLocks noGrp="1"/>
          </p:cNvSpPr>
          <p:nvPr>
            <p:ph type="body" sz="quarter" idx="12" hasCustomPrompt="1"/>
          </p:nvPr>
        </p:nvSpPr>
        <p:spPr>
          <a:xfrm>
            <a:off x="911424" y="1952601"/>
            <a:ext cx="3132000" cy="3132584"/>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811350" indent="-285750">
              <a:lnSpc>
                <a:spcPts val="20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sp>
        <p:nvSpPr>
          <p:cNvPr id="17" name="Text Placeholder 2">
            <a:extLst>
              <a:ext uri="{FF2B5EF4-FFF2-40B4-BE49-F238E27FC236}">
                <a16:creationId xmlns:a16="http://schemas.microsoft.com/office/drawing/2014/main" id="{16719490-425A-4AA3-86A5-FE3F0BD96648}"/>
              </a:ext>
            </a:extLst>
          </p:cNvPr>
          <p:cNvSpPr>
            <a:spLocks noGrp="1"/>
          </p:cNvSpPr>
          <p:nvPr>
            <p:ph type="body" sz="quarter" idx="17" hasCustomPrompt="1"/>
          </p:nvPr>
        </p:nvSpPr>
        <p:spPr>
          <a:xfrm>
            <a:off x="4242912" y="1953594"/>
            <a:ext cx="3132000" cy="3132584"/>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811350" indent="-285750">
              <a:lnSpc>
                <a:spcPts val="20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sp>
        <p:nvSpPr>
          <p:cNvPr id="18" name="Text Placeholder 2">
            <a:extLst>
              <a:ext uri="{FF2B5EF4-FFF2-40B4-BE49-F238E27FC236}">
                <a16:creationId xmlns:a16="http://schemas.microsoft.com/office/drawing/2014/main" id="{71414F6D-484C-4D58-BBB0-ADF109A8F62E}"/>
              </a:ext>
            </a:extLst>
          </p:cNvPr>
          <p:cNvSpPr>
            <a:spLocks noGrp="1"/>
          </p:cNvSpPr>
          <p:nvPr>
            <p:ph type="body" sz="quarter" idx="18" hasCustomPrompt="1"/>
          </p:nvPr>
        </p:nvSpPr>
        <p:spPr>
          <a:xfrm>
            <a:off x="7574400" y="1952601"/>
            <a:ext cx="3132000" cy="3132584"/>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811350" indent="-285750">
              <a:lnSpc>
                <a:spcPts val="20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spTree>
    <p:extLst>
      <p:ext uri="{BB962C8B-B14F-4D97-AF65-F5344CB8AC3E}">
        <p14:creationId xmlns:p14="http://schemas.microsoft.com/office/powerpoint/2010/main" val="214211354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2_Content with image">
    <p:spTree>
      <p:nvGrpSpPr>
        <p:cNvPr id="1" name=""/>
        <p:cNvGrpSpPr/>
        <p:nvPr/>
      </p:nvGrpSpPr>
      <p:grpSpPr>
        <a:xfrm>
          <a:off x="0" y="0"/>
          <a:ext cx="0" cy="0"/>
          <a:chOff x="0" y="0"/>
          <a:chExt cx="0" cy="0"/>
        </a:xfrm>
      </p:grpSpPr>
      <p:sp>
        <p:nvSpPr>
          <p:cNvPr id="14" name="Bildplatzhalter 13"/>
          <p:cNvSpPr>
            <a:spLocks noGrp="1"/>
          </p:cNvSpPr>
          <p:nvPr>
            <p:ph type="pic" sz="quarter" idx="14"/>
          </p:nvPr>
        </p:nvSpPr>
        <p:spPr>
          <a:xfrm>
            <a:off x="914400" y="1676400"/>
            <a:ext cx="10731000" cy="4518000"/>
          </a:xfrm>
          <a:prstGeom prst="rect">
            <a:avLst/>
          </a:prstGeom>
          <a:solidFill>
            <a:schemeClr val="tx2">
              <a:alpha val="52000"/>
            </a:schemeClr>
          </a:solidFill>
        </p:spPr>
        <p:txBody>
          <a:bodyPr>
            <a:normAutofit/>
          </a:bodyPr>
          <a:lstStyle>
            <a:lvl1pPr>
              <a:defRPr sz="1400">
                <a:solidFill>
                  <a:schemeClr val="accent2"/>
                </a:solidFill>
              </a:defRPr>
            </a:lvl1pPr>
          </a:lstStyle>
          <a:p>
            <a:endParaRPr lang="de-DE"/>
          </a:p>
        </p:txBody>
      </p:sp>
      <p:sp>
        <p:nvSpPr>
          <p:cNvPr id="3" name="Fußzeilenplatzhalter 2"/>
          <p:cNvSpPr>
            <a:spLocks noGrp="1"/>
          </p:cNvSpPr>
          <p:nvPr>
            <p:ph type="ftr" sz="quarter" idx="10"/>
          </p:nvPr>
        </p:nvSpPr>
        <p:spPr/>
        <p:txBody>
          <a:bodyPr/>
          <a:lstStyle>
            <a:lvl1pPr>
              <a:defRPr/>
            </a:lvl1pPr>
          </a:lstStyle>
          <a:p>
            <a:endParaRPr lang="en-GB"/>
          </a:p>
        </p:txBody>
      </p:sp>
      <p:sp>
        <p:nvSpPr>
          <p:cNvPr id="8"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9" name="Titelplatzhalter 41">
            <a:extLst>
              <a:ext uri="{FF2B5EF4-FFF2-40B4-BE49-F238E27FC236}">
                <a16:creationId xmlns:a16="http://schemas.microsoft.com/office/drawing/2014/main" id="{1C8D62FD-DEFF-4948-AC0D-D16E7681D472}"/>
              </a:ext>
            </a:extLst>
          </p:cNvPr>
          <p:cNvSpPr>
            <a:spLocks noGrp="1"/>
          </p:cNvSpPr>
          <p:nvPr>
            <p:ph type="title" hasCustomPrompt="1"/>
          </p:nvPr>
        </p:nvSpPr>
        <p:spPr>
          <a:xfrm>
            <a:off x="914400" y="908720"/>
            <a:ext cx="9448800" cy="487362"/>
          </a:xfrm>
          <a:prstGeom prst="rect">
            <a:avLst/>
          </a:prstGeom>
        </p:spPr>
        <p:txBody>
          <a:bodyPr vert="horz" wrap="none" lIns="0" tIns="0" rIns="0" bIns="0" rtlCol="0" anchor="t">
            <a:normAutofit/>
          </a:bodyPr>
          <a:lstStyle>
            <a:lvl1pPr marL="0" marR="0" indent="0" algn="l" defTabSz="457200" rtl="0" eaLnBrk="1" fontAlgn="auto" latinLnBrk="0" hangingPunct="1">
              <a:lnSpc>
                <a:spcPct val="100000"/>
              </a:lnSpc>
              <a:spcBef>
                <a:spcPct val="0"/>
              </a:spcBef>
              <a:spcAft>
                <a:spcPts val="0"/>
              </a:spcAft>
              <a:buClrTx/>
              <a:buSzTx/>
              <a:buFontTx/>
              <a:buNone/>
              <a:tabLst/>
              <a:defRPr lang="de-DE" sz="2200" b="1" i="0" kern="1200">
                <a:solidFill>
                  <a:schemeClr val="accent2"/>
                </a:solidFill>
                <a:latin typeface="Arial"/>
                <a:ea typeface="+mn-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a:t>Heading with image</a:t>
            </a:r>
            <a:endParaRPr lang="de-DE"/>
          </a:p>
        </p:txBody>
      </p:sp>
    </p:spTree>
    <p:extLst>
      <p:ext uri="{BB962C8B-B14F-4D97-AF65-F5344CB8AC3E}">
        <p14:creationId xmlns:p14="http://schemas.microsoft.com/office/powerpoint/2010/main" val="29743043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8_ENTSO-E Three columns">
    <p:spTree>
      <p:nvGrpSpPr>
        <p:cNvPr id="1" name=""/>
        <p:cNvGrpSpPr/>
        <p:nvPr/>
      </p:nvGrpSpPr>
      <p:grpSpPr>
        <a:xfrm>
          <a:off x="0" y="0"/>
          <a:ext cx="0" cy="0"/>
          <a:chOff x="0" y="0"/>
          <a:chExt cx="0" cy="0"/>
        </a:xfrm>
      </p:grpSpPr>
      <p:sp>
        <p:nvSpPr>
          <p:cNvPr id="13" name="Textplatzhalter 3"/>
          <p:cNvSpPr>
            <a:spLocks noGrp="1"/>
          </p:cNvSpPr>
          <p:nvPr>
            <p:ph type="body" sz="quarter" idx="16" hasCustomPrompt="1"/>
          </p:nvPr>
        </p:nvSpPr>
        <p:spPr>
          <a:xfrm>
            <a:off x="382588" y="1297579"/>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
        <p:nvSpPr>
          <p:cNvPr id="14" name="Inhaltsplatzhalter 2">
            <a:extLst>
              <a:ext uri="{FF2B5EF4-FFF2-40B4-BE49-F238E27FC236}">
                <a16:creationId xmlns:a16="http://schemas.microsoft.com/office/drawing/2014/main" id="{9341F4E3-0CAE-4A14-AD42-9C698E28F0E7}"/>
              </a:ext>
            </a:extLst>
          </p:cNvPr>
          <p:cNvSpPr>
            <a:spLocks noGrp="1"/>
          </p:cNvSpPr>
          <p:nvPr>
            <p:ph idx="18" hasCustomPrompt="1"/>
          </p:nvPr>
        </p:nvSpPr>
        <p:spPr>
          <a:xfrm>
            <a:off x="380339" y="1844824"/>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5" name="Inhaltsplatzhalter 2">
            <a:extLst>
              <a:ext uri="{FF2B5EF4-FFF2-40B4-BE49-F238E27FC236}">
                <a16:creationId xmlns:a16="http://schemas.microsoft.com/office/drawing/2014/main" id="{E742937F-ADF9-487A-AB88-EE6EE0E8FD08}"/>
              </a:ext>
            </a:extLst>
          </p:cNvPr>
          <p:cNvSpPr>
            <a:spLocks noGrp="1"/>
          </p:cNvSpPr>
          <p:nvPr>
            <p:ph idx="19" hasCustomPrompt="1"/>
          </p:nvPr>
        </p:nvSpPr>
        <p:spPr>
          <a:xfrm>
            <a:off x="7923229" y="1844822"/>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7" name="Inhaltsplatzhalter 2">
            <a:extLst>
              <a:ext uri="{FF2B5EF4-FFF2-40B4-BE49-F238E27FC236}">
                <a16:creationId xmlns:a16="http://schemas.microsoft.com/office/drawing/2014/main" id="{C1294B06-543C-439B-844D-292C65223D9D}"/>
              </a:ext>
            </a:extLst>
          </p:cNvPr>
          <p:cNvSpPr>
            <a:spLocks noGrp="1"/>
          </p:cNvSpPr>
          <p:nvPr>
            <p:ph idx="20" hasCustomPrompt="1"/>
          </p:nvPr>
        </p:nvSpPr>
        <p:spPr>
          <a:xfrm>
            <a:off x="4151784" y="1844823"/>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9" name="Titel 5">
            <a:extLst>
              <a:ext uri="{FF2B5EF4-FFF2-40B4-BE49-F238E27FC236}">
                <a16:creationId xmlns:a16="http://schemas.microsoft.com/office/drawing/2014/main" id="{009D75ED-94BB-4DB3-A55E-CFA85E39F7A3}"/>
              </a:ext>
            </a:extLst>
          </p:cNvPr>
          <p:cNvSpPr>
            <a:spLocks noGrp="1"/>
          </p:cNvSpPr>
          <p:nvPr>
            <p:ph type="title" hasCustomPrompt="1"/>
          </p:nvPr>
        </p:nvSpPr>
        <p:spPr>
          <a:xfrm>
            <a:off x="380339" y="260648"/>
            <a:ext cx="11617788" cy="431325"/>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11" name="Textplatzhalter 11">
            <a:extLst>
              <a:ext uri="{FF2B5EF4-FFF2-40B4-BE49-F238E27FC236}">
                <a16:creationId xmlns:a16="http://schemas.microsoft.com/office/drawing/2014/main" id="{CDA0278C-3CB1-4B5A-B6A3-7F8C901572EF}"/>
              </a:ext>
            </a:extLst>
          </p:cNvPr>
          <p:cNvSpPr>
            <a:spLocks noGrp="1"/>
          </p:cNvSpPr>
          <p:nvPr>
            <p:ph type="body" sz="quarter" idx="12" hasCustomPrompt="1"/>
          </p:nvPr>
        </p:nvSpPr>
        <p:spPr>
          <a:xfrm>
            <a:off x="382588" y="785744"/>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Tree>
    <p:extLst>
      <p:ext uri="{BB962C8B-B14F-4D97-AF65-F5344CB8AC3E}">
        <p14:creationId xmlns:p14="http://schemas.microsoft.com/office/powerpoint/2010/main" val="3324511537"/>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orient="horz" pos="1049">
          <p15:clr>
            <a:srgbClr val="A4A3A4"/>
          </p15:clr>
        </p15:guide>
        <p15:guide id="5" orient="horz" pos="1480">
          <p15:clr>
            <a:srgbClr val="A4A3A4"/>
          </p15:clr>
        </p15:guide>
        <p15:guide id="6" orient="horz" pos="1548">
          <p15:clr>
            <a:srgbClr val="A4A3A4"/>
          </p15:clr>
        </p15:guide>
        <p15:guide id="7" orient="horz" pos="3634">
          <p15:clr>
            <a:srgbClr val="A4A3A4"/>
          </p15:clr>
        </p15:guide>
        <p15:guide id="8" pos="181">
          <p15:clr>
            <a:srgbClr val="A4A3A4"/>
          </p15:clr>
        </p15:guide>
        <p15:guide id="9" pos="7499">
          <p15:clr>
            <a:srgbClr val="A4A3A4"/>
          </p15:clr>
        </p15:guide>
        <p15:guide id="10" pos="3931">
          <p15:clr>
            <a:srgbClr val="A4A3A4"/>
          </p15:clr>
        </p15:guide>
        <p15:guide id="11" pos="3749">
          <p15:clr>
            <a:srgbClr val="A4A3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3_Content in column with image + Note">
    <p:spTree>
      <p:nvGrpSpPr>
        <p:cNvPr id="1" name=""/>
        <p:cNvGrpSpPr/>
        <p:nvPr/>
      </p:nvGrpSpPr>
      <p:grpSpPr>
        <a:xfrm>
          <a:off x="0" y="0"/>
          <a:ext cx="0" cy="0"/>
          <a:chOff x="0" y="0"/>
          <a:chExt cx="0" cy="0"/>
        </a:xfrm>
      </p:grpSpPr>
      <p:sp>
        <p:nvSpPr>
          <p:cNvPr id="14" name="Bildplatzhalter 13"/>
          <p:cNvSpPr>
            <a:spLocks noGrp="1"/>
          </p:cNvSpPr>
          <p:nvPr>
            <p:ph type="pic" sz="quarter" idx="14"/>
          </p:nvPr>
        </p:nvSpPr>
        <p:spPr>
          <a:xfrm>
            <a:off x="5867400" y="1371600"/>
            <a:ext cx="5778000" cy="4518000"/>
          </a:xfrm>
          <a:prstGeom prst="rect">
            <a:avLst/>
          </a:prstGeom>
          <a:solidFill>
            <a:schemeClr val="tx2">
              <a:alpha val="52000"/>
            </a:schemeClr>
          </a:solidFill>
        </p:spPr>
        <p:txBody>
          <a:bodyPr>
            <a:normAutofit/>
          </a:bodyPr>
          <a:lstStyle>
            <a:lvl1pPr>
              <a:defRPr sz="1400"/>
            </a:lvl1pPr>
          </a:lstStyle>
          <a:p>
            <a:endParaRPr lang="de-DE"/>
          </a:p>
        </p:txBody>
      </p:sp>
      <p:sp>
        <p:nvSpPr>
          <p:cNvPr id="3" name="Fußzeilenplatzhalter 2"/>
          <p:cNvSpPr>
            <a:spLocks noGrp="1"/>
          </p:cNvSpPr>
          <p:nvPr>
            <p:ph type="ftr" sz="quarter" idx="10"/>
          </p:nvPr>
        </p:nvSpPr>
        <p:spPr/>
        <p:txBody>
          <a:bodyPr/>
          <a:lstStyle>
            <a:lvl1pPr>
              <a:defRPr/>
            </a:lvl1pPr>
          </a:lstStyle>
          <a:p>
            <a:endParaRPr lang="en-GB"/>
          </a:p>
        </p:txBody>
      </p:sp>
      <p:sp>
        <p:nvSpPr>
          <p:cNvPr id="18" name="Textplatzhalter 17"/>
          <p:cNvSpPr>
            <a:spLocks noGrp="1"/>
          </p:cNvSpPr>
          <p:nvPr>
            <p:ph type="body" sz="quarter" idx="16" hasCustomPrompt="1"/>
          </p:nvPr>
        </p:nvSpPr>
        <p:spPr>
          <a:xfrm>
            <a:off x="885600" y="5378400"/>
            <a:ext cx="4676400" cy="792088"/>
          </a:xfrm>
          <a:prstGeom prst="rect">
            <a:avLst/>
          </a:prstGeom>
        </p:spPr>
        <p:txBody>
          <a:bodyPr>
            <a:noAutofit/>
          </a:bodyPr>
          <a:lstStyle>
            <a:lvl1pPr>
              <a:lnSpc>
                <a:spcPts val="1400"/>
              </a:lnSpc>
              <a:spcBef>
                <a:spcPts val="219"/>
              </a:spcBef>
              <a:defRPr sz="1100" b="0" baseline="0">
                <a:solidFill>
                  <a:schemeClr val="accent2"/>
                </a:solidFill>
              </a:defRPr>
            </a:lvl1pPr>
          </a:lstStyle>
          <a:p>
            <a:r>
              <a:rPr lang="en-GB" b="1">
                <a:solidFill>
                  <a:schemeClr val="bg2"/>
                </a:solidFill>
              </a:rPr>
              <a:t>This is a minor note, </a:t>
            </a:r>
            <a:r>
              <a:rPr lang="en-GB"/>
              <a:t>meaning that no final version is available yet. This is running text in black, meaning that no final version is available yet.</a:t>
            </a:r>
          </a:p>
        </p:txBody>
      </p:sp>
      <p:sp>
        <p:nvSpPr>
          <p:cNvPr id="8"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9" name="Titelplatzhalter 41">
            <a:extLst>
              <a:ext uri="{FF2B5EF4-FFF2-40B4-BE49-F238E27FC236}">
                <a16:creationId xmlns:a16="http://schemas.microsoft.com/office/drawing/2014/main" id="{FEC71CCE-A187-494E-847D-2E73C58D6EC7}"/>
              </a:ext>
            </a:extLst>
          </p:cNvPr>
          <p:cNvSpPr>
            <a:spLocks noGrp="1"/>
          </p:cNvSpPr>
          <p:nvPr>
            <p:ph type="title" hasCustomPrompt="1"/>
          </p:nvPr>
        </p:nvSpPr>
        <p:spPr>
          <a:xfrm>
            <a:off x="914400" y="908720"/>
            <a:ext cx="4676400" cy="792088"/>
          </a:xfrm>
          <a:prstGeom prst="rect">
            <a:avLst/>
          </a:prstGeom>
        </p:spPr>
        <p:txBody>
          <a:bodyPr vert="horz" wrap="none" lIns="0" tIns="0" rIns="0" bIns="0" rtlCol="0" anchor="t">
            <a:normAutofit/>
          </a:bodyPr>
          <a:lstStyle>
            <a:lvl1pPr marL="0" marR="0" indent="0" algn="l" defTabSz="457200" rtl="0" eaLnBrk="1" fontAlgn="auto" latinLnBrk="0" hangingPunct="1">
              <a:lnSpc>
                <a:spcPct val="100000"/>
              </a:lnSpc>
              <a:spcBef>
                <a:spcPct val="0"/>
              </a:spcBef>
              <a:spcAft>
                <a:spcPts val="0"/>
              </a:spcAft>
              <a:buClrTx/>
              <a:buSzTx/>
              <a:buFontTx/>
              <a:buNone/>
              <a:tabLst/>
              <a:defRPr lang="de-DE" sz="2200" b="1" i="0" kern="1200">
                <a:solidFill>
                  <a:schemeClr val="accent2"/>
                </a:solidFill>
                <a:latin typeface="Arial"/>
                <a:ea typeface="+mn-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a:t>Page of continuing text with image</a:t>
            </a:r>
            <a:endParaRPr lang="de-DE"/>
          </a:p>
        </p:txBody>
      </p:sp>
      <p:sp>
        <p:nvSpPr>
          <p:cNvPr id="13" name="Text Placeholder 2">
            <a:extLst>
              <a:ext uri="{FF2B5EF4-FFF2-40B4-BE49-F238E27FC236}">
                <a16:creationId xmlns:a16="http://schemas.microsoft.com/office/drawing/2014/main" id="{17B9B276-D2BE-4780-B77D-BE3C75EF02E2}"/>
              </a:ext>
            </a:extLst>
          </p:cNvPr>
          <p:cNvSpPr>
            <a:spLocks noGrp="1"/>
          </p:cNvSpPr>
          <p:nvPr>
            <p:ph type="body" sz="quarter" idx="12" hasCustomPrompt="1"/>
          </p:nvPr>
        </p:nvSpPr>
        <p:spPr>
          <a:xfrm>
            <a:off x="914400" y="1676400"/>
            <a:ext cx="4676400" cy="3408785"/>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811350" indent="-285750">
              <a:lnSpc>
                <a:spcPts val="20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p>
          <a:p>
            <a:pPr lvl="3"/>
            <a:endParaRPr lang="de-DE"/>
          </a:p>
        </p:txBody>
      </p:sp>
    </p:spTree>
    <p:extLst>
      <p:ext uri="{BB962C8B-B14F-4D97-AF65-F5344CB8AC3E}">
        <p14:creationId xmlns:p14="http://schemas.microsoft.com/office/powerpoint/2010/main" val="382222559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4_Content in column with image + Summary">
    <p:spTree>
      <p:nvGrpSpPr>
        <p:cNvPr id="1" name=""/>
        <p:cNvGrpSpPr/>
        <p:nvPr/>
      </p:nvGrpSpPr>
      <p:grpSpPr>
        <a:xfrm>
          <a:off x="0" y="0"/>
          <a:ext cx="0" cy="0"/>
          <a:chOff x="0" y="0"/>
          <a:chExt cx="0" cy="0"/>
        </a:xfrm>
      </p:grpSpPr>
      <p:sp>
        <p:nvSpPr>
          <p:cNvPr id="14" name="Bildplatzhalter 13"/>
          <p:cNvSpPr>
            <a:spLocks noGrp="1"/>
          </p:cNvSpPr>
          <p:nvPr>
            <p:ph type="pic" sz="quarter" idx="14"/>
          </p:nvPr>
        </p:nvSpPr>
        <p:spPr>
          <a:xfrm>
            <a:off x="5867400" y="1371600"/>
            <a:ext cx="5778000" cy="4518000"/>
          </a:xfrm>
          <a:prstGeom prst="rect">
            <a:avLst/>
          </a:prstGeom>
          <a:solidFill>
            <a:schemeClr val="tx2">
              <a:alpha val="52000"/>
            </a:schemeClr>
          </a:solidFill>
        </p:spPr>
        <p:txBody>
          <a:bodyPr>
            <a:normAutofit/>
          </a:bodyPr>
          <a:lstStyle>
            <a:lvl1pPr>
              <a:defRPr sz="1400"/>
            </a:lvl1pPr>
          </a:lstStyle>
          <a:p>
            <a:endParaRPr lang="de-DE"/>
          </a:p>
        </p:txBody>
      </p:sp>
      <p:sp>
        <p:nvSpPr>
          <p:cNvPr id="3" name="Fußzeilenplatzhalter 2"/>
          <p:cNvSpPr>
            <a:spLocks noGrp="1"/>
          </p:cNvSpPr>
          <p:nvPr>
            <p:ph type="ftr" sz="quarter" idx="10"/>
          </p:nvPr>
        </p:nvSpPr>
        <p:spPr/>
        <p:txBody>
          <a:bodyPr/>
          <a:lstStyle>
            <a:lvl1pPr>
              <a:defRPr/>
            </a:lvl1pPr>
          </a:lstStyle>
          <a:p>
            <a:endParaRPr lang="en-GB"/>
          </a:p>
        </p:txBody>
      </p:sp>
      <p:sp>
        <p:nvSpPr>
          <p:cNvPr id="8"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9" name="Text Placeholder 2">
            <a:extLst>
              <a:ext uri="{FF2B5EF4-FFF2-40B4-BE49-F238E27FC236}">
                <a16:creationId xmlns:a16="http://schemas.microsoft.com/office/drawing/2014/main" id="{F47932DE-E654-4D7D-9474-6C28FB4A58E8}"/>
              </a:ext>
            </a:extLst>
          </p:cNvPr>
          <p:cNvSpPr>
            <a:spLocks noGrp="1"/>
          </p:cNvSpPr>
          <p:nvPr>
            <p:ph type="body" sz="quarter" idx="11" hasCustomPrompt="1"/>
          </p:nvPr>
        </p:nvSpPr>
        <p:spPr>
          <a:xfrm>
            <a:off x="914401" y="5300663"/>
            <a:ext cx="4677543" cy="611955"/>
          </a:xfrm>
          <a:prstGeom prst="rect">
            <a:avLst/>
          </a:prstGeom>
          <a:ln w="12700">
            <a:solidFill>
              <a:schemeClr val="bg2"/>
            </a:solidFill>
            <a:prstDash val="sysDot"/>
          </a:ln>
        </p:spPr>
        <p:txBody>
          <a:bodyPr anchor="ctr">
            <a:normAutofit/>
          </a:bodyPr>
          <a:lstStyle>
            <a:lvl1pPr>
              <a:defRPr lang="fr-BE" sz="2000" b="1" kern="1200" baseline="0" dirty="0">
                <a:solidFill>
                  <a:schemeClr val="bg2"/>
                </a:solidFill>
                <a:latin typeface="Arial"/>
                <a:ea typeface="+mj-ea"/>
                <a:cs typeface="Arial"/>
              </a:defRPr>
            </a:lvl1pPr>
          </a:lstStyle>
          <a:p>
            <a:pPr lvl="0"/>
            <a:r>
              <a:rPr lang="en-US"/>
              <a:t>Summary - 16 should be the smallest font size. two lines maximum.</a:t>
            </a:r>
            <a:endParaRPr lang="fr-BE"/>
          </a:p>
        </p:txBody>
      </p:sp>
      <p:sp>
        <p:nvSpPr>
          <p:cNvPr id="11" name="Titelplatzhalter 41">
            <a:extLst>
              <a:ext uri="{FF2B5EF4-FFF2-40B4-BE49-F238E27FC236}">
                <a16:creationId xmlns:a16="http://schemas.microsoft.com/office/drawing/2014/main" id="{4282911B-61D3-4FF0-B6F8-959455CAD804}"/>
              </a:ext>
            </a:extLst>
          </p:cNvPr>
          <p:cNvSpPr>
            <a:spLocks noGrp="1"/>
          </p:cNvSpPr>
          <p:nvPr>
            <p:ph type="title" hasCustomPrompt="1"/>
          </p:nvPr>
        </p:nvSpPr>
        <p:spPr>
          <a:xfrm>
            <a:off x="914400" y="908720"/>
            <a:ext cx="4677544" cy="792088"/>
          </a:xfrm>
          <a:prstGeom prst="rect">
            <a:avLst/>
          </a:prstGeom>
        </p:spPr>
        <p:txBody>
          <a:bodyPr vert="horz" wrap="none" lIns="0" tIns="0" rIns="0" bIns="0" rtlCol="0" anchor="t">
            <a:normAutofit/>
          </a:bodyPr>
          <a:lstStyle>
            <a:lvl1pPr marL="0" marR="0" indent="0" algn="l" defTabSz="457200" rtl="0" eaLnBrk="1" fontAlgn="auto" latinLnBrk="0" hangingPunct="1">
              <a:lnSpc>
                <a:spcPct val="100000"/>
              </a:lnSpc>
              <a:spcBef>
                <a:spcPct val="0"/>
              </a:spcBef>
              <a:spcAft>
                <a:spcPts val="0"/>
              </a:spcAft>
              <a:buClrTx/>
              <a:buSzTx/>
              <a:buFontTx/>
              <a:buNone/>
              <a:tabLst/>
              <a:defRPr lang="de-DE" sz="2200" b="1" i="0" kern="1200">
                <a:solidFill>
                  <a:schemeClr val="accent2"/>
                </a:solidFill>
                <a:latin typeface="Arial"/>
                <a:ea typeface="+mn-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a:t>Page of continuing text with image</a:t>
            </a:r>
            <a:endParaRPr lang="de-DE"/>
          </a:p>
        </p:txBody>
      </p:sp>
      <p:sp>
        <p:nvSpPr>
          <p:cNvPr id="12" name="Text Placeholder 2">
            <a:extLst>
              <a:ext uri="{FF2B5EF4-FFF2-40B4-BE49-F238E27FC236}">
                <a16:creationId xmlns:a16="http://schemas.microsoft.com/office/drawing/2014/main" id="{D4C656BF-3C5E-45CA-AB00-C9317B7D703A}"/>
              </a:ext>
            </a:extLst>
          </p:cNvPr>
          <p:cNvSpPr>
            <a:spLocks noGrp="1"/>
          </p:cNvSpPr>
          <p:nvPr>
            <p:ph type="body" sz="quarter" idx="12" hasCustomPrompt="1"/>
          </p:nvPr>
        </p:nvSpPr>
        <p:spPr>
          <a:xfrm>
            <a:off x="914400" y="1676400"/>
            <a:ext cx="4677544" cy="3408785"/>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811350" indent="-285750">
              <a:lnSpc>
                <a:spcPts val="20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p>
          <a:p>
            <a:pPr lvl="3"/>
            <a:endParaRPr lang="de-DE"/>
          </a:p>
        </p:txBody>
      </p:sp>
    </p:spTree>
    <p:extLst>
      <p:ext uri="{BB962C8B-B14F-4D97-AF65-F5344CB8AC3E}">
        <p14:creationId xmlns:p14="http://schemas.microsoft.com/office/powerpoint/2010/main" val="156329571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5_Content in column with large image + Summary">
    <p:spTree>
      <p:nvGrpSpPr>
        <p:cNvPr id="1" name=""/>
        <p:cNvGrpSpPr/>
        <p:nvPr/>
      </p:nvGrpSpPr>
      <p:grpSpPr>
        <a:xfrm>
          <a:off x="0" y="0"/>
          <a:ext cx="0" cy="0"/>
          <a:chOff x="0" y="0"/>
          <a:chExt cx="0" cy="0"/>
        </a:xfrm>
      </p:grpSpPr>
      <p:sp>
        <p:nvSpPr>
          <p:cNvPr id="14" name="Bildplatzhalter 13"/>
          <p:cNvSpPr>
            <a:spLocks noGrp="1"/>
          </p:cNvSpPr>
          <p:nvPr>
            <p:ph type="pic" sz="quarter" idx="14"/>
          </p:nvPr>
        </p:nvSpPr>
        <p:spPr>
          <a:xfrm>
            <a:off x="914400" y="1700807"/>
            <a:ext cx="6120000" cy="3708000"/>
          </a:xfrm>
          <a:prstGeom prst="rect">
            <a:avLst/>
          </a:prstGeom>
          <a:solidFill>
            <a:schemeClr val="tx2">
              <a:alpha val="52000"/>
            </a:schemeClr>
          </a:solidFill>
        </p:spPr>
        <p:txBody>
          <a:bodyPr>
            <a:normAutofit/>
          </a:bodyPr>
          <a:lstStyle>
            <a:lvl1pPr>
              <a:defRPr sz="1400"/>
            </a:lvl1pPr>
          </a:lstStyle>
          <a:p>
            <a:endParaRPr lang="de-DE"/>
          </a:p>
        </p:txBody>
      </p:sp>
      <p:sp>
        <p:nvSpPr>
          <p:cNvPr id="3" name="Fußzeilenplatzhalter 2"/>
          <p:cNvSpPr>
            <a:spLocks noGrp="1"/>
          </p:cNvSpPr>
          <p:nvPr>
            <p:ph type="ftr" sz="quarter" idx="10"/>
          </p:nvPr>
        </p:nvSpPr>
        <p:spPr/>
        <p:txBody>
          <a:bodyPr/>
          <a:lstStyle>
            <a:lvl1pPr>
              <a:defRPr/>
            </a:lvl1pPr>
          </a:lstStyle>
          <a:p>
            <a:endParaRPr lang="en-GB"/>
          </a:p>
        </p:txBody>
      </p:sp>
      <p:sp>
        <p:nvSpPr>
          <p:cNvPr id="8"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7" name="Text Placeholder 2">
            <a:extLst>
              <a:ext uri="{FF2B5EF4-FFF2-40B4-BE49-F238E27FC236}">
                <a16:creationId xmlns:a16="http://schemas.microsoft.com/office/drawing/2014/main" id="{64311C44-7487-4867-8765-2F776CB8C8FB}"/>
              </a:ext>
            </a:extLst>
          </p:cNvPr>
          <p:cNvSpPr>
            <a:spLocks noGrp="1"/>
          </p:cNvSpPr>
          <p:nvPr>
            <p:ph type="body" sz="quarter" idx="11" hasCustomPrompt="1"/>
          </p:nvPr>
        </p:nvSpPr>
        <p:spPr>
          <a:xfrm>
            <a:off x="914399" y="5635845"/>
            <a:ext cx="9792000" cy="612000"/>
          </a:xfrm>
          <a:prstGeom prst="rect">
            <a:avLst/>
          </a:prstGeom>
          <a:ln w="12700">
            <a:solidFill>
              <a:schemeClr val="bg2"/>
            </a:solidFill>
            <a:prstDash val="sysDot"/>
          </a:ln>
        </p:spPr>
        <p:txBody>
          <a:bodyPr anchor="ctr">
            <a:normAutofit/>
          </a:bodyPr>
          <a:lstStyle>
            <a:lvl1pPr>
              <a:defRPr lang="fr-BE" sz="2000" b="1" kern="1200" baseline="0" dirty="0">
                <a:solidFill>
                  <a:schemeClr val="bg2"/>
                </a:solidFill>
                <a:latin typeface="Arial"/>
                <a:ea typeface="+mj-ea"/>
                <a:cs typeface="Arial"/>
              </a:defRPr>
            </a:lvl1pPr>
          </a:lstStyle>
          <a:p>
            <a:pPr lvl="0"/>
            <a:r>
              <a:rPr lang="en-US"/>
              <a:t>Summary - 16 should be the smallest font size. The conclusion should only have two lines.</a:t>
            </a:r>
            <a:endParaRPr lang="fr-BE"/>
          </a:p>
        </p:txBody>
      </p:sp>
      <p:sp>
        <p:nvSpPr>
          <p:cNvPr id="12" name="Text Placeholder 2">
            <a:extLst>
              <a:ext uri="{FF2B5EF4-FFF2-40B4-BE49-F238E27FC236}">
                <a16:creationId xmlns:a16="http://schemas.microsoft.com/office/drawing/2014/main" id="{6E913027-C08A-4620-B1DC-E7E0A29CBB56}"/>
              </a:ext>
            </a:extLst>
          </p:cNvPr>
          <p:cNvSpPr>
            <a:spLocks noGrp="1"/>
          </p:cNvSpPr>
          <p:nvPr>
            <p:ph type="body" sz="quarter" idx="12" hasCustomPrompt="1"/>
          </p:nvPr>
        </p:nvSpPr>
        <p:spPr>
          <a:xfrm>
            <a:off x="7213200" y="1676400"/>
            <a:ext cx="3491312" cy="3408785"/>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811350" indent="-285750">
              <a:lnSpc>
                <a:spcPts val="20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p>
          <a:p>
            <a:pPr lvl="3"/>
            <a:endParaRPr lang="de-DE"/>
          </a:p>
        </p:txBody>
      </p:sp>
      <p:sp>
        <p:nvSpPr>
          <p:cNvPr id="9" name="Titelplatzhalter 41">
            <a:extLst>
              <a:ext uri="{FF2B5EF4-FFF2-40B4-BE49-F238E27FC236}">
                <a16:creationId xmlns:a16="http://schemas.microsoft.com/office/drawing/2014/main" id="{D88470A3-878C-4D62-B2D5-8F25B634A12E}"/>
              </a:ext>
            </a:extLst>
          </p:cNvPr>
          <p:cNvSpPr>
            <a:spLocks noGrp="1"/>
          </p:cNvSpPr>
          <p:nvPr>
            <p:ph type="title" hasCustomPrompt="1"/>
          </p:nvPr>
        </p:nvSpPr>
        <p:spPr>
          <a:xfrm>
            <a:off x="914400" y="908720"/>
            <a:ext cx="9448798" cy="792088"/>
          </a:xfrm>
          <a:prstGeom prst="rect">
            <a:avLst/>
          </a:prstGeom>
        </p:spPr>
        <p:txBody>
          <a:bodyPr vert="horz" wrap="none" lIns="0" tIns="0" rIns="0" bIns="0" rtlCol="0" anchor="t">
            <a:normAutofit/>
          </a:bodyPr>
          <a:lstStyle>
            <a:lvl1pPr marL="0" marR="0" indent="0" algn="l" defTabSz="457200" rtl="0" eaLnBrk="1" fontAlgn="auto" latinLnBrk="0" hangingPunct="1">
              <a:lnSpc>
                <a:spcPct val="100000"/>
              </a:lnSpc>
              <a:spcBef>
                <a:spcPct val="0"/>
              </a:spcBef>
              <a:spcAft>
                <a:spcPts val="0"/>
              </a:spcAft>
              <a:buClrTx/>
              <a:buSzTx/>
              <a:buFontTx/>
              <a:buNone/>
              <a:tabLst/>
              <a:defRPr lang="de-DE" sz="2200" b="1" i="0" kern="1200">
                <a:solidFill>
                  <a:schemeClr val="accent2"/>
                </a:solidFill>
                <a:latin typeface="Arial"/>
                <a:ea typeface="+mn-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a:t>Page of continuing text with image</a:t>
            </a:r>
            <a:endParaRPr lang="de-DE"/>
          </a:p>
        </p:txBody>
      </p:sp>
    </p:spTree>
    <p:extLst>
      <p:ext uri="{BB962C8B-B14F-4D97-AF65-F5344CB8AC3E}">
        <p14:creationId xmlns:p14="http://schemas.microsoft.com/office/powerpoint/2010/main" val="292285989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AE380D3-D43C-1BBD-B108-46EDA656D8CD}"/>
              </a:ext>
            </a:extLst>
          </p:cNvPr>
          <p:cNvGraphicFramePr>
            <a:graphicFrameLocks noChangeAspect="1"/>
          </p:cNvGraphicFramePr>
          <p:nvPr userDrawn="1">
            <p:custDataLst>
              <p:tags r:id="rId1"/>
            </p:custDataLst>
          </p:nvPr>
        </p:nvGraphicFramePr>
        <p:xfrm>
          <a:off x="1812" y="1440"/>
          <a:ext cx="1811" cy="1440"/>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2" name="think-cell data - do not delete" hidden="1">
                        <a:extLst>
                          <a:ext uri="{FF2B5EF4-FFF2-40B4-BE49-F238E27FC236}">
                            <a16:creationId xmlns:a16="http://schemas.microsoft.com/office/drawing/2014/main" id="{EAE380D3-D43C-1BBD-B108-46EDA656D8CD}"/>
                          </a:ext>
                        </a:extLst>
                      </p:cNvPr>
                      <p:cNvPicPr/>
                      <p:nvPr/>
                    </p:nvPicPr>
                    <p:blipFill>
                      <a:blip r:embed="rId4"/>
                      <a:stretch>
                        <a:fillRect/>
                      </a:stretch>
                    </p:blipFill>
                    <p:spPr>
                      <a:xfrm>
                        <a:off x="1812" y="1440"/>
                        <a:ext cx="1811" cy="1440"/>
                      </a:xfrm>
                      <a:prstGeom prst="rect">
                        <a:avLst/>
                      </a:prstGeom>
                    </p:spPr>
                  </p:pic>
                </p:oleObj>
              </mc:Fallback>
            </mc:AlternateContent>
          </a:graphicData>
        </a:graphic>
      </p:graphicFrame>
      <p:sp>
        <p:nvSpPr>
          <p:cNvPr id="5" name="Inhaltsplatzhalter 14"/>
          <p:cNvSpPr>
            <a:spLocks noGrp="1"/>
          </p:cNvSpPr>
          <p:nvPr>
            <p:ph sz="quarter" idx="13" hasCustomPrompt="1"/>
          </p:nvPr>
        </p:nvSpPr>
        <p:spPr>
          <a:xfrm>
            <a:off x="479425" y="1557342"/>
            <a:ext cx="11269662" cy="4535487"/>
          </a:xfrm>
        </p:spPr>
        <p:txBody>
          <a:bodyPr>
            <a:noAutofit/>
          </a:bodyPr>
          <a:lstStyle>
            <a:lvl1pPr marL="227169" indent="-227169" rtl="0">
              <a:buClr>
                <a:srgbClr val="5C2483"/>
              </a:buClr>
              <a:buFont typeface="Arial" panose="020B0604020202020204" pitchFamily="34" charset="0"/>
              <a:buChar char="•"/>
              <a:defRPr sz="1192"/>
            </a:lvl1pPr>
            <a:lvl2pPr rtl="0">
              <a:defRPr sz="1192"/>
            </a:lvl2pPr>
            <a:lvl3pPr rtl="0">
              <a:buClr>
                <a:srgbClr val="5C2483"/>
              </a:buClr>
              <a:defRPr sz="954"/>
            </a:lvl3pPr>
            <a:lvl4pPr rtl="0">
              <a:buClr>
                <a:srgbClr val="5C2483"/>
              </a:buClr>
              <a:defRPr sz="795"/>
            </a:lvl4pPr>
            <a:lvl5pPr rtl="0">
              <a:buClr>
                <a:srgbClr val="5C2483"/>
              </a:buClr>
              <a:defRPr sz="636"/>
            </a:lvl5pPr>
            <a:lvl6pPr marL="685239" indent="-121426">
              <a:buClr>
                <a:srgbClr val="5C2483"/>
              </a:buClr>
              <a:buFont typeface="Arial" panose="020B0604020202020204" pitchFamily="34" charset="0"/>
              <a:buChar char="•"/>
              <a:defRPr lang="de-DE" sz="636" dirty="0">
                <a:solidFill>
                  <a:schemeClr val="tx1"/>
                </a:solidFill>
                <a:latin typeface="+mn-lt"/>
              </a:defRPr>
            </a:lvl6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15" name="Textplatzhalter 14"/>
          <p:cNvSpPr>
            <a:spLocks noGrp="1"/>
          </p:cNvSpPr>
          <p:nvPr>
            <p:ph type="body" sz="quarter" idx="14" hasCustomPrompt="1"/>
          </p:nvPr>
        </p:nvSpPr>
        <p:spPr>
          <a:xfrm>
            <a:off x="479425" y="333376"/>
            <a:ext cx="9901238" cy="431800"/>
          </a:xfrm>
        </p:spPr>
        <p:txBody>
          <a:bodyPr tIns="0" rIns="0" bIns="0">
            <a:noAutofit/>
          </a:bodyPr>
          <a:lstStyle>
            <a:lvl1pPr rtl="0">
              <a:defRPr sz="2385" b="1" cap="all" baseline="0"/>
            </a:lvl1pPr>
          </a:lstStyle>
          <a:p>
            <a:pPr lvl="0"/>
            <a:r>
              <a:rPr lang="de-DE"/>
              <a:t>Titelzeile</a:t>
            </a:r>
          </a:p>
        </p:txBody>
      </p:sp>
      <p:sp>
        <p:nvSpPr>
          <p:cNvPr id="17" name="Textplatzhalter 16"/>
          <p:cNvSpPr>
            <a:spLocks noGrp="1"/>
          </p:cNvSpPr>
          <p:nvPr>
            <p:ph type="body" sz="quarter" idx="15" hasCustomPrompt="1"/>
          </p:nvPr>
        </p:nvSpPr>
        <p:spPr>
          <a:xfrm>
            <a:off x="479425" y="765176"/>
            <a:ext cx="9901238" cy="395288"/>
          </a:xfrm>
        </p:spPr>
        <p:txBody>
          <a:bodyPr tIns="0" rIns="0" bIns="0">
            <a:noAutofit/>
          </a:bodyPr>
          <a:lstStyle>
            <a:lvl1pPr rtl="0">
              <a:defRPr sz="1988" cap="all" baseline="0"/>
            </a:lvl1pPr>
          </a:lstStyle>
          <a:p>
            <a:pPr lvl="0"/>
            <a:r>
              <a:rPr lang="de-DE"/>
              <a:t>Unterzeile</a:t>
            </a:r>
          </a:p>
        </p:txBody>
      </p:sp>
      <p:sp>
        <p:nvSpPr>
          <p:cNvPr id="3" name="Datumsplatzhalter 2"/>
          <p:cNvSpPr>
            <a:spLocks noGrp="1"/>
          </p:cNvSpPr>
          <p:nvPr>
            <p:ph type="dt" sz="half" idx="16"/>
          </p:nvPr>
        </p:nvSpPr>
        <p:spPr/>
        <p:txBody>
          <a:bodyPr/>
          <a:lstStyle>
            <a:lvl1pPr rtl="0">
              <a:defRPr/>
            </a:lvl1pPr>
          </a:lstStyle>
          <a:p>
            <a:endParaRPr lang="de-DE"/>
          </a:p>
        </p:txBody>
      </p:sp>
      <p:sp>
        <p:nvSpPr>
          <p:cNvPr id="4" name="Fußzeilenplatzhalter 3"/>
          <p:cNvSpPr>
            <a:spLocks noGrp="1"/>
          </p:cNvSpPr>
          <p:nvPr>
            <p:ph type="ftr" sz="quarter" idx="17"/>
          </p:nvPr>
        </p:nvSpPr>
        <p:spPr/>
        <p:txBody>
          <a:bodyPr/>
          <a:lstStyle>
            <a:lvl1pPr rtl="0">
              <a:defRPr/>
            </a:lvl1pPr>
          </a:lstStyle>
          <a:p>
            <a:r>
              <a:rPr lang="de-DE"/>
              <a:t>  | </a:t>
            </a:r>
          </a:p>
        </p:txBody>
      </p:sp>
      <p:sp>
        <p:nvSpPr>
          <p:cNvPr id="7" name="Foliennummernplatzhalter 6"/>
          <p:cNvSpPr>
            <a:spLocks noGrp="1"/>
          </p:cNvSpPr>
          <p:nvPr>
            <p:ph type="sldNum" sz="quarter" idx="18"/>
          </p:nvPr>
        </p:nvSpPr>
        <p:spPr/>
        <p:txBody>
          <a:bodyPr/>
          <a:lstStyle>
            <a:lvl1pPr rtl="0">
              <a:defRPr/>
            </a:lvl1pPr>
          </a:lstStyle>
          <a:p>
            <a:fld id="{F261D492-7F4B-4A3C-808E-F109F4472C88}" type="slidenum">
              <a:rPr lang="de-DE" smtClean="0"/>
              <a:pPr/>
              <a:t>‹#›</a:t>
            </a:fld>
            <a:endParaRPr lang="de-DE"/>
          </a:p>
        </p:txBody>
      </p:sp>
    </p:spTree>
    <p:extLst>
      <p:ext uri="{BB962C8B-B14F-4D97-AF65-F5344CB8AC3E}">
        <p14:creationId xmlns:p14="http://schemas.microsoft.com/office/powerpoint/2010/main" val="880412484"/>
      </p:ext>
    </p:extLst>
  </p:cSld>
  <p:clrMapOvr>
    <a:masterClrMapping/>
  </p:clrMapOvr>
  <p:extLst>
    <p:ext uri="{DCECCB84-F9BA-43D5-87BE-67443E8EF086}">
      <p15:sldGuideLst xmlns:p15="http://schemas.microsoft.com/office/powerpoint/2012/main">
        <p15:guide id="1" orient="horz" pos="981">
          <p15:clr>
            <a:srgbClr val="FBAE40"/>
          </p15:clr>
        </p15:guide>
        <p15:guide id="2" orient="horz" pos="3838">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orside">
    <p:spTree>
      <p:nvGrpSpPr>
        <p:cNvPr id="1" name=""/>
        <p:cNvGrpSpPr/>
        <p:nvPr/>
      </p:nvGrpSpPr>
      <p:grpSpPr>
        <a:xfrm>
          <a:off x="0" y="0"/>
          <a:ext cx="0" cy="0"/>
          <a:chOff x="0" y="0"/>
          <a:chExt cx="0" cy="0"/>
        </a:xfrm>
      </p:grpSpPr>
      <p:pic>
        <p:nvPicPr>
          <p:cNvPr id="13" name="Supergrafik"/>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4942999" cy="4781006"/>
          </a:xfrm>
          <a:prstGeom prst="rect">
            <a:avLst/>
          </a:prstGeom>
        </p:spPr>
      </p:pic>
      <p:sp>
        <p:nvSpPr>
          <p:cNvPr id="2" name="Title 1"/>
          <p:cNvSpPr>
            <a:spLocks noGrp="1"/>
          </p:cNvSpPr>
          <p:nvPr>
            <p:ph type="ctrTitle" hasCustomPrompt="1"/>
          </p:nvPr>
        </p:nvSpPr>
        <p:spPr>
          <a:xfrm>
            <a:off x="3996267" y="1575836"/>
            <a:ext cx="7823522" cy="1846264"/>
          </a:xfrm>
        </p:spPr>
        <p:txBody>
          <a:bodyPr anchor="b"/>
          <a:lstStyle>
            <a:lvl1pPr algn="l">
              <a:spcBef>
                <a:spcPts val="400"/>
              </a:spcBef>
              <a:defRPr sz="4800" baseline="0">
                <a:solidFill>
                  <a:schemeClr val="accent2"/>
                </a:solidFill>
              </a:defRPr>
            </a:lvl1pPr>
          </a:lstStyle>
          <a:p>
            <a:r>
              <a:rPr lang="da-DK"/>
              <a:t>Indsæt overskrift</a:t>
            </a:r>
          </a:p>
        </p:txBody>
      </p:sp>
      <p:sp>
        <p:nvSpPr>
          <p:cNvPr id="3" name="Subtitle 2"/>
          <p:cNvSpPr>
            <a:spLocks noGrp="1"/>
          </p:cNvSpPr>
          <p:nvPr>
            <p:ph type="subTitle" idx="1" hasCustomPrompt="1"/>
          </p:nvPr>
        </p:nvSpPr>
        <p:spPr>
          <a:xfrm>
            <a:off x="3996267" y="3680864"/>
            <a:ext cx="7823522" cy="524933"/>
          </a:xfrm>
        </p:spPr>
        <p:txBody>
          <a:bodyPr/>
          <a:lstStyle>
            <a:lvl1pPr marL="0" indent="0" algn="l">
              <a:lnSpc>
                <a:spcPct val="83000"/>
              </a:lnSpc>
              <a:spcBef>
                <a:spcPts val="400"/>
              </a:spcBef>
              <a:buFont typeface="Arial" panose="020B0604020202020204" pitchFamily="34" charset="0"/>
              <a:buNone/>
              <a:defRPr sz="3300">
                <a:solidFill>
                  <a:schemeClr val="accent1"/>
                </a:solidFill>
              </a:defRPr>
            </a:lvl1pPr>
            <a:lvl2pPr marL="0" indent="0" algn="l">
              <a:lnSpc>
                <a:spcPct val="83000"/>
              </a:lnSpc>
              <a:spcBef>
                <a:spcPts val="400"/>
              </a:spcBef>
              <a:buFont typeface="Arial" panose="020B0604020202020204" pitchFamily="34" charset="0"/>
              <a:buChar char="​"/>
              <a:defRPr sz="3300">
                <a:solidFill>
                  <a:schemeClr val="accent1"/>
                </a:solidFill>
              </a:defRPr>
            </a:lvl2pPr>
            <a:lvl3pPr marL="0" indent="0" algn="l">
              <a:lnSpc>
                <a:spcPct val="83000"/>
              </a:lnSpc>
              <a:spcBef>
                <a:spcPts val="400"/>
              </a:spcBef>
              <a:buFont typeface="Arial" panose="020B0604020202020204" pitchFamily="34" charset="0"/>
              <a:buChar char="​"/>
              <a:defRPr sz="3300">
                <a:solidFill>
                  <a:schemeClr val="accent1"/>
                </a:solidFill>
              </a:defRPr>
            </a:lvl3pPr>
            <a:lvl4pPr marL="0" indent="0" algn="l">
              <a:lnSpc>
                <a:spcPct val="83000"/>
              </a:lnSpc>
              <a:spcBef>
                <a:spcPts val="400"/>
              </a:spcBef>
              <a:buFont typeface="Arial" panose="020B0604020202020204" pitchFamily="34" charset="0"/>
              <a:buChar char="​"/>
              <a:defRPr sz="3300">
                <a:solidFill>
                  <a:schemeClr val="accent1"/>
                </a:solidFill>
              </a:defRPr>
            </a:lvl4pPr>
            <a:lvl5pPr marL="0" indent="0" algn="l">
              <a:lnSpc>
                <a:spcPct val="83000"/>
              </a:lnSpc>
              <a:spcBef>
                <a:spcPts val="400"/>
              </a:spcBef>
              <a:buFont typeface="Arial" panose="020B0604020202020204" pitchFamily="34" charset="0"/>
              <a:buChar char="​"/>
              <a:defRPr sz="3300">
                <a:solidFill>
                  <a:schemeClr val="accent1"/>
                </a:solidFill>
              </a:defRPr>
            </a:lvl5pPr>
            <a:lvl6pPr marL="0" indent="0" algn="l">
              <a:lnSpc>
                <a:spcPct val="83000"/>
              </a:lnSpc>
              <a:spcBef>
                <a:spcPts val="400"/>
              </a:spcBef>
              <a:buFont typeface="Arial" panose="020B0604020202020204" pitchFamily="34" charset="0"/>
              <a:buChar char="​"/>
              <a:defRPr sz="3300">
                <a:solidFill>
                  <a:schemeClr val="accent1"/>
                </a:solidFill>
              </a:defRPr>
            </a:lvl6pPr>
            <a:lvl7pPr marL="0" indent="0" algn="l">
              <a:lnSpc>
                <a:spcPct val="83000"/>
              </a:lnSpc>
              <a:spcBef>
                <a:spcPts val="400"/>
              </a:spcBef>
              <a:buFont typeface="Arial" panose="020B0604020202020204" pitchFamily="34" charset="0"/>
              <a:buChar char="​"/>
              <a:defRPr sz="3300">
                <a:solidFill>
                  <a:schemeClr val="accent1"/>
                </a:solidFill>
              </a:defRPr>
            </a:lvl7pPr>
            <a:lvl8pPr marL="0" indent="0" algn="l">
              <a:lnSpc>
                <a:spcPct val="83000"/>
              </a:lnSpc>
              <a:spcBef>
                <a:spcPts val="400"/>
              </a:spcBef>
              <a:buFont typeface="Arial" panose="020B0604020202020204" pitchFamily="34" charset="0"/>
              <a:buChar char="​"/>
              <a:defRPr sz="3300">
                <a:solidFill>
                  <a:schemeClr val="accent1"/>
                </a:solidFill>
              </a:defRPr>
            </a:lvl8pPr>
            <a:lvl9pPr marL="0" indent="0" algn="l">
              <a:lnSpc>
                <a:spcPct val="83000"/>
              </a:lnSpc>
              <a:spcBef>
                <a:spcPts val="400"/>
              </a:spcBef>
              <a:buFont typeface="Arial" panose="020B0604020202020204" pitchFamily="34" charset="0"/>
              <a:buChar char="​"/>
              <a:defRPr sz="3300">
                <a:solidFill>
                  <a:schemeClr val="accent1"/>
                </a:solidFill>
              </a:defRPr>
            </a:lvl9pPr>
          </a:lstStyle>
          <a:p>
            <a:r>
              <a:rPr lang="da-DK"/>
              <a:t>Indsæt underoverskrift</a:t>
            </a:r>
          </a:p>
        </p:txBody>
      </p:sp>
      <p:sp>
        <p:nvSpPr>
          <p:cNvPr id="4" name="Date_DateCustomA"/>
          <p:cNvSpPr>
            <a:spLocks noGrp="1"/>
          </p:cNvSpPr>
          <p:nvPr>
            <p:ph type="dt" sz="half" idx="10"/>
          </p:nvPr>
        </p:nvSpPr>
        <p:spPr/>
        <p:txBody>
          <a:bodyPr/>
          <a:lstStyle/>
          <a:p>
            <a:endParaRPr lang="da-DK"/>
          </a:p>
        </p:txBody>
      </p:sp>
      <p:sp>
        <p:nvSpPr>
          <p:cNvPr id="5" name="FLD_PresentationTitle"/>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24C8C45C-947F-4981-8B3F-4F32E973C901}" type="slidenum">
              <a:rPr lang="da-DK" smtClean="0"/>
              <a:t>‹#›</a:t>
            </a:fld>
            <a:endParaRPr lang="da-DK"/>
          </a:p>
        </p:txBody>
      </p:sp>
      <p:sp>
        <p:nvSpPr>
          <p:cNvPr id="9" name="Text Placeholder 8"/>
          <p:cNvSpPr>
            <a:spLocks noGrp="1"/>
          </p:cNvSpPr>
          <p:nvPr>
            <p:ph type="body" sz="quarter" idx="13" hasCustomPrompt="1"/>
          </p:nvPr>
        </p:nvSpPr>
        <p:spPr>
          <a:xfrm>
            <a:off x="3995737" y="4349729"/>
            <a:ext cx="7824075" cy="458788"/>
          </a:xfrm>
        </p:spPr>
        <p:txBody>
          <a:bodyPr/>
          <a:lstStyle>
            <a:lvl1pPr marL="0" indent="0">
              <a:spcBef>
                <a:spcPts val="0"/>
              </a:spcBef>
              <a:buFont typeface="Arial" panose="020B0604020202020204" pitchFamily="34" charset="0"/>
              <a:buNone/>
              <a:defRPr sz="2400" i="1">
                <a:solidFill>
                  <a:schemeClr val="tx2">
                    <a:lumMod val="75000"/>
                  </a:schemeClr>
                </a:solidFill>
              </a:defRPr>
            </a:lvl1pPr>
            <a:lvl2pPr marL="0" indent="0">
              <a:spcBef>
                <a:spcPts val="600"/>
              </a:spcBef>
              <a:buFont typeface="Arial" panose="020B0604020202020204" pitchFamily="34" charset="0"/>
              <a:buChar char="​"/>
              <a:defRPr sz="2400"/>
            </a:lvl2pPr>
            <a:lvl3pPr marL="0" indent="0">
              <a:buFont typeface="Arial" panose="020B0604020202020204" pitchFamily="34" charset="0"/>
              <a:buChar char="​"/>
              <a:defRPr sz="2400"/>
            </a:lvl3pPr>
            <a:lvl4pPr marL="0" indent="0">
              <a:buFont typeface="Arial" panose="020B0604020202020204" pitchFamily="34" charset="0"/>
              <a:buChar char="​"/>
              <a:defRPr sz="2400"/>
            </a:lvl4pPr>
            <a:lvl5pPr marL="0" indent="0">
              <a:buFont typeface="Arial" panose="020B0604020202020204" pitchFamily="34" charset="0"/>
              <a:buChar char="​"/>
              <a:defRPr sz="2400"/>
            </a:lvl5pPr>
            <a:lvl6pPr marL="0" indent="0">
              <a:buFont typeface="Arial" panose="020B0604020202020204" pitchFamily="34" charset="0"/>
              <a:buChar char="​"/>
              <a:defRPr sz="2400"/>
            </a:lvl6pPr>
            <a:lvl7pPr marL="0" indent="0">
              <a:buFont typeface="Arial" panose="020B0604020202020204" pitchFamily="34" charset="0"/>
              <a:buChar char="​"/>
              <a:defRPr sz="2400"/>
            </a:lvl7pPr>
            <a:lvl8pPr marL="0" indent="0">
              <a:buFont typeface="Arial" panose="020B0604020202020204" pitchFamily="34" charset="0"/>
              <a:buChar char="​"/>
              <a:defRPr sz="2400"/>
            </a:lvl8pPr>
          </a:lstStyle>
          <a:p>
            <a:pPr lvl="0"/>
            <a:r>
              <a:rPr lang="da-DK"/>
              <a:t>Indsæt navn og efternavn</a:t>
            </a:r>
          </a:p>
        </p:txBody>
      </p:sp>
    </p:spTree>
    <p:extLst>
      <p:ext uri="{BB962C8B-B14F-4D97-AF65-F5344CB8AC3E}">
        <p14:creationId xmlns:p14="http://schemas.microsoft.com/office/powerpoint/2010/main" val="264158919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nd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da-DK"/>
              <a:t>Indsæt overskrift</a:t>
            </a:r>
          </a:p>
        </p:txBody>
      </p:sp>
      <p:sp>
        <p:nvSpPr>
          <p:cNvPr id="3" name="Content Placeholder 2"/>
          <p:cNvSpPr>
            <a:spLocks noGrp="1"/>
          </p:cNvSpPr>
          <p:nvPr>
            <p:ph idx="1" hasCustomPrompt="1"/>
          </p:nvPr>
        </p:nvSpPr>
        <p:spPr>
          <a:xfrm>
            <a:off x="982664" y="2852738"/>
            <a:ext cx="10226674" cy="3303587"/>
          </a:xfrm>
        </p:spPr>
        <p:txBody>
          <a:bodyPr/>
          <a:lstStyle>
            <a:lvl1pPr>
              <a:defRPr/>
            </a:lvl1pPr>
          </a:lstStyle>
          <a:p>
            <a:pPr lvl="0"/>
            <a:r>
              <a:rPr lang="da-DK"/>
              <a:t>Klik for at indsætte brød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4" name="Date_DateCustomA"/>
          <p:cNvSpPr>
            <a:spLocks noGrp="1"/>
          </p:cNvSpPr>
          <p:nvPr>
            <p:ph type="dt" sz="half" idx="10"/>
          </p:nvPr>
        </p:nvSpPr>
        <p:spPr/>
        <p:txBody>
          <a:bodyPr/>
          <a:lstStyle/>
          <a:p>
            <a:endParaRPr lang="da-DK"/>
          </a:p>
        </p:txBody>
      </p:sp>
      <p:sp>
        <p:nvSpPr>
          <p:cNvPr id="5" name="FLD_PresentationTitle"/>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24C8C45C-947F-4981-8B3F-4F32E973C901}" type="slidenum">
              <a:rPr lang="da-DK" smtClean="0"/>
              <a:t>‹#›</a:t>
            </a:fld>
            <a:endParaRPr lang="da-DK"/>
          </a:p>
        </p:txBody>
      </p:sp>
      <p:sp>
        <p:nvSpPr>
          <p:cNvPr id="10" name="Pladsholder til tekst 9"/>
          <p:cNvSpPr>
            <a:spLocks noGrp="1"/>
          </p:cNvSpPr>
          <p:nvPr>
            <p:ph type="body" sz="quarter" idx="14" hasCustomPrompt="1"/>
          </p:nvPr>
        </p:nvSpPr>
        <p:spPr>
          <a:xfrm>
            <a:off x="982663" y="2024063"/>
            <a:ext cx="10214464" cy="720725"/>
          </a:xfrm>
        </p:spPr>
        <p:txBody>
          <a:bodyPr/>
          <a:lstStyle>
            <a:lvl1pPr>
              <a:defRPr sz="2200">
                <a:solidFill>
                  <a:schemeClr val="accent1"/>
                </a:solidFill>
              </a:defRPr>
            </a:lvl1pPr>
          </a:lstStyle>
          <a:p>
            <a:pPr lvl="0"/>
            <a:r>
              <a:rPr lang="da-DK"/>
              <a:t>Indsæt underoverskrift eller indledning</a:t>
            </a:r>
          </a:p>
        </p:txBody>
      </p:sp>
    </p:spTree>
    <p:extLst>
      <p:ext uri="{BB962C8B-B14F-4D97-AF65-F5344CB8AC3E}">
        <p14:creationId xmlns:p14="http://schemas.microsoft.com/office/powerpoint/2010/main" val="204717424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kst og billede">
    <p:spTree>
      <p:nvGrpSpPr>
        <p:cNvPr id="1" name=""/>
        <p:cNvGrpSpPr/>
        <p:nvPr/>
      </p:nvGrpSpPr>
      <p:grpSpPr>
        <a:xfrm>
          <a:off x="0" y="0"/>
          <a:ext cx="0" cy="0"/>
          <a:chOff x="0" y="0"/>
          <a:chExt cx="0" cy="0"/>
        </a:xfrm>
      </p:grpSpPr>
      <p:sp>
        <p:nvSpPr>
          <p:cNvPr id="3" name="Picture Placeholder 2"/>
          <p:cNvSpPr>
            <a:spLocks noGrp="1"/>
          </p:cNvSpPr>
          <p:nvPr>
            <p:ph type="pic" idx="1" hasCustomPrompt="1"/>
          </p:nvPr>
        </p:nvSpPr>
        <p:spPr>
          <a:xfrm>
            <a:off x="6275387" y="1196975"/>
            <a:ext cx="4921739" cy="4959350"/>
          </a:xfrm>
          <a:solidFill>
            <a:schemeClr val="bg1">
              <a:lumMod val="95000"/>
            </a:schemeClr>
          </a:solidFill>
        </p:spPr>
        <p:txBody>
          <a:bodyPr tIns="1080000" anchor="ctr" anchorCtr="0"/>
          <a:lstStyle>
            <a:lvl1pPr marL="0" indent="0" algn="ctr">
              <a:buNone/>
              <a:defRPr sz="1600">
                <a:solidFill>
                  <a:schemeClr val="accent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Træk billede til pladsholder eller klik på symbol for at tilføje billede</a:t>
            </a:r>
          </a:p>
        </p:txBody>
      </p:sp>
      <p:sp>
        <p:nvSpPr>
          <p:cNvPr id="5" name="Date_DateCustomA"/>
          <p:cNvSpPr>
            <a:spLocks noGrp="1"/>
          </p:cNvSpPr>
          <p:nvPr>
            <p:ph type="dt" sz="half" idx="10"/>
          </p:nvPr>
        </p:nvSpPr>
        <p:spPr/>
        <p:txBody>
          <a:bodyPr/>
          <a:lstStyle/>
          <a:p>
            <a:endParaRPr lang="da-DK"/>
          </a:p>
        </p:txBody>
      </p:sp>
      <p:sp>
        <p:nvSpPr>
          <p:cNvPr id="6" name="FLD_PresentationTitle"/>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24C8C45C-947F-4981-8B3F-4F32E973C901}" type="slidenum">
              <a:rPr lang="da-DK" smtClean="0"/>
              <a:t>‹#›</a:t>
            </a:fld>
            <a:endParaRPr lang="da-DK"/>
          </a:p>
        </p:txBody>
      </p:sp>
      <p:sp>
        <p:nvSpPr>
          <p:cNvPr id="8" name="Title 7"/>
          <p:cNvSpPr>
            <a:spLocks noGrp="1"/>
          </p:cNvSpPr>
          <p:nvPr>
            <p:ph type="title" hasCustomPrompt="1"/>
          </p:nvPr>
        </p:nvSpPr>
        <p:spPr>
          <a:xfrm>
            <a:off x="982663" y="1196975"/>
            <a:ext cx="4933337" cy="719138"/>
          </a:xfrm>
        </p:spPr>
        <p:txBody>
          <a:bodyPr/>
          <a:lstStyle>
            <a:lvl1pPr>
              <a:defRPr baseline="0"/>
            </a:lvl1pPr>
          </a:lstStyle>
          <a:p>
            <a:r>
              <a:rPr lang="da-DK"/>
              <a:t>Indsæt overskrift</a:t>
            </a:r>
          </a:p>
        </p:txBody>
      </p:sp>
      <p:sp>
        <p:nvSpPr>
          <p:cNvPr id="13" name="Text Placeholder 12"/>
          <p:cNvSpPr>
            <a:spLocks noGrp="1"/>
          </p:cNvSpPr>
          <p:nvPr>
            <p:ph type="body" sz="quarter" idx="14" hasCustomPrompt="1"/>
          </p:nvPr>
        </p:nvSpPr>
        <p:spPr>
          <a:xfrm>
            <a:off x="982664" y="2852739"/>
            <a:ext cx="4933336" cy="3303586"/>
          </a:xfrm>
        </p:spPr>
        <p:txBody>
          <a:bodyPr/>
          <a:lstStyle/>
          <a:p>
            <a:pPr lvl="0"/>
            <a:r>
              <a:rPr lang="da-DK"/>
              <a:t>Klik for at indsætte brød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Pladsholder til tekst 9"/>
          <p:cNvSpPr>
            <a:spLocks noGrp="1"/>
          </p:cNvSpPr>
          <p:nvPr>
            <p:ph type="body" sz="quarter" idx="15" hasCustomPrompt="1"/>
          </p:nvPr>
        </p:nvSpPr>
        <p:spPr>
          <a:xfrm>
            <a:off x="982663" y="2024063"/>
            <a:ext cx="4933337" cy="720725"/>
          </a:xfrm>
        </p:spPr>
        <p:txBody>
          <a:bodyPr/>
          <a:lstStyle>
            <a:lvl1pPr>
              <a:defRPr sz="2200">
                <a:solidFill>
                  <a:schemeClr val="accent1"/>
                </a:solidFill>
              </a:defRPr>
            </a:lvl1pPr>
          </a:lstStyle>
          <a:p>
            <a:pPr lvl="0"/>
            <a:r>
              <a:rPr lang="da-DK"/>
              <a:t>Indsæt underoverskrift eller indledning</a:t>
            </a:r>
          </a:p>
        </p:txBody>
      </p:sp>
    </p:spTree>
    <p:extLst>
      <p:ext uri="{BB962C8B-B14F-4D97-AF65-F5344CB8AC3E}">
        <p14:creationId xmlns:p14="http://schemas.microsoft.com/office/powerpoint/2010/main" val="1773766377"/>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indholdsboks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a-DK"/>
              <a:t>Indsæt overskrift</a:t>
            </a:r>
          </a:p>
        </p:txBody>
      </p:sp>
      <p:sp>
        <p:nvSpPr>
          <p:cNvPr id="3" name="Pladsholder til dato 2"/>
          <p:cNvSpPr>
            <a:spLocks noGrp="1"/>
          </p:cNvSpPr>
          <p:nvPr>
            <p:ph type="dt" sz="half" idx="10"/>
          </p:nvPr>
        </p:nvSpPr>
        <p:spPr/>
        <p:txBody>
          <a:bodyPr/>
          <a:lstStyle/>
          <a:p>
            <a:endParaRPr lang="en-GB"/>
          </a:p>
        </p:txBody>
      </p:sp>
      <p:sp>
        <p:nvSpPr>
          <p:cNvPr id="4" name="Pladsholder til sidefod 3"/>
          <p:cNvSpPr>
            <a:spLocks noGrp="1"/>
          </p:cNvSpPr>
          <p:nvPr>
            <p:ph type="ftr" sz="quarter" idx="11"/>
          </p:nvPr>
        </p:nvSpPr>
        <p:spPr/>
        <p:txBody>
          <a:bodyPr/>
          <a:lstStyle/>
          <a:p>
            <a:endParaRPr lang="en-GB"/>
          </a:p>
        </p:txBody>
      </p:sp>
      <p:sp>
        <p:nvSpPr>
          <p:cNvPr id="5" name="Pladsholder til slidenummer 4"/>
          <p:cNvSpPr>
            <a:spLocks noGrp="1"/>
          </p:cNvSpPr>
          <p:nvPr>
            <p:ph type="sldNum" sz="quarter" idx="12"/>
          </p:nvPr>
        </p:nvSpPr>
        <p:spPr/>
        <p:txBody>
          <a:bodyPr/>
          <a:lstStyle/>
          <a:p>
            <a:fld id="{24C8C45C-947F-4981-8B3F-4F32E973C901}" type="slidenum">
              <a:rPr lang="en-GB" smtClean="0"/>
              <a:pPr/>
              <a:t>‹#›</a:t>
            </a:fld>
            <a:endParaRPr lang="en-GB"/>
          </a:p>
        </p:txBody>
      </p:sp>
      <p:sp>
        <p:nvSpPr>
          <p:cNvPr id="9" name="Pladsholder til tekst 9"/>
          <p:cNvSpPr>
            <a:spLocks noGrp="1"/>
          </p:cNvSpPr>
          <p:nvPr>
            <p:ph type="body" sz="quarter" idx="15" hasCustomPrompt="1"/>
          </p:nvPr>
        </p:nvSpPr>
        <p:spPr>
          <a:xfrm>
            <a:off x="982663" y="2024063"/>
            <a:ext cx="10214464" cy="720725"/>
          </a:xfrm>
        </p:spPr>
        <p:txBody>
          <a:bodyPr/>
          <a:lstStyle>
            <a:lvl1pPr>
              <a:defRPr sz="2200">
                <a:solidFill>
                  <a:schemeClr val="accent1"/>
                </a:solidFill>
              </a:defRPr>
            </a:lvl1pPr>
          </a:lstStyle>
          <a:p>
            <a:pPr lvl="0"/>
            <a:r>
              <a:rPr lang="da-DK"/>
              <a:t>Indsæt underoverskrift eller indledning</a:t>
            </a:r>
          </a:p>
        </p:txBody>
      </p:sp>
      <p:sp>
        <p:nvSpPr>
          <p:cNvPr id="13" name="Content Placeholder 2"/>
          <p:cNvSpPr>
            <a:spLocks noGrp="1"/>
          </p:cNvSpPr>
          <p:nvPr>
            <p:ph idx="1" hasCustomPrompt="1"/>
          </p:nvPr>
        </p:nvSpPr>
        <p:spPr>
          <a:xfrm>
            <a:off x="982664" y="2852738"/>
            <a:ext cx="4860000" cy="3303587"/>
          </a:xfrm>
        </p:spPr>
        <p:txBody>
          <a:bodyPr/>
          <a:lstStyle>
            <a:lvl1pPr>
              <a:defRPr/>
            </a:lvl1pPr>
          </a:lstStyle>
          <a:p>
            <a:pPr lvl="0"/>
            <a:r>
              <a:rPr lang="da-DK"/>
              <a:t>Klik for at indsætte brød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5" name="Content Placeholder 2"/>
          <p:cNvSpPr>
            <a:spLocks noGrp="1"/>
          </p:cNvSpPr>
          <p:nvPr>
            <p:ph idx="17" hasCustomPrompt="1"/>
          </p:nvPr>
        </p:nvSpPr>
        <p:spPr>
          <a:xfrm>
            <a:off x="6337127" y="2852738"/>
            <a:ext cx="4860000" cy="3303587"/>
          </a:xfrm>
        </p:spPr>
        <p:txBody>
          <a:bodyPr/>
          <a:lstStyle>
            <a:lvl1pPr>
              <a:defRPr/>
            </a:lvl1pPr>
          </a:lstStyle>
          <a:p>
            <a:pPr lvl="0"/>
            <a:r>
              <a:rPr lang="da-DK"/>
              <a:t>Klik for at indsætte brød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Tree>
    <p:extLst>
      <p:ext uri="{BB962C8B-B14F-4D97-AF65-F5344CB8AC3E}">
        <p14:creationId xmlns:p14="http://schemas.microsoft.com/office/powerpoint/2010/main" val="408172347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indholdsboks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a-DK"/>
              <a:t>Indsæt overskrift</a:t>
            </a:r>
          </a:p>
        </p:txBody>
      </p:sp>
      <p:sp>
        <p:nvSpPr>
          <p:cNvPr id="3" name="Pladsholder til dato 2"/>
          <p:cNvSpPr>
            <a:spLocks noGrp="1"/>
          </p:cNvSpPr>
          <p:nvPr>
            <p:ph type="dt" sz="half" idx="10"/>
          </p:nvPr>
        </p:nvSpPr>
        <p:spPr/>
        <p:txBody>
          <a:bodyPr/>
          <a:lstStyle/>
          <a:p>
            <a:endParaRPr lang="en-GB"/>
          </a:p>
        </p:txBody>
      </p:sp>
      <p:sp>
        <p:nvSpPr>
          <p:cNvPr id="4" name="Pladsholder til sidefod 3"/>
          <p:cNvSpPr>
            <a:spLocks noGrp="1"/>
          </p:cNvSpPr>
          <p:nvPr>
            <p:ph type="ftr" sz="quarter" idx="11"/>
          </p:nvPr>
        </p:nvSpPr>
        <p:spPr/>
        <p:txBody>
          <a:bodyPr/>
          <a:lstStyle/>
          <a:p>
            <a:endParaRPr lang="en-GB"/>
          </a:p>
        </p:txBody>
      </p:sp>
      <p:sp>
        <p:nvSpPr>
          <p:cNvPr id="5" name="Pladsholder til slidenummer 4"/>
          <p:cNvSpPr>
            <a:spLocks noGrp="1"/>
          </p:cNvSpPr>
          <p:nvPr>
            <p:ph type="sldNum" sz="quarter" idx="12"/>
          </p:nvPr>
        </p:nvSpPr>
        <p:spPr/>
        <p:txBody>
          <a:bodyPr/>
          <a:lstStyle/>
          <a:p>
            <a:fld id="{24C8C45C-947F-4981-8B3F-4F32E973C901}" type="slidenum">
              <a:rPr lang="en-GB" smtClean="0"/>
              <a:pPr/>
              <a:t>‹#›</a:t>
            </a:fld>
            <a:endParaRPr lang="en-GB"/>
          </a:p>
        </p:txBody>
      </p:sp>
      <p:sp>
        <p:nvSpPr>
          <p:cNvPr id="9" name="Pladsholder til tekst 9"/>
          <p:cNvSpPr>
            <a:spLocks noGrp="1"/>
          </p:cNvSpPr>
          <p:nvPr>
            <p:ph type="body" sz="quarter" idx="15" hasCustomPrompt="1"/>
          </p:nvPr>
        </p:nvSpPr>
        <p:spPr>
          <a:xfrm>
            <a:off x="982663" y="2024063"/>
            <a:ext cx="10214464" cy="720725"/>
          </a:xfrm>
        </p:spPr>
        <p:txBody>
          <a:bodyPr/>
          <a:lstStyle>
            <a:lvl1pPr>
              <a:defRPr sz="2200">
                <a:solidFill>
                  <a:schemeClr val="accent1"/>
                </a:solidFill>
              </a:defRPr>
            </a:lvl1pPr>
          </a:lstStyle>
          <a:p>
            <a:pPr lvl="0"/>
            <a:r>
              <a:rPr lang="da-DK"/>
              <a:t>Indsæt underoverskrift eller indledning</a:t>
            </a:r>
          </a:p>
        </p:txBody>
      </p:sp>
      <p:sp>
        <p:nvSpPr>
          <p:cNvPr id="13" name="Content Placeholder 2"/>
          <p:cNvSpPr>
            <a:spLocks noGrp="1"/>
          </p:cNvSpPr>
          <p:nvPr>
            <p:ph idx="1" hasCustomPrompt="1"/>
          </p:nvPr>
        </p:nvSpPr>
        <p:spPr>
          <a:xfrm>
            <a:off x="982664" y="2852738"/>
            <a:ext cx="3217864" cy="3303587"/>
          </a:xfrm>
        </p:spPr>
        <p:txBody>
          <a:bodyPr/>
          <a:lstStyle>
            <a:lvl1pPr>
              <a:defRPr/>
            </a:lvl1pPr>
          </a:lstStyle>
          <a:p>
            <a:pPr lvl="0"/>
            <a:r>
              <a:rPr lang="da-DK"/>
              <a:t>Klik for at indsætte brød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4" name="Content Placeholder 2"/>
          <p:cNvSpPr>
            <a:spLocks noGrp="1"/>
          </p:cNvSpPr>
          <p:nvPr>
            <p:ph idx="16" hasCustomPrompt="1"/>
          </p:nvPr>
        </p:nvSpPr>
        <p:spPr>
          <a:xfrm>
            <a:off x="4487069" y="2852738"/>
            <a:ext cx="3217864" cy="3303587"/>
          </a:xfrm>
        </p:spPr>
        <p:txBody>
          <a:bodyPr/>
          <a:lstStyle>
            <a:lvl1pPr>
              <a:defRPr/>
            </a:lvl1pPr>
          </a:lstStyle>
          <a:p>
            <a:pPr lvl="0"/>
            <a:r>
              <a:rPr lang="da-DK"/>
              <a:t>Klik for at indsætte brød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5" name="Content Placeholder 2"/>
          <p:cNvSpPr>
            <a:spLocks noGrp="1"/>
          </p:cNvSpPr>
          <p:nvPr>
            <p:ph idx="17" hasCustomPrompt="1"/>
          </p:nvPr>
        </p:nvSpPr>
        <p:spPr>
          <a:xfrm>
            <a:off x="7991474" y="2852738"/>
            <a:ext cx="3217864" cy="3303587"/>
          </a:xfrm>
        </p:spPr>
        <p:txBody>
          <a:bodyPr/>
          <a:lstStyle>
            <a:lvl1pPr>
              <a:defRPr/>
            </a:lvl1pPr>
          </a:lstStyle>
          <a:p>
            <a:pPr lvl="0"/>
            <a:r>
              <a:rPr lang="da-DK"/>
              <a:t>Klik for at indsætte brød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Tree>
    <p:extLst>
      <p:ext uri="{BB962C8B-B14F-4D97-AF65-F5344CB8AC3E}">
        <p14:creationId xmlns:p14="http://schemas.microsoft.com/office/powerpoint/2010/main" val="1613349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rogram">
    <p:spTree>
      <p:nvGrpSpPr>
        <p:cNvPr id="1" name=""/>
        <p:cNvGrpSpPr/>
        <p:nvPr/>
      </p:nvGrpSpPr>
      <p:grpSpPr>
        <a:xfrm>
          <a:off x="0" y="0"/>
          <a:ext cx="0" cy="0"/>
          <a:chOff x="0" y="0"/>
          <a:chExt cx="0" cy="0"/>
        </a:xfrm>
      </p:grpSpPr>
      <p:sp>
        <p:nvSpPr>
          <p:cNvPr id="3" name="Pladsholder til dato 2">
            <a:extLst>
              <a:ext uri="{FF2B5EF4-FFF2-40B4-BE49-F238E27FC236}">
                <a16:creationId xmlns:a16="http://schemas.microsoft.com/office/drawing/2014/main" id="{B56B0860-E2FC-4046-BE7C-E6EA1D3C7267}"/>
              </a:ext>
            </a:extLst>
          </p:cNvPr>
          <p:cNvSpPr>
            <a:spLocks noGrp="1"/>
          </p:cNvSpPr>
          <p:nvPr>
            <p:ph type="dt" sz="half" idx="10"/>
          </p:nvPr>
        </p:nvSpPr>
        <p:spPr/>
        <p:txBody>
          <a:bodyPr/>
          <a:lstStyle/>
          <a:p>
            <a:endParaRPr lang="en-GB"/>
          </a:p>
        </p:txBody>
      </p:sp>
      <p:sp>
        <p:nvSpPr>
          <p:cNvPr id="4" name="Pladsholder til sidefod 3">
            <a:extLst>
              <a:ext uri="{FF2B5EF4-FFF2-40B4-BE49-F238E27FC236}">
                <a16:creationId xmlns:a16="http://schemas.microsoft.com/office/drawing/2014/main" id="{986B7801-E3B9-8C49-9C6E-CA2439CD3D81}"/>
              </a:ext>
            </a:extLst>
          </p:cNvPr>
          <p:cNvSpPr>
            <a:spLocks noGrp="1"/>
          </p:cNvSpPr>
          <p:nvPr>
            <p:ph type="ftr" sz="quarter" idx="11"/>
          </p:nvPr>
        </p:nvSpPr>
        <p:spPr/>
        <p:txBody>
          <a:bodyPr/>
          <a:lstStyle/>
          <a:p>
            <a:endParaRPr lang="en-GB"/>
          </a:p>
        </p:txBody>
      </p:sp>
      <p:sp>
        <p:nvSpPr>
          <p:cNvPr id="5" name="Pladsholder til slidenummer 4">
            <a:extLst>
              <a:ext uri="{FF2B5EF4-FFF2-40B4-BE49-F238E27FC236}">
                <a16:creationId xmlns:a16="http://schemas.microsoft.com/office/drawing/2014/main" id="{F486B617-819F-D54A-871B-B63CD3758B26}"/>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8" name="Rektangel 7">
            <a:extLst>
              <a:ext uri="{FF2B5EF4-FFF2-40B4-BE49-F238E27FC236}">
                <a16:creationId xmlns:a16="http://schemas.microsoft.com/office/drawing/2014/main" id="{94D1D345-D353-6F4A-A586-8E5CDA0F43FC}"/>
              </a:ext>
            </a:extLst>
          </p:cNvPr>
          <p:cNvSpPr/>
          <p:nvPr userDrawn="1"/>
        </p:nvSpPr>
        <p:spPr>
          <a:xfrm>
            <a:off x="949705" y="1178352"/>
            <a:ext cx="4920028" cy="4760536"/>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10" name="Pladsholder til tekst 15">
            <a:extLst>
              <a:ext uri="{FF2B5EF4-FFF2-40B4-BE49-F238E27FC236}">
                <a16:creationId xmlns:a16="http://schemas.microsoft.com/office/drawing/2014/main" id="{8E6A2F22-BEF4-6543-97DA-88F5BA3B8E44}"/>
              </a:ext>
            </a:extLst>
          </p:cNvPr>
          <p:cNvSpPr>
            <a:spLocks noGrp="1"/>
          </p:cNvSpPr>
          <p:nvPr>
            <p:ph type="body" sz="quarter" idx="14" hasCustomPrompt="1"/>
          </p:nvPr>
        </p:nvSpPr>
        <p:spPr>
          <a:xfrm>
            <a:off x="949705" y="2488040"/>
            <a:ext cx="4920028" cy="1405232"/>
          </a:xfrm>
        </p:spPr>
        <p:txBody>
          <a:bodyPr/>
          <a:lstStyle>
            <a:lvl1pPr algn="ctr">
              <a:defRPr sz="7500">
                <a:solidFill>
                  <a:schemeClr val="bg1"/>
                </a:solidFill>
              </a:defRPr>
            </a:lvl1pPr>
          </a:lstStyle>
          <a:p>
            <a:r>
              <a:rPr lang="da-DK"/>
              <a:t>PROGRAM</a:t>
            </a:r>
          </a:p>
        </p:txBody>
      </p:sp>
      <p:sp>
        <p:nvSpPr>
          <p:cNvPr id="11" name="Rektangel 10">
            <a:extLst>
              <a:ext uri="{FF2B5EF4-FFF2-40B4-BE49-F238E27FC236}">
                <a16:creationId xmlns:a16="http://schemas.microsoft.com/office/drawing/2014/main" id="{5D815E82-1046-D241-BFCC-C6BAD16F7C90}"/>
              </a:ext>
            </a:extLst>
          </p:cNvPr>
          <p:cNvSpPr/>
          <p:nvPr userDrawn="1"/>
        </p:nvSpPr>
        <p:spPr>
          <a:xfrm>
            <a:off x="6181582" y="1178352"/>
            <a:ext cx="4920028" cy="4760536"/>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12" name="Pladsholder til tekst 13">
            <a:extLst>
              <a:ext uri="{FF2B5EF4-FFF2-40B4-BE49-F238E27FC236}">
                <a16:creationId xmlns:a16="http://schemas.microsoft.com/office/drawing/2014/main" id="{3F7C6172-494C-DD44-8F59-32C8484CFA05}"/>
              </a:ext>
            </a:extLst>
          </p:cNvPr>
          <p:cNvSpPr>
            <a:spLocks noGrp="1"/>
          </p:cNvSpPr>
          <p:nvPr>
            <p:ph type="body" sz="quarter" idx="13" hasCustomPrompt="1"/>
          </p:nvPr>
        </p:nvSpPr>
        <p:spPr>
          <a:xfrm>
            <a:off x="6742152" y="2108027"/>
            <a:ext cx="3798888" cy="3101517"/>
          </a:xfrm>
        </p:spPr>
        <p:txBody>
          <a:bodyPr/>
          <a:lstStyle>
            <a:lvl1pPr marL="342900" indent="-342900">
              <a:buFont typeface="Arial" panose="020B0604020202020204" pitchFamily="34" charset="0"/>
              <a:buChar char="•"/>
              <a:defRPr sz="2500">
                <a:solidFill>
                  <a:schemeClr val="bg1"/>
                </a:solidFill>
              </a:defRPr>
            </a:lvl1pPr>
          </a:lstStyle>
          <a:p>
            <a:r>
              <a:rPr lang="da-DK"/>
              <a:t>Tekst
Tekst 
Tekst 
 Tekst 
 Tekst</a:t>
            </a:r>
          </a:p>
          <a:p>
            <a:r>
              <a:rPr lang="da-DK"/>
              <a:t> Tekst</a:t>
            </a:r>
          </a:p>
          <a:p>
            <a:r>
              <a:rPr lang="da-DK"/>
              <a:t> Tekst</a:t>
            </a:r>
          </a:p>
        </p:txBody>
      </p:sp>
      <p:pic>
        <p:nvPicPr>
          <p:cNvPr id="13" name="Billede 12">
            <a:extLst>
              <a:ext uri="{FF2B5EF4-FFF2-40B4-BE49-F238E27FC236}">
                <a16:creationId xmlns:a16="http://schemas.microsoft.com/office/drawing/2014/main" id="{C036E63E-0936-6E48-B39F-028BB2CB9A4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049158" y="3714967"/>
            <a:ext cx="2520372" cy="2398994"/>
          </a:xfrm>
          <a:prstGeom prst="rect">
            <a:avLst/>
          </a:prstGeom>
        </p:spPr>
      </p:pic>
    </p:spTree>
    <p:extLst>
      <p:ext uri="{BB962C8B-B14F-4D97-AF65-F5344CB8AC3E}">
        <p14:creationId xmlns:p14="http://schemas.microsoft.com/office/powerpoint/2010/main" val="41538594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graphicFrame>
        <p:nvGraphicFramePr>
          <p:cNvPr id="7" name="Inhaltsplatzhalter 9" title="Diagramm Platzhalter">
            <a:extLst>
              <a:ext uri="{FF2B5EF4-FFF2-40B4-BE49-F238E27FC236}">
                <a16:creationId xmlns:a16="http://schemas.microsoft.com/office/drawing/2014/main" id="{B463EBB2-B343-A342-A26F-FA6D526125DA}"/>
              </a:ext>
            </a:extLst>
          </p:cNvPr>
          <p:cNvGraphicFramePr>
            <a:graphicFrameLocks/>
          </p:cNvGraphicFramePr>
          <p:nvPr userDrawn="1">
            <p:extLst>
              <p:ext uri="{D42A27DB-BD31-4B8C-83A1-F6EECF244321}">
                <p14:modId xmlns:p14="http://schemas.microsoft.com/office/powerpoint/2010/main" val="2616654375"/>
              </p:ext>
            </p:extLst>
          </p:nvPr>
        </p:nvGraphicFramePr>
        <p:xfrm>
          <a:off x="6648450" y="1665288"/>
          <a:ext cx="5543550" cy="4103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530157006"/>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Nyt emne">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98C022D2-711D-3B48-9664-6E97484392F9}"/>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10" name="Text Placeholder 5">
            <a:extLst>
              <a:ext uri="{FF2B5EF4-FFF2-40B4-BE49-F238E27FC236}">
                <a16:creationId xmlns:a16="http://schemas.microsoft.com/office/drawing/2014/main" id="{33AD1A35-4CCE-1C47-BAAC-A29B69D42FD6}"/>
              </a:ext>
            </a:extLst>
          </p:cNvPr>
          <p:cNvSpPr>
            <a:spLocks noGrp="1"/>
          </p:cNvSpPr>
          <p:nvPr>
            <p:ph type="body" sz="quarter" idx="16" hasCustomPrompt="1"/>
          </p:nvPr>
        </p:nvSpPr>
        <p:spPr>
          <a:xfrm>
            <a:off x="2976231" y="3780149"/>
            <a:ext cx="6232180" cy="1470041"/>
          </a:xfrm>
        </p:spPr>
        <p:txBody>
          <a:bodyPr anchor="b" anchorCtr="0"/>
          <a:lstStyle>
            <a:lvl1pPr marL="0" indent="0" algn="ctr">
              <a:lnSpc>
                <a:spcPct val="83000"/>
              </a:lnSpc>
              <a:buFont typeface="Arial" panose="020B0604020202020204" pitchFamily="34" charset="0"/>
              <a:buNone/>
              <a:defRPr sz="5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overskrift for nyt tema/emne</a:t>
            </a:r>
          </a:p>
        </p:txBody>
      </p:sp>
      <p:sp>
        <p:nvSpPr>
          <p:cNvPr id="11" name="Pladsholder til billede 21">
            <a:extLst>
              <a:ext uri="{FF2B5EF4-FFF2-40B4-BE49-F238E27FC236}">
                <a16:creationId xmlns:a16="http://schemas.microsoft.com/office/drawing/2014/main" id="{79C2A64C-C131-7147-B71D-EF7FA2871833}"/>
              </a:ext>
            </a:extLst>
          </p:cNvPr>
          <p:cNvSpPr>
            <a:spLocks noGrp="1"/>
          </p:cNvSpPr>
          <p:nvPr>
            <p:ph type="pic" sz="quarter" idx="22" hasCustomPrompt="1"/>
          </p:nvPr>
        </p:nvSpPr>
        <p:spPr>
          <a:xfrm>
            <a:off x="5161675" y="1580349"/>
            <a:ext cx="1861293" cy="1861293"/>
          </a:xfrm>
        </p:spPr>
        <p:txBody>
          <a:bodyPr anchor="ctr"/>
          <a:lstStyle>
            <a:lvl1pPr algn="ctr">
              <a:defRPr>
                <a:solidFill>
                  <a:schemeClr val="bg1"/>
                </a:solidFill>
              </a:defRPr>
            </a:lvl1pPr>
          </a:lstStyle>
          <a:p>
            <a:r>
              <a:rPr lang="da-DK"/>
              <a:t>Indsæt ikon</a:t>
            </a:r>
          </a:p>
        </p:txBody>
      </p:sp>
      <p:sp>
        <p:nvSpPr>
          <p:cNvPr id="5" name="Text Placeholder 5">
            <a:extLst>
              <a:ext uri="{FF2B5EF4-FFF2-40B4-BE49-F238E27FC236}">
                <a16:creationId xmlns:a16="http://schemas.microsoft.com/office/drawing/2014/main" id="{35A1DB3C-A15F-F44C-B74D-5E8BAEC926B7}"/>
              </a:ext>
            </a:extLst>
          </p:cNvPr>
          <p:cNvSpPr>
            <a:spLocks noGrp="1"/>
          </p:cNvSpPr>
          <p:nvPr>
            <p:ph type="body" sz="quarter" idx="23" hasCustomPrompt="1"/>
          </p:nvPr>
        </p:nvSpPr>
        <p:spPr>
          <a:xfrm>
            <a:off x="2976231" y="5355771"/>
            <a:ext cx="6232180" cy="837848"/>
          </a:xfrm>
        </p:spPr>
        <p:txBody>
          <a:bodyPr anchor="t" anchorCtr="0"/>
          <a:lstStyle>
            <a:lvl1pPr marL="0" indent="0" algn="ctr">
              <a:lnSpc>
                <a:spcPct val="83000"/>
              </a:lnSpc>
              <a:buFont typeface="Arial" panose="020B0604020202020204" pitchFamily="34" charset="0"/>
              <a:buNone/>
              <a:defRPr sz="2000" cap="none">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evt. kort understøttende tekst</a:t>
            </a:r>
          </a:p>
        </p:txBody>
      </p:sp>
    </p:spTree>
    <p:extLst>
      <p:ext uri="{BB962C8B-B14F-4D97-AF65-F5344CB8AC3E}">
        <p14:creationId xmlns:p14="http://schemas.microsoft.com/office/powerpoint/2010/main" val="66998503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kst og billede ">
    <p:spTree>
      <p:nvGrpSpPr>
        <p:cNvPr id="1" name=""/>
        <p:cNvGrpSpPr/>
        <p:nvPr/>
      </p:nvGrpSpPr>
      <p:grpSpPr>
        <a:xfrm>
          <a:off x="0" y="0"/>
          <a:ext cx="0" cy="0"/>
          <a:chOff x="0" y="0"/>
          <a:chExt cx="0" cy="0"/>
        </a:xfrm>
      </p:grpSpPr>
      <p:sp>
        <p:nvSpPr>
          <p:cNvPr id="3" name="Picture Placeholder 2"/>
          <p:cNvSpPr>
            <a:spLocks noGrp="1"/>
          </p:cNvSpPr>
          <p:nvPr>
            <p:ph type="pic" idx="1" hasCustomPrompt="1"/>
          </p:nvPr>
        </p:nvSpPr>
        <p:spPr>
          <a:xfrm>
            <a:off x="6275388" y="0"/>
            <a:ext cx="5916612" cy="6858000"/>
          </a:xfrm>
          <a:solidFill>
            <a:schemeClr val="bg1">
              <a:lumMod val="95000"/>
            </a:schemeClr>
          </a:solidFill>
        </p:spPr>
        <p:txBody>
          <a:bodyPr tIns="900000" anchor="ctr" anchorCtr="0"/>
          <a:lstStyle>
            <a:lvl1pPr marL="0" indent="0" algn="ctr">
              <a:buNone/>
              <a:defRPr sz="1600">
                <a:solidFill>
                  <a:schemeClr val="accent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Træk billede til pladsholder eller klik på symbol for at tilføje billede</a:t>
            </a:r>
          </a:p>
        </p:txBody>
      </p:sp>
      <p:sp>
        <p:nvSpPr>
          <p:cNvPr id="4" name="Rectangle 3"/>
          <p:cNvSpPr/>
          <p:nvPr userDrawn="1"/>
        </p:nvSpPr>
        <p:spPr>
          <a:xfrm>
            <a:off x="0" y="0"/>
            <a:ext cx="6275388" cy="68580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5" name="Date_DateCustomA"/>
          <p:cNvSpPr>
            <a:spLocks noGrp="1"/>
          </p:cNvSpPr>
          <p:nvPr>
            <p:ph type="dt" sz="half" idx="10"/>
          </p:nvPr>
        </p:nvSpPr>
        <p:spPr>
          <a:xfrm>
            <a:off x="0" y="6948000"/>
            <a:ext cx="0" cy="0"/>
          </a:xfrm>
        </p:spPr>
        <p:txBody>
          <a:bodyPr/>
          <a:lstStyle>
            <a:lvl1pPr>
              <a:defRPr sz="100">
                <a:noFill/>
              </a:defRPr>
            </a:lvl1pPr>
          </a:lstStyle>
          <a:p>
            <a:endParaRPr lang="da-DK"/>
          </a:p>
        </p:txBody>
      </p:sp>
      <p:sp>
        <p:nvSpPr>
          <p:cNvPr id="6" name="FLD_PresentationTitle"/>
          <p:cNvSpPr>
            <a:spLocks noGrp="1"/>
          </p:cNvSpPr>
          <p:nvPr>
            <p:ph type="ftr" sz="quarter" idx="11"/>
          </p:nvPr>
        </p:nvSpPr>
        <p:spPr>
          <a:xfrm>
            <a:off x="0" y="6948000"/>
            <a:ext cx="0" cy="0"/>
          </a:xfrm>
        </p:spPr>
        <p:txBody>
          <a:bodyPr/>
          <a:lstStyle>
            <a:lvl1pPr>
              <a:defRPr sz="100">
                <a:noFill/>
              </a:defRPr>
            </a:lvl1pPr>
          </a:lstStyle>
          <a:p>
            <a:endParaRPr lang="da-DK"/>
          </a:p>
        </p:txBody>
      </p:sp>
      <p:sp>
        <p:nvSpPr>
          <p:cNvPr id="7" name="Slide Number Placeholder 6"/>
          <p:cNvSpPr>
            <a:spLocks noGrp="1"/>
          </p:cNvSpPr>
          <p:nvPr>
            <p:ph type="sldNum" sz="quarter" idx="12"/>
          </p:nvPr>
        </p:nvSpPr>
        <p:spPr>
          <a:xfrm>
            <a:off x="0" y="6948000"/>
            <a:ext cx="0" cy="0"/>
          </a:xfrm>
        </p:spPr>
        <p:txBody>
          <a:bodyPr/>
          <a:lstStyle>
            <a:lvl1pPr>
              <a:defRPr sz="100">
                <a:noFill/>
              </a:defRPr>
            </a:lvl1pPr>
          </a:lstStyle>
          <a:p>
            <a:fld id="{24C8C45C-947F-4981-8B3F-4F32E973C901}" type="slidenum">
              <a:rPr lang="da-DK" smtClean="0"/>
              <a:pPr/>
              <a:t>‹#›</a:t>
            </a:fld>
            <a:endParaRPr lang="da-DK"/>
          </a:p>
        </p:txBody>
      </p:sp>
      <p:sp>
        <p:nvSpPr>
          <p:cNvPr id="8" name="Title 7"/>
          <p:cNvSpPr>
            <a:spLocks noGrp="1"/>
          </p:cNvSpPr>
          <p:nvPr>
            <p:ph type="title" hasCustomPrompt="1"/>
          </p:nvPr>
        </p:nvSpPr>
        <p:spPr>
          <a:xfrm>
            <a:off x="658814" y="1196976"/>
            <a:ext cx="4204132" cy="1547812"/>
          </a:xfrm>
        </p:spPr>
        <p:txBody>
          <a:bodyPr/>
          <a:lstStyle>
            <a:lvl1pPr>
              <a:defRPr baseline="0">
                <a:solidFill>
                  <a:schemeClr val="bg1"/>
                </a:solidFill>
              </a:defRPr>
            </a:lvl1pPr>
          </a:lstStyle>
          <a:p>
            <a:r>
              <a:rPr lang="da-DK"/>
              <a:t>Indsæt overskrift</a:t>
            </a:r>
          </a:p>
        </p:txBody>
      </p:sp>
      <p:sp>
        <p:nvSpPr>
          <p:cNvPr id="13" name="Text Placeholder 12"/>
          <p:cNvSpPr>
            <a:spLocks noGrp="1"/>
          </p:cNvSpPr>
          <p:nvPr>
            <p:ph type="body" sz="quarter" idx="14" hasCustomPrompt="1"/>
          </p:nvPr>
        </p:nvSpPr>
        <p:spPr>
          <a:xfrm>
            <a:off x="648001" y="2852739"/>
            <a:ext cx="4214944" cy="3303586"/>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brødtekst</a:t>
            </a:r>
          </a:p>
          <a:p>
            <a:pPr lvl="1"/>
            <a:r>
              <a:rPr lang="da-DK"/>
              <a:t>Second </a:t>
            </a:r>
            <a:r>
              <a:rPr lang="da-DK" err="1"/>
              <a:t>level</a:t>
            </a:r>
            <a:endParaRPr lang="da-DK"/>
          </a:p>
        </p:txBody>
      </p:sp>
    </p:spTree>
    <p:extLst>
      <p:ext uri="{BB962C8B-B14F-4D97-AF65-F5344CB8AC3E}">
        <p14:creationId xmlns:p14="http://schemas.microsoft.com/office/powerpoint/2010/main" val="3040024083"/>
      </p:ext>
    </p:extLst>
  </p:cSld>
  <p:clrMapOvr>
    <a:masterClrMapping/>
  </p:clrMapOvr>
  <p:extLst>
    <p:ext uri="{DCECCB84-F9BA-43D5-87BE-67443E8EF086}">
      <p15:sldGuideLst xmlns:p15="http://schemas.microsoft.com/office/powerpoint/2012/main">
        <p15:guide id="1" pos="3568">
          <p15:clr>
            <a:srgbClr val="FBAE40"/>
          </p15:clr>
        </p15:guide>
        <p15:guide id="2" pos="3953">
          <p15:clr>
            <a:srgbClr val="FBAE40"/>
          </p15:clr>
        </p15:guide>
        <p15:guide id="3" pos="415">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fakta bokse">
    <p:spTree>
      <p:nvGrpSpPr>
        <p:cNvPr id="1" name=""/>
        <p:cNvGrpSpPr/>
        <p:nvPr/>
      </p:nvGrpSpPr>
      <p:grpSpPr>
        <a:xfrm>
          <a:off x="0" y="0"/>
          <a:ext cx="0" cy="0"/>
          <a:chOff x="0" y="0"/>
          <a:chExt cx="0" cy="0"/>
        </a:xfrm>
      </p:grpSpPr>
      <p:sp>
        <p:nvSpPr>
          <p:cNvPr id="4" name="Rectangle 3"/>
          <p:cNvSpPr/>
          <p:nvPr userDrawn="1"/>
        </p:nvSpPr>
        <p:spPr>
          <a:xfrm>
            <a:off x="0" y="0"/>
            <a:ext cx="610856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5" name="Date_DateCustomA"/>
          <p:cNvSpPr>
            <a:spLocks noGrp="1"/>
          </p:cNvSpPr>
          <p:nvPr>
            <p:ph type="dt" sz="half" idx="10"/>
          </p:nvPr>
        </p:nvSpPr>
        <p:spPr>
          <a:xfrm>
            <a:off x="0" y="6948000"/>
            <a:ext cx="0" cy="0"/>
          </a:xfrm>
        </p:spPr>
        <p:txBody>
          <a:bodyPr/>
          <a:lstStyle>
            <a:lvl1pPr>
              <a:defRPr sz="100">
                <a:noFill/>
              </a:defRPr>
            </a:lvl1pPr>
          </a:lstStyle>
          <a:p>
            <a:endParaRPr lang="da-DK"/>
          </a:p>
        </p:txBody>
      </p:sp>
      <p:sp>
        <p:nvSpPr>
          <p:cNvPr id="6" name="FLD_PresentationTitle"/>
          <p:cNvSpPr>
            <a:spLocks noGrp="1"/>
          </p:cNvSpPr>
          <p:nvPr>
            <p:ph type="ftr" sz="quarter" idx="11"/>
          </p:nvPr>
        </p:nvSpPr>
        <p:spPr>
          <a:xfrm>
            <a:off x="0" y="6948000"/>
            <a:ext cx="0" cy="0"/>
          </a:xfrm>
        </p:spPr>
        <p:txBody>
          <a:bodyPr/>
          <a:lstStyle>
            <a:lvl1pPr>
              <a:defRPr sz="100">
                <a:noFill/>
              </a:defRPr>
            </a:lvl1pPr>
          </a:lstStyle>
          <a:p>
            <a:endParaRPr lang="da-DK"/>
          </a:p>
        </p:txBody>
      </p:sp>
      <p:sp>
        <p:nvSpPr>
          <p:cNvPr id="7" name="Slide Number Placeholder 6"/>
          <p:cNvSpPr>
            <a:spLocks noGrp="1"/>
          </p:cNvSpPr>
          <p:nvPr>
            <p:ph type="sldNum" sz="quarter" idx="12"/>
          </p:nvPr>
        </p:nvSpPr>
        <p:spPr>
          <a:xfrm>
            <a:off x="0" y="6948000"/>
            <a:ext cx="0" cy="0"/>
          </a:xfrm>
        </p:spPr>
        <p:txBody>
          <a:bodyPr/>
          <a:lstStyle>
            <a:lvl1pPr>
              <a:defRPr sz="100">
                <a:noFill/>
              </a:defRPr>
            </a:lvl1pPr>
          </a:lstStyle>
          <a:p>
            <a:fld id="{24C8C45C-947F-4981-8B3F-4F32E973C901}" type="slidenum">
              <a:rPr lang="da-DK" smtClean="0"/>
              <a:pPr/>
              <a:t>‹#›</a:t>
            </a:fld>
            <a:endParaRPr lang="da-DK"/>
          </a:p>
        </p:txBody>
      </p:sp>
      <p:sp>
        <p:nvSpPr>
          <p:cNvPr id="8" name="Title 7"/>
          <p:cNvSpPr>
            <a:spLocks noGrp="1"/>
          </p:cNvSpPr>
          <p:nvPr>
            <p:ph type="title" hasCustomPrompt="1"/>
          </p:nvPr>
        </p:nvSpPr>
        <p:spPr>
          <a:xfrm>
            <a:off x="894486" y="1196976"/>
            <a:ext cx="4204132" cy="1547812"/>
          </a:xfrm>
        </p:spPr>
        <p:txBody>
          <a:bodyPr/>
          <a:lstStyle>
            <a:lvl1pPr>
              <a:defRPr baseline="0">
                <a:solidFill>
                  <a:schemeClr val="bg1"/>
                </a:solidFill>
              </a:defRPr>
            </a:lvl1pPr>
          </a:lstStyle>
          <a:p>
            <a:r>
              <a:rPr lang="da-DK"/>
              <a:t>Indsæt overskrift</a:t>
            </a:r>
          </a:p>
        </p:txBody>
      </p:sp>
      <p:sp>
        <p:nvSpPr>
          <p:cNvPr id="13" name="Text Placeholder 12"/>
          <p:cNvSpPr>
            <a:spLocks noGrp="1"/>
          </p:cNvSpPr>
          <p:nvPr>
            <p:ph type="body" sz="quarter" idx="14" hasCustomPrompt="1"/>
          </p:nvPr>
        </p:nvSpPr>
        <p:spPr>
          <a:xfrm>
            <a:off x="883673" y="2852739"/>
            <a:ext cx="4214944" cy="3303586"/>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tekst</a:t>
            </a:r>
          </a:p>
          <a:p>
            <a:pPr lvl="1"/>
            <a:r>
              <a:rPr lang="da-DK"/>
              <a:t>Second </a:t>
            </a:r>
            <a:r>
              <a:rPr lang="da-DK" err="1"/>
              <a:t>level</a:t>
            </a:r>
            <a:endParaRPr lang="da-DK"/>
          </a:p>
        </p:txBody>
      </p:sp>
      <p:sp>
        <p:nvSpPr>
          <p:cNvPr id="11" name="Rectangle 3">
            <a:extLst>
              <a:ext uri="{FF2B5EF4-FFF2-40B4-BE49-F238E27FC236}">
                <a16:creationId xmlns:a16="http://schemas.microsoft.com/office/drawing/2014/main" id="{45C937D3-2FD3-D148-9B52-28210AC27B20}"/>
              </a:ext>
            </a:extLst>
          </p:cNvPr>
          <p:cNvSpPr/>
          <p:nvPr userDrawn="1"/>
        </p:nvSpPr>
        <p:spPr>
          <a:xfrm>
            <a:off x="6108568" y="0"/>
            <a:ext cx="6083432"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4" name="Text Placeholder 12">
            <a:extLst>
              <a:ext uri="{FF2B5EF4-FFF2-40B4-BE49-F238E27FC236}">
                <a16:creationId xmlns:a16="http://schemas.microsoft.com/office/drawing/2014/main" id="{03A224DA-2850-CB41-8EBA-23FB13A4AF0E}"/>
              </a:ext>
            </a:extLst>
          </p:cNvPr>
          <p:cNvSpPr>
            <a:spLocks noGrp="1"/>
          </p:cNvSpPr>
          <p:nvPr>
            <p:ph type="body" sz="quarter" idx="15" hasCustomPrompt="1"/>
          </p:nvPr>
        </p:nvSpPr>
        <p:spPr>
          <a:xfrm>
            <a:off x="7011092" y="2852739"/>
            <a:ext cx="4214944" cy="3303586"/>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tekst</a:t>
            </a:r>
          </a:p>
          <a:p>
            <a:pPr lvl="1"/>
            <a:r>
              <a:rPr lang="da-DK"/>
              <a:t>Second </a:t>
            </a:r>
            <a:r>
              <a:rPr lang="da-DK" err="1"/>
              <a:t>level</a:t>
            </a:r>
            <a:endParaRPr lang="da-DK"/>
          </a:p>
        </p:txBody>
      </p:sp>
      <p:sp>
        <p:nvSpPr>
          <p:cNvPr id="18" name="Text Placeholder 5">
            <a:extLst>
              <a:ext uri="{FF2B5EF4-FFF2-40B4-BE49-F238E27FC236}">
                <a16:creationId xmlns:a16="http://schemas.microsoft.com/office/drawing/2014/main" id="{EB37FB4A-7EE7-7342-AF40-FDD92B4E8767}"/>
              </a:ext>
            </a:extLst>
          </p:cNvPr>
          <p:cNvSpPr>
            <a:spLocks noGrp="1"/>
          </p:cNvSpPr>
          <p:nvPr>
            <p:ph type="body" sz="quarter" idx="16" hasCustomPrompt="1"/>
          </p:nvPr>
        </p:nvSpPr>
        <p:spPr>
          <a:xfrm>
            <a:off x="7003054" y="1196976"/>
            <a:ext cx="4222982" cy="1547812"/>
          </a:xfrm>
        </p:spPr>
        <p:txBody>
          <a:bodyPr anchor="b" anchorCtr="0"/>
          <a:lstStyle>
            <a:lvl1pPr marL="0" indent="0" algn="l">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overskrift</a:t>
            </a:r>
          </a:p>
        </p:txBody>
      </p:sp>
    </p:spTree>
    <p:extLst>
      <p:ext uri="{BB962C8B-B14F-4D97-AF65-F5344CB8AC3E}">
        <p14:creationId xmlns:p14="http://schemas.microsoft.com/office/powerpoint/2010/main" val="3063736875"/>
      </p:ext>
    </p:extLst>
  </p:cSld>
  <p:clrMapOvr>
    <a:masterClrMapping/>
  </p:clrMapOvr>
  <p:extLst>
    <p:ext uri="{DCECCB84-F9BA-43D5-87BE-67443E8EF086}">
      <p15:sldGuideLst xmlns:p15="http://schemas.microsoft.com/office/powerpoint/2012/main">
        <p15:guide id="1" pos="3568">
          <p15:clr>
            <a:srgbClr val="FBAE40"/>
          </p15:clr>
        </p15:guide>
        <p15:guide id="2" pos="3953">
          <p15:clr>
            <a:srgbClr val="FBAE40"/>
          </p15:clr>
        </p15:guide>
        <p15:guide id="3" pos="415">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 fakta bokse">
    <p:bg>
      <p:bgRef idx="1001">
        <a:schemeClr val="bg1"/>
      </p:bgRef>
    </p:bg>
    <p:spTree>
      <p:nvGrpSpPr>
        <p:cNvPr id="1" name=""/>
        <p:cNvGrpSpPr/>
        <p:nvPr/>
      </p:nvGrpSpPr>
      <p:grpSpPr>
        <a:xfrm>
          <a:off x="0" y="0"/>
          <a:ext cx="0" cy="0"/>
          <a:chOff x="0" y="0"/>
          <a:chExt cx="0" cy="0"/>
        </a:xfrm>
      </p:grpSpPr>
      <p:sp>
        <p:nvSpPr>
          <p:cNvPr id="7" name="Blå baggrund"/>
          <p:cNvSpPr/>
          <p:nvPr userDrawn="1"/>
        </p:nvSpPr>
        <p:spPr>
          <a:xfrm>
            <a:off x="-1" y="0"/>
            <a:ext cx="40644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8" name="Mørk blå baggrund"/>
          <p:cNvSpPr/>
          <p:nvPr userDrawn="1"/>
        </p:nvSpPr>
        <p:spPr>
          <a:xfrm>
            <a:off x="4063800" y="0"/>
            <a:ext cx="40644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9" name="Grøn baggrund"/>
          <p:cNvSpPr/>
          <p:nvPr userDrawn="1"/>
        </p:nvSpPr>
        <p:spPr>
          <a:xfrm>
            <a:off x="8128200" y="0"/>
            <a:ext cx="4064400" cy="685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Title 1"/>
          <p:cNvSpPr>
            <a:spLocks noGrp="1"/>
          </p:cNvSpPr>
          <p:nvPr>
            <p:ph type="title" hasCustomPrompt="1"/>
          </p:nvPr>
        </p:nvSpPr>
        <p:spPr>
          <a:xfrm>
            <a:off x="592199" y="1196975"/>
            <a:ext cx="2880000" cy="1044000"/>
          </a:xfrm>
        </p:spPr>
        <p:txBody>
          <a:bodyPr/>
          <a:lstStyle>
            <a:lvl1pPr algn="ctr">
              <a:defRPr>
                <a:solidFill>
                  <a:schemeClr val="tx1"/>
                </a:solidFill>
              </a:defRPr>
            </a:lvl1pPr>
          </a:lstStyle>
          <a:p>
            <a:r>
              <a:rPr lang="da-DK"/>
              <a:t>Indsæt fakta</a:t>
            </a:r>
          </a:p>
        </p:txBody>
      </p:sp>
      <p:sp>
        <p:nvSpPr>
          <p:cNvPr id="11" name="Text Placeholder 2"/>
          <p:cNvSpPr>
            <a:spLocks noGrp="1"/>
          </p:cNvSpPr>
          <p:nvPr>
            <p:ph type="body" sz="quarter" idx="13" hasCustomPrompt="1"/>
          </p:nvPr>
        </p:nvSpPr>
        <p:spPr>
          <a:xfrm>
            <a:off x="592199" y="2335214"/>
            <a:ext cx="2880000" cy="3821112"/>
          </a:xfrm>
        </p:spPr>
        <p:txBody>
          <a:bodyPr/>
          <a:lstStyle>
            <a:lvl1pPr marL="0" indent="0" algn="ctr">
              <a:buFont typeface="Arial" panose="020B0604020202020204" pitchFamily="34" charset="0"/>
              <a:buNone/>
              <a:defRPr>
                <a:solidFill>
                  <a:schemeClr val="tx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Klik for at indsætte tekst</a:t>
            </a:r>
          </a:p>
        </p:txBody>
      </p:sp>
      <p:sp>
        <p:nvSpPr>
          <p:cNvPr id="13" name="Text Placeholder 3"/>
          <p:cNvSpPr>
            <a:spLocks noGrp="1"/>
          </p:cNvSpPr>
          <p:nvPr>
            <p:ph type="body" sz="quarter" idx="14" hasCustomPrompt="1"/>
          </p:nvPr>
        </p:nvSpPr>
        <p:spPr>
          <a:xfrm>
            <a:off x="4641608" y="1196975"/>
            <a:ext cx="2880000" cy="1044000"/>
          </a:xfrm>
        </p:spPr>
        <p:txBody>
          <a:bodyPr anchor="b" anchorCtr="0"/>
          <a:lstStyle>
            <a:lvl1pPr marL="0" indent="0" algn="ctr">
              <a:lnSpc>
                <a:spcPct val="83000"/>
              </a:lnSpc>
              <a:buFont typeface="Arial" panose="020B0604020202020204" pitchFamily="34" charset="0"/>
              <a:buNone/>
              <a:defRPr sz="4000" cap="all"/>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fakta</a:t>
            </a:r>
          </a:p>
        </p:txBody>
      </p:sp>
      <p:sp>
        <p:nvSpPr>
          <p:cNvPr id="14" name="Text Placeholder 4"/>
          <p:cNvSpPr>
            <a:spLocks noGrp="1"/>
          </p:cNvSpPr>
          <p:nvPr>
            <p:ph type="body" sz="quarter" idx="15" hasCustomPrompt="1"/>
          </p:nvPr>
        </p:nvSpPr>
        <p:spPr>
          <a:xfrm>
            <a:off x="4637758" y="2335213"/>
            <a:ext cx="2880000" cy="3821112"/>
          </a:xfrm>
        </p:spPr>
        <p:txBody>
          <a:bodyPr/>
          <a:lstStyle>
            <a:lvl1pPr marL="0" indent="0" algn="ctr">
              <a:buFont typeface="Arial" panose="020B0604020202020204" pitchFamily="34" charset="0"/>
              <a:buNone/>
              <a:defRPr>
                <a:solidFill>
                  <a:schemeClr val="tx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Klik for at indsætte tekst</a:t>
            </a:r>
          </a:p>
        </p:txBody>
      </p:sp>
      <p:sp>
        <p:nvSpPr>
          <p:cNvPr id="16" name="Text Placeholder 6"/>
          <p:cNvSpPr>
            <a:spLocks noGrp="1"/>
          </p:cNvSpPr>
          <p:nvPr>
            <p:ph type="body" sz="quarter" idx="17" hasCustomPrompt="1"/>
          </p:nvPr>
        </p:nvSpPr>
        <p:spPr>
          <a:xfrm>
            <a:off x="8701559" y="2335213"/>
            <a:ext cx="2880000" cy="3821112"/>
          </a:xfrm>
        </p:spPr>
        <p:txBody>
          <a:bodyPr/>
          <a:lstStyle>
            <a:lvl1pPr marL="0" indent="0" algn="ctr">
              <a:buFont typeface="Arial" charset="0"/>
              <a:buNone/>
              <a:defRPr>
                <a:solidFill>
                  <a:schemeClr val="tx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Klik for at indsætte tekst</a:t>
            </a:r>
          </a:p>
        </p:txBody>
      </p:sp>
      <p:sp>
        <p:nvSpPr>
          <p:cNvPr id="3" name="Date Placeholder 2"/>
          <p:cNvSpPr>
            <a:spLocks noGrp="1"/>
          </p:cNvSpPr>
          <p:nvPr>
            <p:ph type="dt" sz="half" idx="10"/>
          </p:nvPr>
        </p:nvSpPr>
        <p:spPr>
          <a:xfrm>
            <a:off x="0" y="6948000"/>
            <a:ext cx="0" cy="0"/>
          </a:xfrm>
        </p:spPr>
        <p:txBody>
          <a:bodyPr/>
          <a:lstStyle>
            <a:lvl1pPr>
              <a:defRPr sz="100">
                <a:noFill/>
              </a:defRPr>
            </a:lvl1pPr>
          </a:lstStyle>
          <a:p>
            <a:endParaRPr lang="da-DK"/>
          </a:p>
        </p:txBody>
      </p:sp>
      <p:sp>
        <p:nvSpPr>
          <p:cNvPr id="4" name="Footer Placeholder 3"/>
          <p:cNvSpPr>
            <a:spLocks noGrp="1"/>
          </p:cNvSpPr>
          <p:nvPr>
            <p:ph type="ftr" sz="quarter" idx="11"/>
          </p:nvPr>
        </p:nvSpPr>
        <p:spPr>
          <a:xfrm>
            <a:off x="0" y="6948000"/>
            <a:ext cx="0" cy="0"/>
          </a:xfrm>
        </p:spPr>
        <p:txBody>
          <a:bodyPr/>
          <a:lstStyle>
            <a:lvl1pPr>
              <a:defRPr sz="100">
                <a:noFill/>
              </a:defRPr>
            </a:lvl1pPr>
          </a:lstStyle>
          <a:p>
            <a:endParaRPr lang="da-DK"/>
          </a:p>
        </p:txBody>
      </p:sp>
      <p:sp>
        <p:nvSpPr>
          <p:cNvPr id="5" name="Slide Number Placeholder 4"/>
          <p:cNvSpPr>
            <a:spLocks noGrp="1"/>
          </p:cNvSpPr>
          <p:nvPr>
            <p:ph type="sldNum" sz="quarter" idx="12"/>
          </p:nvPr>
        </p:nvSpPr>
        <p:spPr>
          <a:xfrm>
            <a:off x="0" y="6948000"/>
            <a:ext cx="0" cy="0"/>
          </a:xfrm>
        </p:spPr>
        <p:txBody>
          <a:bodyPr/>
          <a:lstStyle>
            <a:lvl1pPr>
              <a:defRPr sz="100">
                <a:noFill/>
              </a:defRPr>
            </a:lvl1pPr>
          </a:lstStyle>
          <a:p>
            <a:fld id="{24C8C45C-947F-4981-8B3F-4F32E973C901}" type="slidenum">
              <a:rPr lang="da-DK" smtClean="0"/>
              <a:pPr/>
              <a:t>‹#›</a:t>
            </a:fld>
            <a:endParaRPr lang="da-DK"/>
          </a:p>
        </p:txBody>
      </p:sp>
      <p:sp>
        <p:nvSpPr>
          <p:cNvPr id="17" name="Rectangle 16"/>
          <p:cNvSpPr/>
          <p:nvPr userDrawn="1"/>
        </p:nvSpPr>
        <p:spPr>
          <a:xfrm>
            <a:off x="626458" y="2635420"/>
            <a:ext cx="646112" cy="24288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18" name="Text Placeholder 3">
            <a:extLst>
              <a:ext uri="{FF2B5EF4-FFF2-40B4-BE49-F238E27FC236}">
                <a16:creationId xmlns:a16="http://schemas.microsoft.com/office/drawing/2014/main" id="{50589394-5D7C-2F4F-8AB5-24F785BCD2BF}"/>
              </a:ext>
            </a:extLst>
          </p:cNvPr>
          <p:cNvSpPr>
            <a:spLocks noGrp="1"/>
          </p:cNvSpPr>
          <p:nvPr>
            <p:ph type="body" sz="quarter" idx="18" hasCustomPrompt="1"/>
          </p:nvPr>
        </p:nvSpPr>
        <p:spPr>
          <a:xfrm>
            <a:off x="8698453" y="1196975"/>
            <a:ext cx="2880000" cy="1044000"/>
          </a:xfrm>
        </p:spPr>
        <p:txBody>
          <a:bodyPr anchor="b" anchorCtr="0"/>
          <a:lstStyle>
            <a:lvl1pPr marL="0" indent="0" algn="ctr">
              <a:lnSpc>
                <a:spcPct val="83000"/>
              </a:lnSpc>
              <a:buFont typeface="Arial" panose="020B0604020202020204" pitchFamily="34" charset="0"/>
              <a:buNone/>
              <a:defRPr sz="4000" cap="all"/>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fakta</a:t>
            </a:r>
          </a:p>
        </p:txBody>
      </p:sp>
    </p:spTree>
    <p:extLst>
      <p:ext uri="{BB962C8B-B14F-4D97-AF65-F5344CB8AC3E}">
        <p14:creationId xmlns:p14="http://schemas.microsoft.com/office/powerpoint/2010/main" val="2293421695"/>
      </p:ext>
    </p:extLst>
  </p:cSld>
  <p:clrMapOvr>
    <a:overrideClrMapping bg1="dk1" tx1="lt1" bg2="dk2" tx2="lt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re fakta bokse med oversk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401184C-B22A-AD40-8EC2-6DB7F8554D36}"/>
              </a:ext>
            </a:extLst>
          </p:cNvPr>
          <p:cNvSpPr>
            <a:spLocks noGrp="1"/>
          </p:cNvSpPr>
          <p:nvPr>
            <p:ph type="title" hasCustomPrompt="1"/>
          </p:nvPr>
        </p:nvSpPr>
        <p:spPr/>
        <p:txBody>
          <a:bodyPr/>
          <a:lstStyle>
            <a:lvl1pPr>
              <a:defRPr/>
            </a:lvl1pPr>
          </a:lstStyle>
          <a:p>
            <a:r>
              <a:rPr lang="da-DK"/>
              <a:t>Indsæt overskrift</a:t>
            </a:r>
          </a:p>
        </p:txBody>
      </p:sp>
      <p:sp>
        <p:nvSpPr>
          <p:cNvPr id="20" name="Pladsholder til tekst 20">
            <a:extLst>
              <a:ext uri="{FF2B5EF4-FFF2-40B4-BE49-F238E27FC236}">
                <a16:creationId xmlns:a16="http://schemas.microsoft.com/office/drawing/2014/main" id="{589E580B-CAF0-0843-9549-CC4DC8EB8383}"/>
              </a:ext>
            </a:extLst>
          </p:cNvPr>
          <p:cNvSpPr>
            <a:spLocks noGrp="1"/>
          </p:cNvSpPr>
          <p:nvPr>
            <p:ph type="body" sz="quarter" idx="18"/>
          </p:nvPr>
        </p:nvSpPr>
        <p:spPr>
          <a:xfrm>
            <a:off x="982662" y="2227943"/>
            <a:ext cx="3248251" cy="4126359"/>
          </a:xfrm>
          <a:solidFill>
            <a:schemeClr val="accent1"/>
          </a:solidFill>
        </p:spPr>
        <p:txBody>
          <a:bodyPr/>
          <a:lstStyle>
            <a:lvl1pPr>
              <a:defRPr>
                <a:solidFill>
                  <a:schemeClr val="accent1"/>
                </a:solidFill>
              </a:defRPr>
            </a:lvl1pPr>
          </a:lstStyle>
          <a:p>
            <a:pPr lvl="0"/>
            <a:r>
              <a:rPr lang="da-DK"/>
              <a:t>Klik for at redigere teksttypografierne i masteren</a:t>
            </a:r>
          </a:p>
        </p:txBody>
      </p:sp>
      <p:sp>
        <p:nvSpPr>
          <p:cNvPr id="21" name="Pladsholder til tekst 20">
            <a:extLst>
              <a:ext uri="{FF2B5EF4-FFF2-40B4-BE49-F238E27FC236}">
                <a16:creationId xmlns:a16="http://schemas.microsoft.com/office/drawing/2014/main" id="{E173464F-0D76-D747-8AD0-2735D2AA339C}"/>
              </a:ext>
            </a:extLst>
          </p:cNvPr>
          <p:cNvSpPr>
            <a:spLocks noGrp="1"/>
          </p:cNvSpPr>
          <p:nvPr>
            <p:ph type="body" sz="quarter" idx="19"/>
          </p:nvPr>
        </p:nvSpPr>
        <p:spPr>
          <a:xfrm>
            <a:off x="4465769" y="2227943"/>
            <a:ext cx="3248251" cy="4126359"/>
          </a:xfrm>
          <a:solidFill>
            <a:schemeClr val="accent2"/>
          </a:solidFill>
        </p:spPr>
        <p:txBody>
          <a:bodyPr/>
          <a:lstStyle>
            <a:lvl1pPr>
              <a:defRPr>
                <a:solidFill>
                  <a:schemeClr val="accent2"/>
                </a:solidFill>
              </a:defRPr>
            </a:lvl1pPr>
          </a:lstStyle>
          <a:p>
            <a:pPr lvl="0"/>
            <a:r>
              <a:rPr lang="da-DK"/>
              <a:t>Klik for at redigere teksttypografierne i masteren</a:t>
            </a:r>
          </a:p>
        </p:txBody>
      </p:sp>
      <p:sp>
        <p:nvSpPr>
          <p:cNvPr id="22" name="Pladsholder til tekst 20">
            <a:extLst>
              <a:ext uri="{FF2B5EF4-FFF2-40B4-BE49-F238E27FC236}">
                <a16:creationId xmlns:a16="http://schemas.microsoft.com/office/drawing/2014/main" id="{D7009CD0-C6D3-DA47-9564-AA91F054FE89}"/>
              </a:ext>
            </a:extLst>
          </p:cNvPr>
          <p:cNvSpPr>
            <a:spLocks noGrp="1"/>
          </p:cNvSpPr>
          <p:nvPr>
            <p:ph type="body" sz="quarter" idx="20"/>
          </p:nvPr>
        </p:nvSpPr>
        <p:spPr>
          <a:xfrm>
            <a:off x="7948876" y="2227943"/>
            <a:ext cx="3248251" cy="4126359"/>
          </a:xfrm>
          <a:solidFill>
            <a:schemeClr val="accent6">
              <a:lumMod val="75000"/>
            </a:schemeClr>
          </a:solidFill>
        </p:spPr>
        <p:txBody>
          <a:bodyPr/>
          <a:lstStyle>
            <a:lvl1pPr>
              <a:defRPr>
                <a:solidFill>
                  <a:schemeClr val="accent6">
                    <a:lumMod val="75000"/>
                  </a:schemeClr>
                </a:solidFill>
              </a:defRPr>
            </a:lvl1pPr>
          </a:lstStyle>
          <a:p>
            <a:pPr lvl="0"/>
            <a:r>
              <a:rPr lang="da-DK"/>
              <a:t>Klik for at redigere teksttypografierne i masteren</a:t>
            </a:r>
          </a:p>
        </p:txBody>
      </p:sp>
      <p:sp>
        <p:nvSpPr>
          <p:cNvPr id="26" name="Text Placeholder 3">
            <a:extLst>
              <a:ext uri="{FF2B5EF4-FFF2-40B4-BE49-F238E27FC236}">
                <a16:creationId xmlns:a16="http://schemas.microsoft.com/office/drawing/2014/main" id="{2B673409-9F47-FB45-A48A-89910EF4B457}"/>
              </a:ext>
            </a:extLst>
          </p:cNvPr>
          <p:cNvSpPr>
            <a:spLocks noGrp="1"/>
          </p:cNvSpPr>
          <p:nvPr>
            <p:ph type="body" sz="quarter" idx="14" hasCustomPrompt="1"/>
          </p:nvPr>
        </p:nvSpPr>
        <p:spPr>
          <a:xfrm>
            <a:off x="1294667" y="2547538"/>
            <a:ext cx="2725789"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fakta</a:t>
            </a:r>
          </a:p>
        </p:txBody>
      </p:sp>
      <p:sp>
        <p:nvSpPr>
          <p:cNvPr id="28" name="Text Placeholder 3">
            <a:extLst>
              <a:ext uri="{FF2B5EF4-FFF2-40B4-BE49-F238E27FC236}">
                <a16:creationId xmlns:a16="http://schemas.microsoft.com/office/drawing/2014/main" id="{774B29C6-58EB-D34C-9127-ACEA3C842249}"/>
              </a:ext>
            </a:extLst>
          </p:cNvPr>
          <p:cNvSpPr>
            <a:spLocks noGrp="1"/>
          </p:cNvSpPr>
          <p:nvPr>
            <p:ph type="body" sz="quarter" idx="23" hasCustomPrompt="1"/>
          </p:nvPr>
        </p:nvSpPr>
        <p:spPr>
          <a:xfrm>
            <a:off x="4727295" y="2547538"/>
            <a:ext cx="2725789"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fakta</a:t>
            </a:r>
          </a:p>
        </p:txBody>
      </p:sp>
      <p:sp>
        <p:nvSpPr>
          <p:cNvPr id="30" name="Text Placeholder 3">
            <a:extLst>
              <a:ext uri="{FF2B5EF4-FFF2-40B4-BE49-F238E27FC236}">
                <a16:creationId xmlns:a16="http://schemas.microsoft.com/office/drawing/2014/main" id="{891A87E3-BEAA-A645-A475-1D81C3B49655}"/>
              </a:ext>
            </a:extLst>
          </p:cNvPr>
          <p:cNvSpPr>
            <a:spLocks noGrp="1"/>
          </p:cNvSpPr>
          <p:nvPr>
            <p:ph type="body" sz="quarter" idx="25" hasCustomPrompt="1"/>
          </p:nvPr>
        </p:nvSpPr>
        <p:spPr>
          <a:xfrm>
            <a:off x="8217980" y="2547538"/>
            <a:ext cx="2725789"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fakta</a:t>
            </a:r>
          </a:p>
        </p:txBody>
      </p:sp>
      <p:sp>
        <p:nvSpPr>
          <p:cNvPr id="32" name="Pladsholder til dato 2">
            <a:extLst>
              <a:ext uri="{FF2B5EF4-FFF2-40B4-BE49-F238E27FC236}">
                <a16:creationId xmlns:a16="http://schemas.microsoft.com/office/drawing/2014/main" id="{6163A414-1DB0-E44F-AA68-084AD5F92A3D}"/>
              </a:ext>
            </a:extLst>
          </p:cNvPr>
          <p:cNvSpPr>
            <a:spLocks noGrp="1"/>
          </p:cNvSpPr>
          <p:nvPr>
            <p:ph type="dt" sz="half" idx="10"/>
          </p:nvPr>
        </p:nvSpPr>
        <p:spPr>
          <a:xfrm>
            <a:off x="8707583" y="6525816"/>
            <a:ext cx="2489544" cy="180000"/>
          </a:xfrm>
        </p:spPr>
        <p:txBody>
          <a:bodyPr/>
          <a:lstStyle/>
          <a:p>
            <a:endParaRPr lang="en-GB"/>
          </a:p>
        </p:txBody>
      </p:sp>
      <p:sp>
        <p:nvSpPr>
          <p:cNvPr id="33" name="Pladsholder til sidefod 3">
            <a:extLst>
              <a:ext uri="{FF2B5EF4-FFF2-40B4-BE49-F238E27FC236}">
                <a16:creationId xmlns:a16="http://schemas.microsoft.com/office/drawing/2014/main" id="{D5BDAAB7-64D3-6F4A-B353-FD3D427AA9B4}"/>
              </a:ext>
            </a:extLst>
          </p:cNvPr>
          <p:cNvSpPr>
            <a:spLocks noGrp="1"/>
          </p:cNvSpPr>
          <p:nvPr>
            <p:ph type="ftr" sz="quarter" idx="11"/>
          </p:nvPr>
        </p:nvSpPr>
        <p:spPr>
          <a:xfrm>
            <a:off x="368559" y="6525816"/>
            <a:ext cx="8182359" cy="180000"/>
          </a:xfrm>
        </p:spPr>
        <p:txBody>
          <a:bodyPr/>
          <a:lstStyle/>
          <a:p>
            <a:endParaRPr lang="en-GB"/>
          </a:p>
        </p:txBody>
      </p:sp>
      <p:sp>
        <p:nvSpPr>
          <p:cNvPr id="34" name="Pladsholder til slidenummer 4">
            <a:extLst>
              <a:ext uri="{FF2B5EF4-FFF2-40B4-BE49-F238E27FC236}">
                <a16:creationId xmlns:a16="http://schemas.microsoft.com/office/drawing/2014/main" id="{69B55418-5C62-9B4C-862D-AC2428413CA1}"/>
              </a:ext>
            </a:extLst>
          </p:cNvPr>
          <p:cNvSpPr>
            <a:spLocks noGrp="1"/>
          </p:cNvSpPr>
          <p:nvPr>
            <p:ph type="sldNum" sz="quarter" idx="12"/>
          </p:nvPr>
        </p:nvSpPr>
        <p:spPr>
          <a:xfrm>
            <a:off x="11209338" y="6525816"/>
            <a:ext cx="610451" cy="180000"/>
          </a:xfrm>
        </p:spPr>
        <p:txBody>
          <a:bodyPr/>
          <a:lstStyle/>
          <a:p>
            <a:fld id="{24C8C45C-947F-4981-8B3F-4F32E973C901}" type="slidenum">
              <a:rPr lang="en-GB" smtClean="0"/>
              <a:pPr/>
              <a:t>‹#›</a:t>
            </a:fld>
            <a:endParaRPr lang="en-GB"/>
          </a:p>
        </p:txBody>
      </p:sp>
      <p:sp>
        <p:nvSpPr>
          <p:cNvPr id="15" name="Text Placeholder 12">
            <a:extLst>
              <a:ext uri="{FF2B5EF4-FFF2-40B4-BE49-F238E27FC236}">
                <a16:creationId xmlns:a16="http://schemas.microsoft.com/office/drawing/2014/main" id="{DADE3066-ED1D-4F49-93F8-391ABD55C090}"/>
              </a:ext>
            </a:extLst>
          </p:cNvPr>
          <p:cNvSpPr>
            <a:spLocks noGrp="1"/>
          </p:cNvSpPr>
          <p:nvPr>
            <p:ph type="body" sz="quarter" idx="27" hasCustomPrompt="1"/>
          </p:nvPr>
        </p:nvSpPr>
        <p:spPr>
          <a:xfrm>
            <a:off x="1290818" y="3521431"/>
            <a:ext cx="2725789" cy="2545540"/>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tekst</a:t>
            </a:r>
          </a:p>
          <a:p>
            <a:pPr lvl="1"/>
            <a:r>
              <a:rPr lang="da-DK"/>
              <a:t>Second </a:t>
            </a:r>
            <a:r>
              <a:rPr lang="da-DK" err="1"/>
              <a:t>level</a:t>
            </a:r>
            <a:endParaRPr lang="da-DK"/>
          </a:p>
        </p:txBody>
      </p:sp>
      <p:sp>
        <p:nvSpPr>
          <p:cNvPr id="16" name="Text Placeholder 12">
            <a:extLst>
              <a:ext uri="{FF2B5EF4-FFF2-40B4-BE49-F238E27FC236}">
                <a16:creationId xmlns:a16="http://schemas.microsoft.com/office/drawing/2014/main" id="{8D7F8424-2719-084A-B7D9-9177E1063F2A}"/>
              </a:ext>
            </a:extLst>
          </p:cNvPr>
          <p:cNvSpPr>
            <a:spLocks noGrp="1"/>
          </p:cNvSpPr>
          <p:nvPr>
            <p:ph type="body" sz="quarter" idx="28" hasCustomPrompt="1"/>
          </p:nvPr>
        </p:nvSpPr>
        <p:spPr>
          <a:xfrm>
            <a:off x="4719818" y="3521431"/>
            <a:ext cx="2725789" cy="2545540"/>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tekst</a:t>
            </a:r>
          </a:p>
          <a:p>
            <a:pPr lvl="1"/>
            <a:r>
              <a:rPr lang="da-DK"/>
              <a:t>Second </a:t>
            </a:r>
            <a:r>
              <a:rPr lang="da-DK" err="1"/>
              <a:t>level</a:t>
            </a:r>
            <a:endParaRPr lang="da-DK"/>
          </a:p>
        </p:txBody>
      </p:sp>
      <p:sp>
        <p:nvSpPr>
          <p:cNvPr id="17" name="Text Placeholder 12">
            <a:extLst>
              <a:ext uri="{FF2B5EF4-FFF2-40B4-BE49-F238E27FC236}">
                <a16:creationId xmlns:a16="http://schemas.microsoft.com/office/drawing/2014/main" id="{6C2F8DB8-478D-2747-97E7-34A79FA6D6D3}"/>
              </a:ext>
            </a:extLst>
          </p:cNvPr>
          <p:cNvSpPr>
            <a:spLocks noGrp="1"/>
          </p:cNvSpPr>
          <p:nvPr>
            <p:ph type="body" sz="quarter" idx="29" hasCustomPrompt="1"/>
          </p:nvPr>
        </p:nvSpPr>
        <p:spPr>
          <a:xfrm>
            <a:off x="8211880" y="3521431"/>
            <a:ext cx="2725789" cy="2545540"/>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tekst</a:t>
            </a:r>
          </a:p>
          <a:p>
            <a:pPr lvl="1"/>
            <a:r>
              <a:rPr lang="da-DK"/>
              <a:t>Second </a:t>
            </a:r>
            <a:r>
              <a:rPr lang="da-DK" err="1"/>
              <a:t>level</a:t>
            </a:r>
            <a:endParaRPr lang="da-DK"/>
          </a:p>
        </p:txBody>
      </p:sp>
    </p:spTree>
    <p:extLst>
      <p:ext uri="{BB962C8B-B14F-4D97-AF65-F5344CB8AC3E}">
        <p14:creationId xmlns:p14="http://schemas.microsoft.com/office/powerpoint/2010/main" val="303935209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 fakta bokse">
    <p:spTree>
      <p:nvGrpSpPr>
        <p:cNvPr id="1" name=""/>
        <p:cNvGrpSpPr/>
        <p:nvPr/>
      </p:nvGrpSpPr>
      <p:grpSpPr>
        <a:xfrm>
          <a:off x="0" y="0"/>
          <a:ext cx="0" cy="0"/>
          <a:chOff x="0" y="0"/>
          <a:chExt cx="0" cy="0"/>
        </a:xfrm>
      </p:grpSpPr>
      <p:sp>
        <p:nvSpPr>
          <p:cNvPr id="24" name="Rektangel 23">
            <a:extLst>
              <a:ext uri="{FF2B5EF4-FFF2-40B4-BE49-F238E27FC236}">
                <a16:creationId xmlns:a16="http://schemas.microsoft.com/office/drawing/2014/main" id="{A70984DD-6FD6-BD49-9823-E01C00074D58}"/>
              </a:ext>
            </a:extLst>
          </p:cNvPr>
          <p:cNvSpPr/>
          <p:nvPr userDrawn="1"/>
        </p:nvSpPr>
        <p:spPr>
          <a:xfrm>
            <a:off x="0" y="0"/>
            <a:ext cx="6102000" cy="343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29" name="Rektangel 28">
            <a:extLst>
              <a:ext uri="{FF2B5EF4-FFF2-40B4-BE49-F238E27FC236}">
                <a16:creationId xmlns:a16="http://schemas.microsoft.com/office/drawing/2014/main" id="{B49CAF25-176E-5A4D-9CBF-5CBAFF28450B}"/>
              </a:ext>
            </a:extLst>
          </p:cNvPr>
          <p:cNvSpPr/>
          <p:nvPr userDrawn="1"/>
        </p:nvSpPr>
        <p:spPr>
          <a:xfrm>
            <a:off x="6102000" y="0"/>
            <a:ext cx="6102000" cy="343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30" name="Rektangel 29">
            <a:extLst>
              <a:ext uri="{FF2B5EF4-FFF2-40B4-BE49-F238E27FC236}">
                <a16:creationId xmlns:a16="http://schemas.microsoft.com/office/drawing/2014/main" id="{2675EE6C-9AF8-5640-8C49-6FCA0D37E4BD}"/>
              </a:ext>
            </a:extLst>
          </p:cNvPr>
          <p:cNvSpPr/>
          <p:nvPr userDrawn="1"/>
        </p:nvSpPr>
        <p:spPr>
          <a:xfrm>
            <a:off x="0" y="3438000"/>
            <a:ext cx="6102000" cy="343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31" name="Rektangel 30">
            <a:extLst>
              <a:ext uri="{FF2B5EF4-FFF2-40B4-BE49-F238E27FC236}">
                <a16:creationId xmlns:a16="http://schemas.microsoft.com/office/drawing/2014/main" id="{0250F1C9-E8CA-1D4D-A702-30E9656301CB}"/>
              </a:ext>
            </a:extLst>
          </p:cNvPr>
          <p:cNvSpPr/>
          <p:nvPr userDrawn="1"/>
        </p:nvSpPr>
        <p:spPr>
          <a:xfrm>
            <a:off x="6102000" y="3438000"/>
            <a:ext cx="6102000" cy="343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46" name="Text Placeholder 3">
            <a:extLst>
              <a:ext uri="{FF2B5EF4-FFF2-40B4-BE49-F238E27FC236}">
                <a16:creationId xmlns:a16="http://schemas.microsoft.com/office/drawing/2014/main" id="{2C280509-312C-EC4E-9055-368511E7B3E1}"/>
              </a:ext>
            </a:extLst>
          </p:cNvPr>
          <p:cNvSpPr>
            <a:spLocks noGrp="1"/>
          </p:cNvSpPr>
          <p:nvPr>
            <p:ph type="body" sz="quarter" idx="14" hasCustomPrompt="1"/>
          </p:nvPr>
        </p:nvSpPr>
        <p:spPr>
          <a:xfrm>
            <a:off x="610242" y="521417"/>
            <a:ext cx="4812631" cy="1044000"/>
          </a:xfrm>
        </p:spPr>
        <p:txBody>
          <a:bodyPr anchor="b" anchorCtr="0"/>
          <a:lstStyle>
            <a:lvl1pPr marL="0" indent="0" algn="l">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overskrift</a:t>
            </a:r>
          </a:p>
        </p:txBody>
      </p:sp>
      <p:sp>
        <p:nvSpPr>
          <p:cNvPr id="50" name="Text Placeholder 3">
            <a:extLst>
              <a:ext uri="{FF2B5EF4-FFF2-40B4-BE49-F238E27FC236}">
                <a16:creationId xmlns:a16="http://schemas.microsoft.com/office/drawing/2014/main" id="{E5BCC922-2B97-6D45-B26E-C9DCD91CA61B}"/>
              </a:ext>
            </a:extLst>
          </p:cNvPr>
          <p:cNvSpPr>
            <a:spLocks noGrp="1"/>
          </p:cNvSpPr>
          <p:nvPr>
            <p:ph type="body" sz="quarter" idx="18" hasCustomPrompt="1"/>
          </p:nvPr>
        </p:nvSpPr>
        <p:spPr>
          <a:xfrm>
            <a:off x="6786475" y="3890259"/>
            <a:ext cx="4812631" cy="1044000"/>
          </a:xfrm>
        </p:spPr>
        <p:txBody>
          <a:bodyPr anchor="b" anchorCtr="0"/>
          <a:lstStyle>
            <a:lvl1pPr marL="0" indent="0" algn="l">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overskrift</a:t>
            </a:r>
          </a:p>
        </p:txBody>
      </p:sp>
      <p:sp>
        <p:nvSpPr>
          <p:cNvPr id="52" name="Text Placeholder 3">
            <a:extLst>
              <a:ext uri="{FF2B5EF4-FFF2-40B4-BE49-F238E27FC236}">
                <a16:creationId xmlns:a16="http://schemas.microsoft.com/office/drawing/2014/main" id="{F1A17406-FA28-AF46-87B0-90C9678BE33E}"/>
              </a:ext>
            </a:extLst>
          </p:cNvPr>
          <p:cNvSpPr>
            <a:spLocks noGrp="1"/>
          </p:cNvSpPr>
          <p:nvPr>
            <p:ph type="body" sz="quarter" idx="20" hasCustomPrompt="1"/>
          </p:nvPr>
        </p:nvSpPr>
        <p:spPr>
          <a:xfrm>
            <a:off x="6786475" y="521417"/>
            <a:ext cx="4812631" cy="1044000"/>
          </a:xfrm>
        </p:spPr>
        <p:txBody>
          <a:bodyPr anchor="b" anchorCtr="0"/>
          <a:lstStyle>
            <a:lvl1pPr marL="0" indent="0" algn="l">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overskrift</a:t>
            </a:r>
          </a:p>
        </p:txBody>
      </p:sp>
      <p:sp>
        <p:nvSpPr>
          <p:cNvPr id="14" name="Text Placeholder 12">
            <a:extLst>
              <a:ext uri="{FF2B5EF4-FFF2-40B4-BE49-F238E27FC236}">
                <a16:creationId xmlns:a16="http://schemas.microsoft.com/office/drawing/2014/main" id="{9974BBC5-8EA0-F544-8FD6-3D20CB74A771}"/>
              </a:ext>
            </a:extLst>
          </p:cNvPr>
          <p:cNvSpPr>
            <a:spLocks noGrp="1"/>
          </p:cNvSpPr>
          <p:nvPr>
            <p:ph type="body" sz="quarter" idx="27" hasCustomPrompt="1"/>
          </p:nvPr>
        </p:nvSpPr>
        <p:spPr>
          <a:xfrm>
            <a:off x="606392" y="1659655"/>
            <a:ext cx="4812631" cy="1496259"/>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tekst</a:t>
            </a:r>
          </a:p>
          <a:p>
            <a:pPr lvl="1"/>
            <a:r>
              <a:rPr lang="da-DK"/>
              <a:t>Second </a:t>
            </a:r>
            <a:r>
              <a:rPr lang="da-DK" err="1"/>
              <a:t>level</a:t>
            </a:r>
            <a:endParaRPr lang="da-DK"/>
          </a:p>
        </p:txBody>
      </p:sp>
      <p:sp>
        <p:nvSpPr>
          <p:cNvPr id="16" name="Text Placeholder 12">
            <a:extLst>
              <a:ext uri="{FF2B5EF4-FFF2-40B4-BE49-F238E27FC236}">
                <a16:creationId xmlns:a16="http://schemas.microsoft.com/office/drawing/2014/main" id="{12B58BAF-EB02-584B-8F8E-308E103900F5}"/>
              </a:ext>
            </a:extLst>
          </p:cNvPr>
          <p:cNvSpPr>
            <a:spLocks noGrp="1"/>
          </p:cNvSpPr>
          <p:nvPr>
            <p:ph type="body" sz="quarter" idx="28" hasCustomPrompt="1"/>
          </p:nvPr>
        </p:nvSpPr>
        <p:spPr>
          <a:xfrm>
            <a:off x="6786475" y="1659655"/>
            <a:ext cx="4812631" cy="1496259"/>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tekst</a:t>
            </a:r>
          </a:p>
          <a:p>
            <a:pPr lvl="1"/>
            <a:r>
              <a:rPr lang="da-DK"/>
              <a:t>Second </a:t>
            </a:r>
            <a:r>
              <a:rPr lang="da-DK" err="1"/>
              <a:t>level</a:t>
            </a:r>
            <a:endParaRPr lang="da-DK"/>
          </a:p>
        </p:txBody>
      </p:sp>
      <p:sp>
        <p:nvSpPr>
          <p:cNvPr id="17" name="Text Placeholder 12">
            <a:extLst>
              <a:ext uri="{FF2B5EF4-FFF2-40B4-BE49-F238E27FC236}">
                <a16:creationId xmlns:a16="http://schemas.microsoft.com/office/drawing/2014/main" id="{04355197-8B32-A144-8021-CBD5A1671475}"/>
              </a:ext>
            </a:extLst>
          </p:cNvPr>
          <p:cNvSpPr>
            <a:spLocks noGrp="1"/>
          </p:cNvSpPr>
          <p:nvPr>
            <p:ph type="body" sz="quarter" idx="29" hasCustomPrompt="1"/>
          </p:nvPr>
        </p:nvSpPr>
        <p:spPr>
          <a:xfrm>
            <a:off x="6786475" y="5033476"/>
            <a:ext cx="4812631" cy="1496259"/>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tekst</a:t>
            </a:r>
          </a:p>
          <a:p>
            <a:pPr lvl="1"/>
            <a:r>
              <a:rPr lang="da-DK"/>
              <a:t>Second </a:t>
            </a:r>
            <a:r>
              <a:rPr lang="da-DK" err="1"/>
              <a:t>level</a:t>
            </a:r>
            <a:endParaRPr lang="da-DK"/>
          </a:p>
        </p:txBody>
      </p:sp>
      <p:sp>
        <p:nvSpPr>
          <p:cNvPr id="18" name="Text Placeholder 3">
            <a:extLst>
              <a:ext uri="{FF2B5EF4-FFF2-40B4-BE49-F238E27FC236}">
                <a16:creationId xmlns:a16="http://schemas.microsoft.com/office/drawing/2014/main" id="{A51270C9-01F1-7647-BB60-707726D0B499}"/>
              </a:ext>
            </a:extLst>
          </p:cNvPr>
          <p:cNvSpPr>
            <a:spLocks noGrp="1"/>
          </p:cNvSpPr>
          <p:nvPr>
            <p:ph type="body" sz="quarter" idx="30" hasCustomPrompt="1"/>
          </p:nvPr>
        </p:nvSpPr>
        <p:spPr>
          <a:xfrm>
            <a:off x="606392" y="3890259"/>
            <a:ext cx="4812631" cy="1044000"/>
          </a:xfrm>
        </p:spPr>
        <p:txBody>
          <a:bodyPr anchor="b" anchorCtr="0"/>
          <a:lstStyle>
            <a:lvl1pPr marL="0" indent="0" algn="l">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overskrift</a:t>
            </a:r>
          </a:p>
        </p:txBody>
      </p:sp>
      <p:sp>
        <p:nvSpPr>
          <p:cNvPr id="19" name="Text Placeholder 12">
            <a:extLst>
              <a:ext uri="{FF2B5EF4-FFF2-40B4-BE49-F238E27FC236}">
                <a16:creationId xmlns:a16="http://schemas.microsoft.com/office/drawing/2014/main" id="{097DD830-2D9D-0F4F-AB87-6A0DF610B3EB}"/>
              </a:ext>
            </a:extLst>
          </p:cNvPr>
          <p:cNvSpPr>
            <a:spLocks noGrp="1"/>
          </p:cNvSpPr>
          <p:nvPr>
            <p:ph type="body" sz="quarter" idx="31" hasCustomPrompt="1"/>
          </p:nvPr>
        </p:nvSpPr>
        <p:spPr>
          <a:xfrm>
            <a:off x="606392" y="5033476"/>
            <a:ext cx="4812631" cy="1496259"/>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tekst</a:t>
            </a:r>
          </a:p>
          <a:p>
            <a:pPr lvl="1"/>
            <a:r>
              <a:rPr lang="da-DK"/>
              <a:t>Second </a:t>
            </a:r>
            <a:r>
              <a:rPr lang="da-DK" err="1"/>
              <a:t>level</a:t>
            </a:r>
            <a:endParaRPr lang="da-DK"/>
          </a:p>
        </p:txBody>
      </p:sp>
    </p:spTree>
    <p:extLst>
      <p:ext uri="{BB962C8B-B14F-4D97-AF65-F5344CB8AC3E}">
        <p14:creationId xmlns:p14="http://schemas.microsoft.com/office/powerpoint/2010/main" val="50644608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6 fakta bokse">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4231207E-52DE-7743-B71F-230159D42985}"/>
              </a:ext>
            </a:extLst>
          </p:cNvPr>
          <p:cNvSpPr/>
          <p:nvPr userDrawn="1"/>
        </p:nvSpPr>
        <p:spPr>
          <a:xfrm>
            <a:off x="0" y="3438854"/>
            <a:ext cx="4064399" cy="343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13" name="Rektangel 12">
            <a:extLst>
              <a:ext uri="{FF2B5EF4-FFF2-40B4-BE49-F238E27FC236}">
                <a16:creationId xmlns:a16="http://schemas.microsoft.com/office/drawing/2014/main" id="{363B3948-444E-AA45-B1E9-7EDF40549589}"/>
              </a:ext>
            </a:extLst>
          </p:cNvPr>
          <p:cNvSpPr/>
          <p:nvPr userDrawn="1"/>
        </p:nvSpPr>
        <p:spPr>
          <a:xfrm>
            <a:off x="4060281" y="3438854"/>
            <a:ext cx="4064399" cy="343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14" name="Rektangel 13">
            <a:extLst>
              <a:ext uri="{FF2B5EF4-FFF2-40B4-BE49-F238E27FC236}">
                <a16:creationId xmlns:a16="http://schemas.microsoft.com/office/drawing/2014/main" id="{B5F8A012-C0A3-7947-83C8-A529753F4C0A}"/>
              </a:ext>
            </a:extLst>
          </p:cNvPr>
          <p:cNvSpPr/>
          <p:nvPr userDrawn="1"/>
        </p:nvSpPr>
        <p:spPr>
          <a:xfrm>
            <a:off x="8123999" y="3438854"/>
            <a:ext cx="4068000" cy="343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6" name="Rektangel 5">
            <a:extLst>
              <a:ext uri="{FF2B5EF4-FFF2-40B4-BE49-F238E27FC236}">
                <a16:creationId xmlns:a16="http://schemas.microsoft.com/office/drawing/2014/main" id="{0BC0267F-007F-3641-8922-B7E2F637F90A}"/>
              </a:ext>
            </a:extLst>
          </p:cNvPr>
          <p:cNvSpPr/>
          <p:nvPr userDrawn="1"/>
        </p:nvSpPr>
        <p:spPr>
          <a:xfrm>
            <a:off x="0" y="0"/>
            <a:ext cx="4064399" cy="343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8" name="Rektangel 7">
            <a:extLst>
              <a:ext uri="{FF2B5EF4-FFF2-40B4-BE49-F238E27FC236}">
                <a16:creationId xmlns:a16="http://schemas.microsoft.com/office/drawing/2014/main" id="{6D5C2644-5515-1A4C-861C-7326752F58CA}"/>
              </a:ext>
            </a:extLst>
          </p:cNvPr>
          <p:cNvSpPr/>
          <p:nvPr userDrawn="1"/>
        </p:nvSpPr>
        <p:spPr>
          <a:xfrm>
            <a:off x="4060281" y="0"/>
            <a:ext cx="4064399" cy="343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10" name="Rektangel 9">
            <a:extLst>
              <a:ext uri="{FF2B5EF4-FFF2-40B4-BE49-F238E27FC236}">
                <a16:creationId xmlns:a16="http://schemas.microsoft.com/office/drawing/2014/main" id="{D49124EA-328E-544F-8063-AD5A0253A45B}"/>
              </a:ext>
            </a:extLst>
          </p:cNvPr>
          <p:cNvSpPr/>
          <p:nvPr userDrawn="1"/>
        </p:nvSpPr>
        <p:spPr>
          <a:xfrm>
            <a:off x="8123999" y="0"/>
            <a:ext cx="4068000" cy="343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15" name="Text Placeholder 3">
            <a:extLst>
              <a:ext uri="{FF2B5EF4-FFF2-40B4-BE49-F238E27FC236}">
                <a16:creationId xmlns:a16="http://schemas.microsoft.com/office/drawing/2014/main" id="{E90D8679-556B-8A40-899D-9C84538CB769}"/>
              </a:ext>
            </a:extLst>
          </p:cNvPr>
          <p:cNvSpPr>
            <a:spLocks noGrp="1"/>
          </p:cNvSpPr>
          <p:nvPr>
            <p:ph type="body" sz="quarter" idx="14" hasCustomPrompt="1"/>
          </p:nvPr>
        </p:nvSpPr>
        <p:spPr>
          <a:xfrm>
            <a:off x="592199" y="2045388"/>
            <a:ext cx="2880000" cy="1044000"/>
          </a:xfrm>
        </p:spPr>
        <p:txBody>
          <a:bodyPr anchor="b" anchorCtr="0"/>
          <a:lstStyle>
            <a:lvl1pPr marL="0" indent="0" algn="ctr">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kon </a:t>
            </a:r>
            <a:br>
              <a:rPr lang="da-DK"/>
            </a:br>
            <a:r>
              <a:rPr lang="da-DK"/>
              <a:t>tekst</a:t>
            </a:r>
          </a:p>
        </p:txBody>
      </p:sp>
      <p:sp>
        <p:nvSpPr>
          <p:cNvPr id="16" name="Text Placeholder 3">
            <a:extLst>
              <a:ext uri="{FF2B5EF4-FFF2-40B4-BE49-F238E27FC236}">
                <a16:creationId xmlns:a16="http://schemas.microsoft.com/office/drawing/2014/main" id="{54B3218E-0749-9E44-8EB8-F4A37D35CA8B}"/>
              </a:ext>
            </a:extLst>
          </p:cNvPr>
          <p:cNvSpPr>
            <a:spLocks noGrp="1"/>
          </p:cNvSpPr>
          <p:nvPr>
            <p:ph type="body" sz="quarter" idx="15" hasCustomPrompt="1"/>
          </p:nvPr>
        </p:nvSpPr>
        <p:spPr>
          <a:xfrm>
            <a:off x="4636298" y="2045388"/>
            <a:ext cx="2880000" cy="1044000"/>
          </a:xfrm>
        </p:spPr>
        <p:txBody>
          <a:bodyPr anchor="b" anchorCtr="0"/>
          <a:lstStyle>
            <a:lvl1pPr marL="0" indent="0" algn="ctr">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kon </a:t>
            </a:r>
            <a:br>
              <a:rPr lang="da-DK"/>
            </a:br>
            <a:r>
              <a:rPr lang="da-DK"/>
              <a:t>tekst</a:t>
            </a:r>
          </a:p>
        </p:txBody>
      </p:sp>
      <p:sp>
        <p:nvSpPr>
          <p:cNvPr id="17" name="Text Placeholder 3">
            <a:extLst>
              <a:ext uri="{FF2B5EF4-FFF2-40B4-BE49-F238E27FC236}">
                <a16:creationId xmlns:a16="http://schemas.microsoft.com/office/drawing/2014/main" id="{C95927F8-1F62-F141-B530-0EFB97A9C3CF}"/>
              </a:ext>
            </a:extLst>
          </p:cNvPr>
          <p:cNvSpPr>
            <a:spLocks noGrp="1"/>
          </p:cNvSpPr>
          <p:nvPr>
            <p:ph type="body" sz="quarter" idx="16" hasCustomPrompt="1"/>
          </p:nvPr>
        </p:nvSpPr>
        <p:spPr>
          <a:xfrm>
            <a:off x="8887787" y="2045388"/>
            <a:ext cx="2880000" cy="1044000"/>
          </a:xfrm>
        </p:spPr>
        <p:txBody>
          <a:bodyPr anchor="b" anchorCtr="0"/>
          <a:lstStyle>
            <a:lvl1pPr marL="0" indent="0" algn="ctr">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kon </a:t>
            </a:r>
            <a:br>
              <a:rPr lang="da-DK"/>
            </a:br>
            <a:r>
              <a:rPr lang="da-DK"/>
              <a:t>tekst</a:t>
            </a:r>
          </a:p>
        </p:txBody>
      </p:sp>
      <p:sp>
        <p:nvSpPr>
          <p:cNvPr id="18" name="Text Placeholder 3">
            <a:extLst>
              <a:ext uri="{FF2B5EF4-FFF2-40B4-BE49-F238E27FC236}">
                <a16:creationId xmlns:a16="http://schemas.microsoft.com/office/drawing/2014/main" id="{7F466B7C-EB91-BF4C-AF64-2F54DF448FEE}"/>
              </a:ext>
            </a:extLst>
          </p:cNvPr>
          <p:cNvSpPr>
            <a:spLocks noGrp="1"/>
          </p:cNvSpPr>
          <p:nvPr>
            <p:ph type="body" sz="quarter" idx="17" hasCustomPrompt="1"/>
          </p:nvPr>
        </p:nvSpPr>
        <p:spPr>
          <a:xfrm>
            <a:off x="592199" y="5476746"/>
            <a:ext cx="2880000" cy="1044000"/>
          </a:xfrm>
        </p:spPr>
        <p:txBody>
          <a:bodyPr anchor="b" anchorCtr="0"/>
          <a:lstStyle>
            <a:lvl1pPr marL="0" indent="0" algn="ctr">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kon </a:t>
            </a:r>
            <a:br>
              <a:rPr lang="da-DK"/>
            </a:br>
            <a:r>
              <a:rPr lang="da-DK"/>
              <a:t>tekst</a:t>
            </a:r>
          </a:p>
        </p:txBody>
      </p:sp>
      <p:sp>
        <p:nvSpPr>
          <p:cNvPr id="19" name="Text Placeholder 3">
            <a:extLst>
              <a:ext uri="{FF2B5EF4-FFF2-40B4-BE49-F238E27FC236}">
                <a16:creationId xmlns:a16="http://schemas.microsoft.com/office/drawing/2014/main" id="{939CC98F-B499-7842-957F-DE634767DFFB}"/>
              </a:ext>
            </a:extLst>
          </p:cNvPr>
          <p:cNvSpPr>
            <a:spLocks noGrp="1"/>
          </p:cNvSpPr>
          <p:nvPr>
            <p:ph type="body" sz="quarter" idx="18" hasCustomPrompt="1"/>
          </p:nvPr>
        </p:nvSpPr>
        <p:spPr>
          <a:xfrm>
            <a:off x="4636298" y="5476746"/>
            <a:ext cx="2880000" cy="1044000"/>
          </a:xfrm>
        </p:spPr>
        <p:txBody>
          <a:bodyPr anchor="b" anchorCtr="0"/>
          <a:lstStyle>
            <a:lvl1pPr marL="0" indent="0" algn="ctr">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kon </a:t>
            </a:r>
            <a:br>
              <a:rPr lang="da-DK"/>
            </a:br>
            <a:r>
              <a:rPr lang="da-DK"/>
              <a:t>tekst</a:t>
            </a:r>
          </a:p>
        </p:txBody>
      </p:sp>
      <p:sp>
        <p:nvSpPr>
          <p:cNvPr id="20" name="Text Placeholder 3">
            <a:extLst>
              <a:ext uri="{FF2B5EF4-FFF2-40B4-BE49-F238E27FC236}">
                <a16:creationId xmlns:a16="http://schemas.microsoft.com/office/drawing/2014/main" id="{7899C76E-502E-5F4D-965E-B2EE55D85BBC}"/>
              </a:ext>
            </a:extLst>
          </p:cNvPr>
          <p:cNvSpPr>
            <a:spLocks noGrp="1"/>
          </p:cNvSpPr>
          <p:nvPr>
            <p:ph type="body" sz="quarter" idx="19" hasCustomPrompt="1"/>
          </p:nvPr>
        </p:nvSpPr>
        <p:spPr>
          <a:xfrm>
            <a:off x="8887787" y="5476746"/>
            <a:ext cx="2880000" cy="1044000"/>
          </a:xfrm>
        </p:spPr>
        <p:txBody>
          <a:bodyPr anchor="b" anchorCtr="0"/>
          <a:lstStyle>
            <a:lvl1pPr marL="0" indent="0" algn="ctr">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kon </a:t>
            </a:r>
            <a:br>
              <a:rPr lang="da-DK"/>
            </a:br>
            <a:r>
              <a:rPr lang="da-DK"/>
              <a:t>tekst</a:t>
            </a:r>
          </a:p>
        </p:txBody>
      </p:sp>
      <p:sp>
        <p:nvSpPr>
          <p:cNvPr id="23" name="Pladsholder til billede 21">
            <a:extLst>
              <a:ext uri="{FF2B5EF4-FFF2-40B4-BE49-F238E27FC236}">
                <a16:creationId xmlns:a16="http://schemas.microsoft.com/office/drawing/2014/main" id="{DF55435F-ADCB-E04B-8525-F3542D26DA3C}"/>
              </a:ext>
            </a:extLst>
          </p:cNvPr>
          <p:cNvSpPr>
            <a:spLocks noGrp="1"/>
          </p:cNvSpPr>
          <p:nvPr>
            <p:ph type="pic" sz="quarter" idx="21" hasCustomPrompt="1"/>
          </p:nvPr>
        </p:nvSpPr>
        <p:spPr>
          <a:xfrm>
            <a:off x="5444480" y="592134"/>
            <a:ext cx="1152000" cy="1152000"/>
          </a:xfrm>
        </p:spPr>
        <p:txBody>
          <a:bodyPr anchor="ctr"/>
          <a:lstStyle>
            <a:lvl1pPr algn="ctr">
              <a:defRPr>
                <a:solidFill>
                  <a:schemeClr val="bg1"/>
                </a:solidFill>
              </a:defRPr>
            </a:lvl1pPr>
          </a:lstStyle>
          <a:p>
            <a:r>
              <a:rPr lang="da-DK"/>
              <a:t>Indsæt ikon</a:t>
            </a:r>
          </a:p>
        </p:txBody>
      </p:sp>
      <p:sp>
        <p:nvSpPr>
          <p:cNvPr id="32" name="Pladsholder til billede 21">
            <a:extLst>
              <a:ext uri="{FF2B5EF4-FFF2-40B4-BE49-F238E27FC236}">
                <a16:creationId xmlns:a16="http://schemas.microsoft.com/office/drawing/2014/main" id="{645988EB-136C-7B47-8BA1-CF5AFA251403}"/>
              </a:ext>
            </a:extLst>
          </p:cNvPr>
          <p:cNvSpPr>
            <a:spLocks noGrp="1"/>
          </p:cNvSpPr>
          <p:nvPr>
            <p:ph type="pic" sz="quarter" idx="22" hasCustomPrompt="1"/>
          </p:nvPr>
        </p:nvSpPr>
        <p:spPr>
          <a:xfrm>
            <a:off x="1428662" y="592134"/>
            <a:ext cx="1152000" cy="1152000"/>
          </a:xfrm>
        </p:spPr>
        <p:txBody>
          <a:bodyPr anchor="ctr"/>
          <a:lstStyle>
            <a:lvl1pPr algn="ctr">
              <a:defRPr>
                <a:solidFill>
                  <a:schemeClr val="bg1"/>
                </a:solidFill>
              </a:defRPr>
            </a:lvl1pPr>
          </a:lstStyle>
          <a:p>
            <a:r>
              <a:rPr lang="da-DK"/>
              <a:t>Indsæt ikon</a:t>
            </a:r>
          </a:p>
        </p:txBody>
      </p:sp>
      <p:sp>
        <p:nvSpPr>
          <p:cNvPr id="33" name="Pladsholder til billede 21">
            <a:extLst>
              <a:ext uri="{FF2B5EF4-FFF2-40B4-BE49-F238E27FC236}">
                <a16:creationId xmlns:a16="http://schemas.microsoft.com/office/drawing/2014/main" id="{25765CAD-7482-C640-9455-1D6708AA64F7}"/>
              </a:ext>
            </a:extLst>
          </p:cNvPr>
          <p:cNvSpPr>
            <a:spLocks noGrp="1"/>
          </p:cNvSpPr>
          <p:nvPr>
            <p:ph type="pic" sz="quarter" idx="23" hasCustomPrompt="1"/>
          </p:nvPr>
        </p:nvSpPr>
        <p:spPr>
          <a:xfrm>
            <a:off x="9592275" y="592134"/>
            <a:ext cx="1152000" cy="1152000"/>
          </a:xfrm>
        </p:spPr>
        <p:txBody>
          <a:bodyPr anchor="ctr"/>
          <a:lstStyle>
            <a:lvl1pPr algn="ctr">
              <a:defRPr>
                <a:solidFill>
                  <a:schemeClr val="bg1"/>
                </a:solidFill>
              </a:defRPr>
            </a:lvl1pPr>
          </a:lstStyle>
          <a:p>
            <a:r>
              <a:rPr lang="da-DK"/>
              <a:t>Indsæt ikon</a:t>
            </a:r>
          </a:p>
        </p:txBody>
      </p:sp>
      <p:sp>
        <p:nvSpPr>
          <p:cNvPr id="34" name="Pladsholder til billede 21">
            <a:extLst>
              <a:ext uri="{FF2B5EF4-FFF2-40B4-BE49-F238E27FC236}">
                <a16:creationId xmlns:a16="http://schemas.microsoft.com/office/drawing/2014/main" id="{10C7017F-8D5D-1C4A-B3D6-C1EF8301B11E}"/>
              </a:ext>
            </a:extLst>
          </p:cNvPr>
          <p:cNvSpPr>
            <a:spLocks noGrp="1"/>
          </p:cNvSpPr>
          <p:nvPr>
            <p:ph type="pic" sz="quarter" idx="24" hasCustomPrompt="1"/>
          </p:nvPr>
        </p:nvSpPr>
        <p:spPr>
          <a:xfrm>
            <a:off x="5444480" y="4032919"/>
            <a:ext cx="1152000" cy="1152000"/>
          </a:xfrm>
        </p:spPr>
        <p:txBody>
          <a:bodyPr anchor="ctr"/>
          <a:lstStyle>
            <a:lvl1pPr algn="ctr">
              <a:defRPr>
                <a:solidFill>
                  <a:schemeClr val="bg1"/>
                </a:solidFill>
              </a:defRPr>
            </a:lvl1pPr>
          </a:lstStyle>
          <a:p>
            <a:r>
              <a:rPr lang="da-DK"/>
              <a:t>Indsæt ikon</a:t>
            </a:r>
          </a:p>
        </p:txBody>
      </p:sp>
      <p:sp>
        <p:nvSpPr>
          <p:cNvPr id="35" name="Pladsholder til billede 21">
            <a:extLst>
              <a:ext uri="{FF2B5EF4-FFF2-40B4-BE49-F238E27FC236}">
                <a16:creationId xmlns:a16="http://schemas.microsoft.com/office/drawing/2014/main" id="{43FF324F-4E4B-1D43-8DE6-5DF412D016B7}"/>
              </a:ext>
            </a:extLst>
          </p:cNvPr>
          <p:cNvSpPr>
            <a:spLocks noGrp="1"/>
          </p:cNvSpPr>
          <p:nvPr>
            <p:ph type="pic" sz="quarter" idx="25" hasCustomPrompt="1"/>
          </p:nvPr>
        </p:nvSpPr>
        <p:spPr>
          <a:xfrm>
            <a:off x="1428662" y="4032919"/>
            <a:ext cx="1152000" cy="1152000"/>
          </a:xfrm>
        </p:spPr>
        <p:txBody>
          <a:bodyPr anchor="ctr"/>
          <a:lstStyle>
            <a:lvl1pPr algn="ctr">
              <a:defRPr>
                <a:solidFill>
                  <a:schemeClr val="bg1"/>
                </a:solidFill>
              </a:defRPr>
            </a:lvl1pPr>
          </a:lstStyle>
          <a:p>
            <a:r>
              <a:rPr lang="da-DK"/>
              <a:t>Indsæt ikon</a:t>
            </a:r>
          </a:p>
        </p:txBody>
      </p:sp>
      <p:sp>
        <p:nvSpPr>
          <p:cNvPr id="36" name="Pladsholder til billede 21">
            <a:extLst>
              <a:ext uri="{FF2B5EF4-FFF2-40B4-BE49-F238E27FC236}">
                <a16:creationId xmlns:a16="http://schemas.microsoft.com/office/drawing/2014/main" id="{6840F908-7AC0-954D-87CD-F598A5733812}"/>
              </a:ext>
            </a:extLst>
          </p:cNvPr>
          <p:cNvSpPr>
            <a:spLocks noGrp="1"/>
          </p:cNvSpPr>
          <p:nvPr>
            <p:ph type="pic" sz="quarter" idx="26" hasCustomPrompt="1"/>
          </p:nvPr>
        </p:nvSpPr>
        <p:spPr>
          <a:xfrm>
            <a:off x="9592275" y="4032919"/>
            <a:ext cx="1152000" cy="1152000"/>
          </a:xfrm>
        </p:spPr>
        <p:txBody>
          <a:bodyPr anchor="ctr"/>
          <a:lstStyle>
            <a:lvl1pPr algn="ctr">
              <a:defRPr>
                <a:solidFill>
                  <a:schemeClr val="bg1"/>
                </a:solidFill>
              </a:defRPr>
            </a:lvl1pPr>
          </a:lstStyle>
          <a:p>
            <a:r>
              <a:rPr lang="da-DK"/>
              <a:t>Indsæt ikon</a:t>
            </a:r>
          </a:p>
        </p:txBody>
      </p:sp>
    </p:spTree>
    <p:extLst>
      <p:ext uri="{BB962C8B-B14F-4D97-AF65-F5344CB8AC3E}">
        <p14:creationId xmlns:p14="http://schemas.microsoft.com/office/powerpoint/2010/main" val="159617257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 faktaboks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a-DK"/>
              <a:t>Indsæt overskrift</a:t>
            </a:r>
          </a:p>
        </p:txBody>
      </p:sp>
      <p:sp>
        <p:nvSpPr>
          <p:cNvPr id="3" name="Pladsholder til dato 2"/>
          <p:cNvSpPr>
            <a:spLocks noGrp="1"/>
          </p:cNvSpPr>
          <p:nvPr>
            <p:ph type="dt" sz="half" idx="10"/>
          </p:nvPr>
        </p:nvSpPr>
        <p:spPr/>
        <p:txBody>
          <a:bodyPr/>
          <a:lstStyle/>
          <a:p>
            <a:endParaRPr lang="en-GB"/>
          </a:p>
        </p:txBody>
      </p:sp>
      <p:sp>
        <p:nvSpPr>
          <p:cNvPr id="4" name="Pladsholder til sidefod 3"/>
          <p:cNvSpPr>
            <a:spLocks noGrp="1"/>
          </p:cNvSpPr>
          <p:nvPr>
            <p:ph type="ftr" sz="quarter" idx="11"/>
          </p:nvPr>
        </p:nvSpPr>
        <p:spPr/>
        <p:txBody>
          <a:bodyPr/>
          <a:lstStyle/>
          <a:p>
            <a:endParaRPr lang="en-GB"/>
          </a:p>
        </p:txBody>
      </p:sp>
      <p:sp>
        <p:nvSpPr>
          <p:cNvPr id="5" name="Pladsholder til slidenummer 4"/>
          <p:cNvSpPr>
            <a:spLocks noGrp="1"/>
          </p:cNvSpPr>
          <p:nvPr>
            <p:ph type="sldNum" sz="quarter" idx="12"/>
          </p:nvPr>
        </p:nvSpPr>
        <p:spPr/>
        <p:txBody>
          <a:bodyPr/>
          <a:lstStyle/>
          <a:p>
            <a:fld id="{24C8C45C-947F-4981-8B3F-4F32E973C901}" type="slidenum">
              <a:rPr lang="en-GB" smtClean="0"/>
              <a:pPr/>
              <a:t>‹#›</a:t>
            </a:fld>
            <a:endParaRPr lang="en-GB"/>
          </a:p>
        </p:txBody>
      </p:sp>
      <p:sp>
        <p:nvSpPr>
          <p:cNvPr id="9" name="Pladsholder til tekst 9"/>
          <p:cNvSpPr>
            <a:spLocks noGrp="1"/>
          </p:cNvSpPr>
          <p:nvPr>
            <p:ph type="body" sz="quarter" idx="15" hasCustomPrompt="1"/>
          </p:nvPr>
        </p:nvSpPr>
        <p:spPr>
          <a:xfrm>
            <a:off x="982663" y="2024063"/>
            <a:ext cx="10214464" cy="720725"/>
          </a:xfrm>
        </p:spPr>
        <p:txBody>
          <a:bodyPr/>
          <a:lstStyle>
            <a:lvl1pPr>
              <a:defRPr sz="2200">
                <a:solidFill>
                  <a:schemeClr val="accent1"/>
                </a:solidFill>
              </a:defRPr>
            </a:lvl1pPr>
          </a:lstStyle>
          <a:p>
            <a:pPr lvl="0"/>
            <a:r>
              <a:rPr lang="da-DK"/>
              <a:t>Indsæt underoverskrift eller indledning</a:t>
            </a:r>
          </a:p>
        </p:txBody>
      </p:sp>
      <p:sp>
        <p:nvSpPr>
          <p:cNvPr id="21" name="Pladsholder til tekst 20">
            <a:extLst>
              <a:ext uri="{FF2B5EF4-FFF2-40B4-BE49-F238E27FC236}">
                <a16:creationId xmlns:a16="http://schemas.microsoft.com/office/drawing/2014/main" id="{504E1570-7FD5-B94C-96B2-87EEE2656BB9}"/>
              </a:ext>
            </a:extLst>
          </p:cNvPr>
          <p:cNvSpPr>
            <a:spLocks noGrp="1"/>
          </p:cNvSpPr>
          <p:nvPr>
            <p:ph type="body" sz="quarter" idx="18"/>
          </p:nvPr>
        </p:nvSpPr>
        <p:spPr>
          <a:xfrm>
            <a:off x="982663" y="2916302"/>
            <a:ext cx="2398100" cy="3438000"/>
          </a:xfrm>
          <a:solidFill>
            <a:schemeClr val="accent1"/>
          </a:solidFill>
        </p:spPr>
        <p:txBody>
          <a:bodyPr/>
          <a:lstStyle>
            <a:lvl1pPr>
              <a:defRPr>
                <a:solidFill>
                  <a:schemeClr val="accent1"/>
                </a:solidFill>
              </a:defRPr>
            </a:lvl1pPr>
          </a:lstStyle>
          <a:p>
            <a:pPr lvl="0"/>
            <a:r>
              <a:rPr lang="da-DK"/>
              <a:t>Klik for at redigere teksttypografierne i masteren</a:t>
            </a:r>
          </a:p>
        </p:txBody>
      </p:sp>
      <p:sp>
        <p:nvSpPr>
          <p:cNvPr id="24" name="Pladsholder til tekst 20">
            <a:extLst>
              <a:ext uri="{FF2B5EF4-FFF2-40B4-BE49-F238E27FC236}">
                <a16:creationId xmlns:a16="http://schemas.microsoft.com/office/drawing/2014/main" id="{C1474434-9748-3C4A-8FFE-6507601F8B83}"/>
              </a:ext>
            </a:extLst>
          </p:cNvPr>
          <p:cNvSpPr>
            <a:spLocks noGrp="1"/>
          </p:cNvSpPr>
          <p:nvPr>
            <p:ph type="body" sz="quarter" idx="19"/>
          </p:nvPr>
        </p:nvSpPr>
        <p:spPr>
          <a:xfrm>
            <a:off x="3597232" y="2916302"/>
            <a:ext cx="2398100" cy="3438000"/>
          </a:xfrm>
          <a:solidFill>
            <a:schemeClr val="accent2"/>
          </a:solidFill>
        </p:spPr>
        <p:txBody>
          <a:bodyPr/>
          <a:lstStyle>
            <a:lvl1pPr>
              <a:defRPr>
                <a:solidFill>
                  <a:schemeClr val="accent2"/>
                </a:solidFill>
              </a:defRPr>
            </a:lvl1pPr>
          </a:lstStyle>
          <a:p>
            <a:pPr lvl="0"/>
            <a:r>
              <a:rPr lang="da-DK"/>
              <a:t>Klik for at redigere teksttypografierne i masteren</a:t>
            </a:r>
          </a:p>
        </p:txBody>
      </p:sp>
      <p:sp>
        <p:nvSpPr>
          <p:cNvPr id="25" name="Pladsholder til tekst 20">
            <a:extLst>
              <a:ext uri="{FF2B5EF4-FFF2-40B4-BE49-F238E27FC236}">
                <a16:creationId xmlns:a16="http://schemas.microsoft.com/office/drawing/2014/main" id="{9AEFC2A5-60D1-1B41-8B68-EE22149A305F}"/>
              </a:ext>
            </a:extLst>
          </p:cNvPr>
          <p:cNvSpPr>
            <a:spLocks noGrp="1"/>
          </p:cNvSpPr>
          <p:nvPr>
            <p:ph type="body" sz="quarter" idx="20"/>
          </p:nvPr>
        </p:nvSpPr>
        <p:spPr>
          <a:xfrm>
            <a:off x="6211801" y="2916302"/>
            <a:ext cx="2398100" cy="3438000"/>
          </a:xfrm>
          <a:solidFill>
            <a:schemeClr val="bg2"/>
          </a:solidFill>
        </p:spPr>
        <p:txBody>
          <a:bodyPr/>
          <a:lstStyle>
            <a:lvl1pPr>
              <a:defRPr>
                <a:solidFill>
                  <a:schemeClr val="bg2"/>
                </a:solidFill>
              </a:defRPr>
            </a:lvl1pPr>
          </a:lstStyle>
          <a:p>
            <a:pPr lvl="0"/>
            <a:r>
              <a:rPr lang="da-DK"/>
              <a:t>Klik for at redigere teksttypografierne i masteren</a:t>
            </a:r>
          </a:p>
        </p:txBody>
      </p:sp>
      <p:sp>
        <p:nvSpPr>
          <p:cNvPr id="26" name="Pladsholder til tekst 20">
            <a:extLst>
              <a:ext uri="{FF2B5EF4-FFF2-40B4-BE49-F238E27FC236}">
                <a16:creationId xmlns:a16="http://schemas.microsoft.com/office/drawing/2014/main" id="{E9448C85-B257-644C-B8A8-8DF0E31FC0AB}"/>
              </a:ext>
            </a:extLst>
          </p:cNvPr>
          <p:cNvSpPr>
            <a:spLocks noGrp="1"/>
          </p:cNvSpPr>
          <p:nvPr>
            <p:ph type="body" sz="quarter" idx="21"/>
          </p:nvPr>
        </p:nvSpPr>
        <p:spPr>
          <a:xfrm>
            <a:off x="8826370" y="2916302"/>
            <a:ext cx="2398100" cy="3438000"/>
          </a:xfrm>
          <a:solidFill>
            <a:schemeClr val="accent5"/>
          </a:solidFill>
        </p:spPr>
        <p:txBody>
          <a:bodyPr/>
          <a:lstStyle>
            <a:lvl1pPr>
              <a:defRPr>
                <a:solidFill>
                  <a:schemeClr val="accent5"/>
                </a:solidFill>
              </a:defRPr>
            </a:lvl1pPr>
          </a:lstStyle>
          <a:p>
            <a:pPr lvl="0"/>
            <a:r>
              <a:rPr lang="da-DK"/>
              <a:t>Klik for at redigere teksttypografierne i masteren</a:t>
            </a:r>
          </a:p>
        </p:txBody>
      </p:sp>
      <p:sp>
        <p:nvSpPr>
          <p:cNvPr id="27" name="Text Placeholder 3">
            <a:extLst>
              <a:ext uri="{FF2B5EF4-FFF2-40B4-BE49-F238E27FC236}">
                <a16:creationId xmlns:a16="http://schemas.microsoft.com/office/drawing/2014/main" id="{5D6F8130-2DB6-AE4B-8369-FF1DA067AEA4}"/>
              </a:ext>
            </a:extLst>
          </p:cNvPr>
          <p:cNvSpPr>
            <a:spLocks noGrp="1"/>
          </p:cNvSpPr>
          <p:nvPr>
            <p:ph type="body" sz="quarter" idx="14" hasCustomPrompt="1"/>
          </p:nvPr>
        </p:nvSpPr>
        <p:spPr>
          <a:xfrm>
            <a:off x="1135010" y="3078760"/>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fakta</a:t>
            </a:r>
          </a:p>
        </p:txBody>
      </p:sp>
      <p:sp>
        <p:nvSpPr>
          <p:cNvPr id="28" name="Text Placeholder 4">
            <a:extLst>
              <a:ext uri="{FF2B5EF4-FFF2-40B4-BE49-F238E27FC236}">
                <a16:creationId xmlns:a16="http://schemas.microsoft.com/office/drawing/2014/main" id="{BE5129DE-B085-9B48-B3C2-DDFCB4E99863}"/>
              </a:ext>
            </a:extLst>
          </p:cNvPr>
          <p:cNvSpPr>
            <a:spLocks noGrp="1"/>
          </p:cNvSpPr>
          <p:nvPr>
            <p:ph type="body" sz="quarter" idx="22" hasCustomPrompt="1"/>
          </p:nvPr>
        </p:nvSpPr>
        <p:spPr>
          <a:xfrm>
            <a:off x="1131160" y="4000403"/>
            <a:ext cx="2140546" cy="2257784"/>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Tilføj tekst</a:t>
            </a:r>
          </a:p>
        </p:txBody>
      </p:sp>
      <p:sp>
        <p:nvSpPr>
          <p:cNvPr id="29" name="Text Placeholder 3">
            <a:extLst>
              <a:ext uri="{FF2B5EF4-FFF2-40B4-BE49-F238E27FC236}">
                <a16:creationId xmlns:a16="http://schemas.microsoft.com/office/drawing/2014/main" id="{54E2AF37-E71E-F54A-BE4C-70EAE52EEAB2}"/>
              </a:ext>
            </a:extLst>
          </p:cNvPr>
          <p:cNvSpPr>
            <a:spLocks noGrp="1"/>
          </p:cNvSpPr>
          <p:nvPr>
            <p:ph type="body" sz="quarter" idx="23" hasCustomPrompt="1"/>
          </p:nvPr>
        </p:nvSpPr>
        <p:spPr>
          <a:xfrm>
            <a:off x="3743986" y="3078760"/>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fakta</a:t>
            </a:r>
          </a:p>
        </p:txBody>
      </p:sp>
      <p:sp>
        <p:nvSpPr>
          <p:cNvPr id="30" name="Text Placeholder 4">
            <a:extLst>
              <a:ext uri="{FF2B5EF4-FFF2-40B4-BE49-F238E27FC236}">
                <a16:creationId xmlns:a16="http://schemas.microsoft.com/office/drawing/2014/main" id="{E5F89DFA-B682-8040-8D6C-BADC14138F0C}"/>
              </a:ext>
            </a:extLst>
          </p:cNvPr>
          <p:cNvSpPr>
            <a:spLocks noGrp="1"/>
          </p:cNvSpPr>
          <p:nvPr>
            <p:ph type="body" sz="quarter" idx="24" hasCustomPrompt="1"/>
          </p:nvPr>
        </p:nvSpPr>
        <p:spPr>
          <a:xfrm>
            <a:off x="3740136" y="4000403"/>
            <a:ext cx="2140546" cy="2257784"/>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Tilføj tekst</a:t>
            </a:r>
          </a:p>
        </p:txBody>
      </p:sp>
      <p:sp>
        <p:nvSpPr>
          <p:cNvPr id="31" name="Text Placeholder 3">
            <a:extLst>
              <a:ext uri="{FF2B5EF4-FFF2-40B4-BE49-F238E27FC236}">
                <a16:creationId xmlns:a16="http://schemas.microsoft.com/office/drawing/2014/main" id="{941FBE6E-ED14-5140-A488-5284A55A8F3E}"/>
              </a:ext>
            </a:extLst>
          </p:cNvPr>
          <p:cNvSpPr>
            <a:spLocks noGrp="1"/>
          </p:cNvSpPr>
          <p:nvPr>
            <p:ph type="body" sz="quarter" idx="25" hasCustomPrompt="1"/>
          </p:nvPr>
        </p:nvSpPr>
        <p:spPr>
          <a:xfrm>
            <a:off x="6352962" y="3078760"/>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fakta</a:t>
            </a:r>
          </a:p>
        </p:txBody>
      </p:sp>
      <p:sp>
        <p:nvSpPr>
          <p:cNvPr id="32" name="Text Placeholder 4">
            <a:extLst>
              <a:ext uri="{FF2B5EF4-FFF2-40B4-BE49-F238E27FC236}">
                <a16:creationId xmlns:a16="http://schemas.microsoft.com/office/drawing/2014/main" id="{0CFC515D-6BD2-6F45-B5F2-67564A3F63D6}"/>
              </a:ext>
            </a:extLst>
          </p:cNvPr>
          <p:cNvSpPr>
            <a:spLocks noGrp="1"/>
          </p:cNvSpPr>
          <p:nvPr>
            <p:ph type="body" sz="quarter" idx="26" hasCustomPrompt="1"/>
          </p:nvPr>
        </p:nvSpPr>
        <p:spPr>
          <a:xfrm>
            <a:off x="6349112" y="4000403"/>
            <a:ext cx="2140546" cy="2257784"/>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Tilføj tekst</a:t>
            </a:r>
          </a:p>
        </p:txBody>
      </p:sp>
      <p:sp>
        <p:nvSpPr>
          <p:cNvPr id="33" name="Text Placeholder 3">
            <a:extLst>
              <a:ext uri="{FF2B5EF4-FFF2-40B4-BE49-F238E27FC236}">
                <a16:creationId xmlns:a16="http://schemas.microsoft.com/office/drawing/2014/main" id="{3B79C489-0923-8D4F-8FF1-A87C901F23C8}"/>
              </a:ext>
            </a:extLst>
          </p:cNvPr>
          <p:cNvSpPr>
            <a:spLocks noGrp="1"/>
          </p:cNvSpPr>
          <p:nvPr>
            <p:ph type="body" sz="quarter" idx="27" hasCustomPrompt="1"/>
          </p:nvPr>
        </p:nvSpPr>
        <p:spPr>
          <a:xfrm>
            <a:off x="8978716" y="3078760"/>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fakta</a:t>
            </a:r>
          </a:p>
        </p:txBody>
      </p:sp>
      <p:sp>
        <p:nvSpPr>
          <p:cNvPr id="34" name="Text Placeholder 4">
            <a:extLst>
              <a:ext uri="{FF2B5EF4-FFF2-40B4-BE49-F238E27FC236}">
                <a16:creationId xmlns:a16="http://schemas.microsoft.com/office/drawing/2014/main" id="{032721F4-3138-C84F-987A-B1996ABE4AA9}"/>
              </a:ext>
            </a:extLst>
          </p:cNvPr>
          <p:cNvSpPr>
            <a:spLocks noGrp="1"/>
          </p:cNvSpPr>
          <p:nvPr>
            <p:ph type="body" sz="quarter" idx="28" hasCustomPrompt="1"/>
          </p:nvPr>
        </p:nvSpPr>
        <p:spPr>
          <a:xfrm>
            <a:off x="8974866" y="4000403"/>
            <a:ext cx="2140546" cy="2257784"/>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Tilføj tekst</a:t>
            </a:r>
          </a:p>
        </p:txBody>
      </p:sp>
    </p:spTree>
    <p:extLst>
      <p:ext uri="{BB962C8B-B14F-4D97-AF65-F5344CB8AC3E}">
        <p14:creationId xmlns:p14="http://schemas.microsoft.com/office/powerpoint/2010/main" val="5213050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 faktabokse med bille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a-DK"/>
              <a:t>Indsæt overskrift</a:t>
            </a:r>
          </a:p>
        </p:txBody>
      </p:sp>
      <p:sp>
        <p:nvSpPr>
          <p:cNvPr id="3" name="Pladsholder til dato 2"/>
          <p:cNvSpPr>
            <a:spLocks noGrp="1"/>
          </p:cNvSpPr>
          <p:nvPr>
            <p:ph type="dt" sz="half" idx="10"/>
          </p:nvPr>
        </p:nvSpPr>
        <p:spPr/>
        <p:txBody>
          <a:bodyPr/>
          <a:lstStyle/>
          <a:p>
            <a:endParaRPr lang="en-GB"/>
          </a:p>
        </p:txBody>
      </p:sp>
      <p:sp>
        <p:nvSpPr>
          <p:cNvPr id="4" name="Pladsholder til sidefod 3"/>
          <p:cNvSpPr>
            <a:spLocks noGrp="1"/>
          </p:cNvSpPr>
          <p:nvPr>
            <p:ph type="ftr" sz="quarter" idx="11"/>
          </p:nvPr>
        </p:nvSpPr>
        <p:spPr/>
        <p:txBody>
          <a:bodyPr/>
          <a:lstStyle/>
          <a:p>
            <a:endParaRPr lang="en-GB"/>
          </a:p>
        </p:txBody>
      </p:sp>
      <p:sp>
        <p:nvSpPr>
          <p:cNvPr id="5" name="Pladsholder til slidenummer 4"/>
          <p:cNvSpPr>
            <a:spLocks noGrp="1"/>
          </p:cNvSpPr>
          <p:nvPr>
            <p:ph type="sldNum" sz="quarter" idx="12"/>
          </p:nvPr>
        </p:nvSpPr>
        <p:spPr/>
        <p:txBody>
          <a:bodyPr/>
          <a:lstStyle/>
          <a:p>
            <a:fld id="{24C8C45C-947F-4981-8B3F-4F32E973C901}" type="slidenum">
              <a:rPr lang="en-GB" smtClean="0"/>
              <a:pPr/>
              <a:t>‹#›</a:t>
            </a:fld>
            <a:endParaRPr lang="en-GB"/>
          </a:p>
        </p:txBody>
      </p:sp>
      <p:sp>
        <p:nvSpPr>
          <p:cNvPr id="9" name="Pladsholder til tekst 9"/>
          <p:cNvSpPr>
            <a:spLocks noGrp="1"/>
          </p:cNvSpPr>
          <p:nvPr>
            <p:ph type="body" sz="quarter" idx="15" hasCustomPrompt="1"/>
          </p:nvPr>
        </p:nvSpPr>
        <p:spPr>
          <a:xfrm>
            <a:off x="982663" y="2024063"/>
            <a:ext cx="10214464" cy="400355"/>
          </a:xfrm>
        </p:spPr>
        <p:txBody>
          <a:bodyPr/>
          <a:lstStyle>
            <a:lvl1pPr>
              <a:defRPr sz="2200">
                <a:solidFill>
                  <a:schemeClr val="accent1"/>
                </a:solidFill>
              </a:defRPr>
            </a:lvl1pPr>
          </a:lstStyle>
          <a:p>
            <a:pPr lvl="0"/>
            <a:r>
              <a:rPr lang="da-DK"/>
              <a:t>Indsæt underoverskrift eller indledning</a:t>
            </a:r>
          </a:p>
        </p:txBody>
      </p:sp>
      <p:sp>
        <p:nvSpPr>
          <p:cNvPr id="21" name="Pladsholder til tekst 20">
            <a:extLst>
              <a:ext uri="{FF2B5EF4-FFF2-40B4-BE49-F238E27FC236}">
                <a16:creationId xmlns:a16="http://schemas.microsoft.com/office/drawing/2014/main" id="{504E1570-7FD5-B94C-96B2-87EEE2656BB9}"/>
              </a:ext>
            </a:extLst>
          </p:cNvPr>
          <p:cNvSpPr>
            <a:spLocks noGrp="1"/>
          </p:cNvSpPr>
          <p:nvPr>
            <p:ph type="body" sz="quarter" idx="18"/>
          </p:nvPr>
        </p:nvSpPr>
        <p:spPr>
          <a:xfrm>
            <a:off x="982663" y="3657600"/>
            <a:ext cx="2398100" cy="2696702"/>
          </a:xfrm>
          <a:solidFill>
            <a:schemeClr val="accent1"/>
          </a:solidFill>
        </p:spPr>
        <p:txBody>
          <a:bodyPr/>
          <a:lstStyle>
            <a:lvl1pPr>
              <a:defRPr>
                <a:solidFill>
                  <a:schemeClr val="accent1"/>
                </a:solidFill>
              </a:defRPr>
            </a:lvl1pPr>
          </a:lstStyle>
          <a:p>
            <a:pPr lvl="0"/>
            <a:r>
              <a:rPr lang="da-DK"/>
              <a:t>Klik for at redigere teksttypografierne i masteren</a:t>
            </a:r>
          </a:p>
        </p:txBody>
      </p:sp>
      <p:sp>
        <p:nvSpPr>
          <p:cNvPr id="24" name="Pladsholder til tekst 20">
            <a:extLst>
              <a:ext uri="{FF2B5EF4-FFF2-40B4-BE49-F238E27FC236}">
                <a16:creationId xmlns:a16="http://schemas.microsoft.com/office/drawing/2014/main" id="{C1474434-9748-3C4A-8FFE-6507601F8B83}"/>
              </a:ext>
            </a:extLst>
          </p:cNvPr>
          <p:cNvSpPr>
            <a:spLocks noGrp="1"/>
          </p:cNvSpPr>
          <p:nvPr>
            <p:ph type="body" sz="quarter" idx="19"/>
          </p:nvPr>
        </p:nvSpPr>
        <p:spPr>
          <a:xfrm>
            <a:off x="3597232" y="3657600"/>
            <a:ext cx="2398100" cy="2696702"/>
          </a:xfrm>
          <a:solidFill>
            <a:schemeClr val="accent1"/>
          </a:solidFill>
        </p:spPr>
        <p:txBody>
          <a:bodyPr/>
          <a:lstStyle>
            <a:lvl1pPr>
              <a:defRPr>
                <a:solidFill>
                  <a:schemeClr val="accent1"/>
                </a:solidFill>
              </a:defRPr>
            </a:lvl1pPr>
          </a:lstStyle>
          <a:p>
            <a:pPr lvl="0"/>
            <a:r>
              <a:rPr lang="da-DK"/>
              <a:t>Klik for at redigere teksttypografierne i masteren</a:t>
            </a:r>
          </a:p>
        </p:txBody>
      </p:sp>
      <p:sp>
        <p:nvSpPr>
          <p:cNvPr id="25" name="Pladsholder til tekst 20">
            <a:extLst>
              <a:ext uri="{FF2B5EF4-FFF2-40B4-BE49-F238E27FC236}">
                <a16:creationId xmlns:a16="http://schemas.microsoft.com/office/drawing/2014/main" id="{9AEFC2A5-60D1-1B41-8B68-EE22149A305F}"/>
              </a:ext>
            </a:extLst>
          </p:cNvPr>
          <p:cNvSpPr>
            <a:spLocks noGrp="1"/>
          </p:cNvSpPr>
          <p:nvPr>
            <p:ph type="body" sz="quarter" idx="20"/>
          </p:nvPr>
        </p:nvSpPr>
        <p:spPr>
          <a:xfrm>
            <a:off x="6211801" y="3657600"/>
            <a:ext cx="2398100" cy="2696702"/>
          </a:xfrm>
          <a:solidFill>
            <a:schemeClr val="accent1"/>
          </a:solidFill>
        </p:spPr>
        <p:txBody>
          <a:bodyPr/>
          <a:lstStyle>
            <a:lvl1pPr>
              <a:defRPr>
                <a:solidFill>
                  <a:schemeClr val="accent1"/>
                </a:solidFill>
              </a:defRPr>
            </a:lvl1pPr>
          </a:lstStyle>
          <a:p>
            <a:pPr lvl="0"/>
            <a:r>
              <a:rPr lang="da-DK"/>
              <a:t>Klik for at redigere teksttypografierne i masteren</a:t>
            </a:r>
          </a:p>
        </p:txBody>
      </p:sp>
      <p:sp>
        <p:nvSpPr>
          <p:cNvPr id="26" name="Pladsholder til tekst 20">
            <a:extLst>
              <a:ext uri="{FF2B5EF4-FFF2-40B4-BE49-F238E27FC236}">
                <a16:creationId xmlns:a16="http://schemas.microsoft.com/office/drawing/2014/main" id="{E9448C85-B257-644C-B8A8-8DF0E31FC0AB}"/>
              </a:ext>
            </a:extLst>
          </p:cNvPr>
          <p:cNvSpPr>
            <a:spLocks noGrp="1"/>
          </p:cNvSpPr>
          <p:nvPr>
            <p:ph type="body" sz="quarter" idx="21"/>
          </p:nvPr>
        </p:nvSpPr>
        <p:spPr>
          <a:xfrm>
            <a:off x="8826370" y="3657600"/>
            <a:ext cx="2398100" cy="2696702"/>
          </a:xfrm>
          <a:solidFill>
            <a:schemeClr val="accent1"/>
          </a:solidFill>
        </p:spPr>
        <p:txBody>
          <a:bodyPr/>
          <a:lstStyle>
            <a:lvl1pPr>
              <a:defRPr>
                <a:solidFill>
                  <a:schemeClr val="accent1"/>
                </a:solidFill>
              </a:defRPr>
            </a:lvl1pPr>
          </a:lstStyle>
          <a:p>
            <a:pPr lvl="0"/>
            <a:r>
              <a:rPr lang="da-DK"/>
              <a:t>Klik for at redigere teksttypografierne i masteren</a:t>
            </a:r>
          </a:p>
        </p:txBody>
      </p:sp>
      <p:sp>
        <p:nvSpPr>
          <p:cNvPr id="27" name="Text Placeholder 3">
            <a:extLst>
              <a:ext uri="{FF2B5EF4-FFF2-40B4-BE49-F238E27FC236}">
                <a16:creationId xmlns:a16="http://schemas.microsoft.com/office/drawing/2014/main" id="{5D6F8130-2DB6-AE4B-8369-FF1DA067AEA4}"/>
              </a:ext>
            </a:extLst>
          </p:cNvPr>
          <p:cNvSpPr>
            <a:spLocks noGrp="1"/>
          </p:cNvSpPr>
          <p:nvPr>
            <p:ph type="body" sz="quarter" idx="14" hasCustomPrompt="1"/>
          </p:nvPr>
        </p:nvSpPr>
        <p:spPr>
          <a:xfrm>
            <a:off x="1135010" y="3758269"/>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fakta</a:t>
            </a:r>
          </a:p>
        </p:txBody>
      </p:sp>
      <p:sp>
        <p:nvSpPr>
          <p:cNvPr id="28" name="Text Placeholder 4">
            <a:extLst>
              <a:ext uri="{FF2B5EF4-FFF2-40B4-BE49-F238E27FC236}">
                <a16:creationId xmlns:a16="http://schemas.microsoft.com/office/drawing/2014/main" id="{BE5129DE-B085-9B48-B3C2-DDFCB4E99863}"/>
              </a:ext>
            </a:extLst>
          </p:cNvPr>
          <p:cNvSpPr>
            <a:spLocks noGrp="1"/>
          </p:cNvSpPr>
          <p:nvPr>
            <p:ph type="body" sz="quarter" idx="22" hasCustomPrompt="1"/>
          </p:nvPr>
        </p:nvSpPr>
        <p:spPr>
          <a:xfrm>
            <a:off x="1131160" y="4679912"/>
            <a:ext cx="2140546" cy="1519553"/>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Tilføj tekst</a:t>
            </a:r>
          </a:p>
        </p:txBody>
      </p:sp>
      <p:sp>
        <p:nvSpPr>
          <p:cNvPr id="29" name="Text Placeholder 3">
            <a:extLst>
              <a:ext uri="{FF2B5EF4-FFF2-40B4-BE49-F238E27FC236}">
                <a16:creationId xmlns:a16="http://schemas.microsoft.com/office/drawing/2014/main" id="{54E2AF37-E71E-F54A-BE4C-70EAE52EEAB2}"/>
              </a:ext>
            </a:extLst>
          </p:cNvPr>
          <p:cNvSpPr>
            <a:spLocks noGrp="1"/>
          </p:cNvSpPr>
          <p:nvPr>
            <p:ph type="body" sz="quarter" idx="23" hasCustomPrompt="1"/>
          </p:nvPr>
        </p:nvSpPr>
        <p:spPr>
          <a:xfrm>
            <a:off x="3743986" y="3758269"/>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fakta</a:t>
            </a:r>
          </a:p>
        </p:txBody>
      </p:sp>
      <p:sp>
        <p:nvSpPr>
          <p:cNvPr id="30" name="Text Placeholder 4">
            <a:extLst>
              <a:ext uri="{FF2B5EF4-FFF2-40B4-BE49-F238E27FC236}">
                <a16:creationId xmlns:a16="http://schemas.microsoft.com/office/drawing/2014/main" id="{E5F89DFA-B682-8040-8D6C-BADC14138F0C}"/>
              </a:ext>
            </a:extLst>
          </p:cNvPr>
          <p:cNvSpPr>
            <a:spLocks noGrp="1"/>
          </p:cNvSpPr>
          <p:nvPr>
            <p:ph type="body" sz="quarter" idx="24" hasCustomPrompt="1"/>
          </p:nvPr>
        </p:nvSpPr>
        <p:spPr>
          <a:xfrm>
            <a:off x="3740136" y="4679912"/>
            <a:ext cx="2140546" cy="1519553"/>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Tilføj tekst</a:t>
            </a:r>
          </a:p>
        </p:txBody>
      </p:sp>
      <p:sp>
        <p:nvSpPr>
          <p:cNvPr id="31" name="Text Placeholder 3">
            <a:extLst>
              <a:ext uri="{FF2B5EF4-FFF2-40B4-BE49-F238E27FC236}">
                <a16:creationId xmlns:a16="http://schemas.microsoft.com/office/drawing/2014/main" id="{941FBE6E-ED14-5140-A488-5284A55A8F3E}"/>
              </a:ext>
            </a:extLst>
          </p:cNvPr>
          <p:cNvSpPr>
            <a:spLocks noGrp="1"/>
          </p:cNvSpPr>
          <p:nvPr>
            <p:ph type="body" sz="quarter" idx="25" hasCustomPrompt="1"/>
          </p:nvPr>
        </p:nvSpPr>
        <p:spPr>
          <a:xfrm>
            <a:off x="6352962" y="3758269"/>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fakta</a:t>
            </a:r>
          </a:p>
        </p:txBody>
      </p:sp>
      <p:sp>
        <p:nvSpPr>
          <p:cNvPr id="32" name="Text Placeholder 4">
            <a:extLst>
              <a:ext uri="{FF2B5EF4-FFF2-40B4-BE49-F238E27FC236}">
                <a16:creationId xmlns:a16="http://schemas.microsoft.com/office/drawing/2014/main" id="{0CFC515D-6BD2-6F45-B5F2-67564A3F63D6}"/>
              </a:ext>
            </a:extLst>
          </p:cNvPr>
          <p:cNvSpPr>
            <a:spLocks noGrp="1"/>
          </p:cNvSpPr>
          <p:nvPr>
            <p:ph type="body" sz="quarter" idx="26" hasCustomPrompt="1"/>
          </p:nvPr>
        </p:nvSpPr>
        <p:spPr>
          <a:xfrm>
            <a:off x="6349112" y="4679912"/>
            <a:ext cx="2140546" cy="1519553"/>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Tilføj tekst</a:t>
            </a:r>
          </a:p>
        </p:txBody>
      </p:sp>
      <p:sp>
        <p:nvSpPr>
          <p:cNvPr id="33" name="Text Placeholder 3">
            <a:extLst>
              <a:ext uri="{FF2B5EF4-FFF2-40B4-BE49-F238E27FC236}">
                <a16:creationId xmlns:a16="http://schemas.microsoft.com/office/drawing/2014/main" id="{3B79C489-0923-8D4F-8FF1-A87C901F23C8}"/>
              </a:ext>
            </a:extLst>
          </p:cNvPr>
          <p:cNvSpPr>
            <a:spLocks noGrp="1"/>
          </p:cNvSpPr>
          <p:nvPr>
            <p:ph type="body" sz="quarter" idx="27" hasCustomPrompt="1"/>
          </p:nvPr>
        </p:nvSpPr>
        <p:spPr>
          <a:xfrm>
            <a:off x="8978716" y="3758269"/>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fakta</a:t>
            </a:r>
          </a:p>
        </p:txBody>
      </p:sp>
      <p:sp>
        <p:nvSpPr>
          <p:cNvPr id="34" name="Text Placeholder 4">
            <a:extLst>
              <a:ext uri="{FF2B5EF4-FFF2-40B4-BE49-F238E27FC236}">
                <a16:creationId xmlns:a16="http://schemas.microsoft.com/office/drawing/2014/main" id="{032721F4-3138-C84F-987A-B1996ABE4AA9}"/>
              </a:ext>
            </a:extLst>
          </p:cNvPr>
          <p:cNvSpPr>
            <a:spLocks noGrp="1"/>
          </p:cNvSpPr>
          <p:nvPr>
            <p:ph type="body" sz="quarter" idx="28" hasCustomPrompt="1"/>
          </p:nvPr>
        </p:nvSpPr>
        <p:spPr>
          <a:xfrm>
            <a:off x="8974866" y="4679912"/>
            <a:ext cx="2140546" cy="1519553"/>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Tilføj tekst</a:t>
            </a:r>
          </a:p>
        </p:txBody>
      </p:sp>
      <p:sp>
        <p:nvSpPr>
          <p:cNvPr id="7" name="Pladsholder til billede 6">
            <a:extLst>
              <a:ext uri="{FF2B5EF4-FFF2-40B4-BE49-F238E27FC236}">
                <a16:creationId xmlns:a16="http://schemas.microsoft.com/office/drawing/2014/main" id="{E1B3C7FE-A5C5-DB43-8F81-6B58E0617478}"/>
              </a:ext>
            </a:extLst>
          </p:cNvPr>
          <p:cNvSpPr>
            <a:spLocks noGrp="1"/>
          </p:cNvSpPr>
          <p:nvPr>
            <p:ph type="pic" sz="quarter" idx="29" hasCustomPrompt="1"/>
          </p:nvPr>
        </p:nvSpPr>
        <p:spPr>
          <a:xfrm>
            <a:off x="982663" y="2528083"/>
            <a:ext cx="2398712" cy="1129517"/>
          </a:xfrm>
          <a:solidFill>
            <a:schemeClr val="bg1">
              <a:lumMod val="95000"/>
            </a:schemeClr>
          </a:solidFill>
        </p:spPr>
        <p:txBody>
          <a:bodyPr anchor="ctr"/>
          <a:lstStyle>
            <a:lvl1pPr marL="0" marR="0" indent="0" algn="just" defTabSz="914400" rtl="0" eaLnBrk="1" fontAlgn="auto" latinLnBrk="0" hangingPunct="1">
              <a:lnSpc>
                <a:spcPct val="90000"/>
              </a:lnSpc>
              <a:spcBef>
                <a:spcPts val="750"/>
              </a:spcBef>
              <a:spcAft>
                <a:spcPts val="0"/>
              </a:spcAft>
              <a:buClrTx/>
              <a:buSzTx/>
              <a:buFont typeface="Arial" panose="020B0604020202020204" pitchFamily="34" charset="0"/>
              <a:buNone/>
              <a:tabLst/>
              <a:defRPr>
                <a:solidFill>
                  <a:schemeClr val="accent1"/>
                </a:solidFill>
              </a:defRPr>
            </a:lvl1pPr>
          </a:lstStyle>
          <a:p>
            <a:pPr marL="0" marR="0" lvl="0" indent="0" algn="l"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da-DK"/>
              <a:t>Tilføje billede</a:t>
            </a:r>
          </a:p>
        </p:txBody>
      </p:sp>
      <p:sp>
        <p:nvSpPr>
          <p:cNvPr id="23" name="Pladsholder til billede 6">
            <a:extLst>
              <a:ext uri="{FF2B5EF4-FFF2-40B4-BE49-F238E27FC236}">
                <a16:creationId xmlns:a16="http://schemas.microsoft.com/office/drawing/2014/main" id="{0DD12C78-FFFA-B441-91D8-3D10BA150646}"/>
              </a:ext>
            </a:extLst>
          </p:cNvPr>
          <p:cNvSpPr>
            <a:spLocks noGrp="1"/>
          </p:cNvSpPr>
          <p:nvPr>
            <p:ph type="pic" sz="quarter" idx="30" hasCustomPrompt="1"/>
          </p:nvPr>
        </p:nvSpPr>
        <p:spPr>
          <a:xfrm>
            <a:off x="3600028" y="2528083"/>
            <a:ext cx="2398712" cy="1129517"/>
          </a:xfrm>
          <a:solidFill>
            <a:schemeClr val="bg1">
              <a:lumMod val="95000"/>
            </a:schemeClr>
          </a:solidFill>
        </p:spPr>
        <p:txBody>
          <a:bodyPr anchor="ctr"/>
          <a:lstStyle>
            <a:lvl1pPr marL="0" marR="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a:solidFill>
                  <a:schemeClr val="accent1"/>
                </a:solidFill>
              </a:defRPr>
            </a:lvl1pPr>
          </a:lstStyle>
          <a:p>
            <a:pPr marL="0" marR="0" lvl="0" indent="0" algn="l"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da-DK"/>
              <a:t>Tilføje billede</a:t>
            </a:r>
          </a:p>
        </p:txBody>
      </p:sp>
      <p:sp>
        <p:nvSpPr>
          <p:cNvPr id="35" name="Pladsholder til billede 6">
            <a:extLst>
              <a:ext uri="{FF2B5EF4-FFF2-40B4-BE49-F238E27FC236}">
                <a16:creationId xmlns:a16="http://schemas.microsoft.com/office/drawing/2014/main" id="{5433A101-EEC2-1A43-BCC6-EA29BC4C8101}"/>
              </a:ext>
            </a:extLst>
          </p:cNvPr>
          <p:cNvSpPr>
            <a:spLocks noGrp="1"/>
          </p:cNvSpPr>
          <p:nvPr>
            <p:ph type="pic" sz="quarter" idx="31" hasCustomPrompt="1"/>
          </p:nvPr>
        </p:nvSpPr>
        <p:spPr>
          <a:xfrm>
            <a:off x="6209005" y="2528083"/>
            <a:ext cx="2398712" cy="1129517"/>
          </a:xfrm>
          <a:solidFill>
            <a:schemeClr val="bg1">
              <a:lumMod val="95000"/>
            </a:schemeClr>
          </a:solidFill>
        </p:spPr>
        <p:txBody>
          <a:bodyPr anchor="ctr"/>
          <a:lstStyle>
            <a:lvl1pPr marL="0" marR="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a:solidFill>
                  <a:schemeClr val="accent1"/>
                </a:solidFill>
              </a:defRPr>
            </a:lvl1pPr>
          </a:lstStyle>
          <a:p>
            <a:pPr marL="0" marR="0" lvl="0" indent="0" algn="l"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da-DK"/>
              <a:t>Tilføje billede</a:t>
            </a:r>
          </a:p>
        </p:txBody>
      </p:sp>
      <p:sp>
        <p:nvSpPr>
          <p:cNvPr id="36" name="Pladsholder til billede 6">
            <a:extLst>
              <a:ext uri="{FF2B5EF4-FFF2-40B4-BE49-F238E27FC236}">
                <a16:creationId xmlns:a16="http://schemas.microsoft.com/office/drawing/2014/main" id="{C060D71F-6125-7045-8FC0-37F1BD04BF91}"/>
              </a:ext>
            </a:extLst>
          </p:cNvPr>
          <p:cNvSpPr>
            <a:spLocks noGrp="1"/>
          </p:cNvSpPr>
          <p:nvPr>
            <p:ph type="pic" sz="quarter" idx="32" hasCustomPrompt="1"/>
          </p:nvPr>
        </p:nvSpPr>
        <p:spPr>
          <a:xfrm>
            <a:off x="8826370" y="2528083"/>
            <a:ext cx="2398712" cy="1129517"/>
          </a:xfrm>
          <a:solidFill>
            <a:schemeClr val="bg1">
              <a:lumMod val="95000"/>
            </a:schemeClr>
          </a:solidFill>
        </p:spPr>
        <p:txBody>
          <a:bodyPr anchor="ctr"/>
          <a:lstStyle>
            <a:lvl1pPr marL="0" marR="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a:solidFill>
                  <a:schemeClr val="accent1"/>
                </a:solidFill>
              </a:defRPr>
            </a:lvl1pPr>
          </a:lstStyle>
          <a:p>
            <a:pPr marL="0" marR="0" lvl="0" indent="0" algn="l"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da-DK"/>
              <a:t>Tilføje billede</a:t>
            </a:r>
          </a:p>
        </p:txBody>
      </p:sp>
    </p:spTree>
    <p:extLst>
      <p:ext uri="{BB962C8B-B14F-4D97-AF65-F5344CB8AC3E}">
        <p14:creationId xmlns:p14="http://schemas.microsoft.com/office/powerpoint/2010/main" val="356299502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Helsidesbillede">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3600" y="-3600"/>
            <a:ext cx="12196800" cy="6861600"/>
          </a:xfrm>
          <a:solidFill>
            <a:schemeClr val="bg1">
              <a:lumMod val="95000"/>
            </a:schemeClr>
          </a:solidFill>
        </p:spPr>
        <p:txBody>
          <a:bodyPr tIns="648000" anchor="ctr" anchorCtr="0"/>
          <a:lstStyle>
            <a:lvl1pPr marL="0" marR="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sz="1600">
                <a:solidFill>
                  <a:schemeClr val="accent1"/>
                </a:solidFill>
              </a:defRPr>
            </a:lvl1pPr>
          </a:lstStyle>
          <a:p>
            <a:pPr marL="0" marR="0" lvl="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da-DK"/>
              <a:t>Træk billede til pladsholder eller klik på symbol for at tilføje billede</a:t>
            </a:r>
          </a:p>
        </p:txBody>
      </p:sp>
      <p:sp>
        <p:nvSpPr>
          <p:cNvPr id="9" name="Date_DateCustomA"/>
          <p:cNvSpPr>
            <a:spLocks noGrp="1"/>
          </p:cNvSpPr>
          <p:nvPr>
            <p:ph type="dt" sz="half" idx="10"/>
          </p:nvPr>
        </p:nvSpPr>
        <p:spPr>
          <a:xfrm>
            <a:off x="0" y="6912000"/>
            <a:ext cx="0" cy="0"/>
          </a:xfrm>
        </p:spPr>
        <p:txBody>
          <a:bodyPr/>
          <a:lstStyle>
            <a:lvl1pPr>
              <a:defRPr sz="100">
                <a:noFill/>
              </a:defRPr>
            </a:lvl1pPr>
          </a:lstStyle>
          <a:p>
            <a:endParaRPr lang="da-DK"/>
          </a:p>
        </p:txBody>
      </p:sp>
      <p:sp>
        <p:nvSpPr>
          <p:cNvPr id="10" name="FLD_PresentationTitle"/>
          <p:cNvSpPr>
            <a:spLocks noGrp="1"/>
          </p:cNvSpPr>
          <p:nvPr>
            <p:ph type="ftr" sz="quarter" idx="11"/>
          </p:nvPr>
        </p:nvSpPr>
        <p:spPr>
          <a:xfrm>
            <a:off x="0" y="6912000"/>
            <a:ext cx="0" cy="0"/>
          </a:xfrm>
        </p:spPr>
        <p:txBody>
          <a:bodyPr/>
          <a:lstStyle>
            <a:lvl1pPr>
              <a:defRPr sz="100">
                <a:noFill/>
              </a:defRPr>
            </a:lvl1pPr>
          </a:lstStyle>
          <a:p>
            <a:endParaRPr lang="da-DK"/>
          </a:p>
        </p:txBody>
      </p:sp>
      <p:sp>
        <p:nvSpPr>
          <p:cNvPr id="11"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spTree>
    <p:extLst>
      <p:ext uri="{BB962C8B-B14F-4D97-AF65-F5344CB8AC3E}">
        <p14:creationId xmlns:p14="http://schemas.microsoft.com/office/powerpoint/2010/main" val="40148456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NTSO-E Graph 2">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4" name="Inhaltsplatzhalter 10">
            <a:extLst>
              <a:ext uri="{FF2B5EF4-FFF2-40B4-BE49-F238E27FC236}">
                <a16:creationId xmlns:a16="http://schemas.microsoft.com/office/drawing/2014/main" id="{C04C5352-D576-AE47-888D-BF03439BD4FC}"/>
              </a:ext>
            </a:extLst>
          </p:cNvPr>
          <p:cNvSpPr>
            <a:spLocks noGrp="1"/>
          </p:cNvSpPr>
          <p:nvPr>
            <p:ph idx="1"/>
          </p:nvPr>
        </p:nvSpPr>
        <p:spPr>
          <a:xfrm>
            <a:off x="1739517" y="1665288"/>
            <a:ext cx="8712201" cy="4103972"/>
          </a:xfrm>
        </p:spPr>
        <p:txBody>
          <a:bodyPr>
            <a:normAutofit lnSpcReduction="10000"/>
          </a:bodyPr>
          <a:lstStyle/>
          <a:p>
            <a:r>
              <a:rPr lang="de-DE" b="1"/>
              <a:t>   </a:t>
            </a:r>
            <a:br>
              <a:rPr lang="de-DE" b="1"/>
            </a:br>
            <a:r>
              <a:rPr lang="de-DE" b="1"/>
              <a:t> </a:t>
            </a:r>
            <a:endParaRPr lang="de-DE" b="1"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br>
              <a:rPr lang="de-DE" sz="900" i="1">
                <a:solidFill>
                  <a:prstClr val="black"/>
                </a:solidFill>
              </a:rPr>
            </a:br>
            <a:br>
              <a:rPr lang="de-DE" sz="900" i="1">
                <a:solidFill>
                  <a:prstClr val="black"/>
                </a:solidFill>
              </a:rPr>
            </a:br>
            <a:br>
              <a:rPr lang="de-DE" sz="900" i="1">
                <a:solidFill>
                  <a:prstClr val="black"/>
                </a:solidFill>
              </a:rPr>
            </a:br>
            <a:r>
              <a:rPr lang="de-DE" sz="900" i="1">
                <a:solidFill>
                  <a:prstClr val="black"/>
                </a:solidFill>
              </a:rPr>
              <a:t>Source: Insert </a:t>
            </a:r>
            <a:r>
              <a:rPr lang="de-DE" sz="900" i="1" err="1">
                <a:solidFill>
                  <a:prstClr val="black"/>
                </a:solidFill>
              </a:rPr>
              <a:t>here</a:t>
            </a:r>
            <a:r>
              <a:rPr lang="de-DE" sz="900" i="1">
                <a:solidFill>
                  <a:prstClr val="black"/>
                </a:solidFill>
              </a:rPr>
              <a:t> </a:t>
            </a:r>
            <a:r>
              <a:rPr lang="de-DE" sz="900" i="1" err="1">
                <a:solidFill>
                  <a:prstClr val="black"/>
                </a:solidFill>
              </a:rPr>
              <a:t>if</a:t>
            </a:r>
            <a:r>
              <a:rPr lang="de-DE" sz="900" i="1">
                <a:solidFill>
                  <a:prstClr val="black"/>
                </a:solidFill>
              </a:rPr>
              <a:t> </a:t>
            </a:r>
            <a:r>
              <a:rPr lang="de-DE" sz="900" i="1" err="1">
                <a:solidFill>
                  <a:prstClr val="black"/>
                </a:solidFill>
              </a:rPr>
              <a:t>applicable</a:t>
            </a:r>
            <a:endParaRPr lang="de-DE" sz="900"/>
          </a:p>
        </p:txBody>
      </p:sp>
      <p:graphicFrame>
        <p:nvGraphicFramePr>
          <p:cNvPr id="6" name="Diagramm 5" title="Flächendiagramm Platzhalter">
            <a:extLst>
              <a:ext uri="{FF2B5EF4-FFF2-40B4-BE49-F238E27FC236}">
                <a16:creationId xmlns:a16="http://schemas.microsoft.com/office/drawing/2014/main" id="{654DBC48-79E2-BF45-94FB-10AE0A01AFE4}"/>
              </a:ext>
            </a:extLst>
          </p:cNvPr>
          <p:cNvGraphicFramePr/>
          <p:nvPr userDrawn="1">
            <p:extLst>
              <p:ext uri="{D42A27DB-BD31-4B8C-83A1-F6EECF244321}">
                <p14:modId xmlns:p14="http://schemas.microsoft.com/office/powerpoint/2010/main" val="1491827380"/>
              </p:ext>
            </p:extLst>
          </p:nvPr>
        </p:nvGraphicFramePr>
        <p:xfrm>
          <a:off x="382587" y="1665288"/>
          <a:ext cx="11522075" cy="399596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737745557"/>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Helsidesbillede med tekst">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3600" y="-3600"/>
            <a:ext cx="12196800" cy="6861600"/>
          </a:xfrm>
          <a:solidFill>
            <a:schemeClr val="bg1">
              <a:lumMod val="95000"/>
            </a:schemeClr>
          </a:solidFill>
        </p:spPr>
        <p:txBody>
          <a:bodyPr tIns="648000" anchor="ctr" anchorCtr="0"/>
          <a:lstStyle>
            <a:lvl1pPr marL="0" marR="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sz="1600">
                <a:solidFill>
                  <a:schemeClr val="accent1"/>
                </a:solidFill>
              </a:defRPr>
            </a:lvl1pPr>
          </a:lstStyle>
          <a:p>
            <a:pPr marL="0" marR="0" lvl="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da-DK"/>
              <a:t>Træk billede til pladsholder eller klik på symbol for at tilføje billede</a:t>
            </a:r>
          </a:p>
        </p:txBody>
      </p:sp>
      <p:sp>
        <p:nvSpPr>
          <p:cNvPr id="9" name="Date_DateCustomA"/>
          <p:cNvSpPr>
            <a:spLocks noGrp="1"/>
          </p:cNvSpPr>
          <p:nvPr>
            <p:ph type="dt" sz="half" idx="10"/>
          </p:nvPr>
        </p:nvSpPr>
        <p:spPr>
          <a:xfrm>
            <a:off x="0" y="6912000"/>
            <a:ext cx="0" cy="0"/>
          </a:xfrm>
        </p:spPr>
        <p:txBody>
          <a:bodyPr/>
          <a:lstStyle>
            <a:lvl1pPr>
              <a:defRPr sz="100">
                <a:noFill/>
              </a:defRPr>
            </a:lvl1pPr>
          </a:lstStyle>
          <a:p>
            <a:endParaRPr lang="da-DK"/>
          </a:p>
        </p:txBody>
      </p:sp>
      <p:sp>
        <p:nvSpPr>
          <p:cNvPr id="10" name="FLD_PresentationTitle"/>
          <p:cNvSpPr>
            <a:spLocks noGrp="1"/>
          </p:cNvSpPr>
          <p:nvPr>
            <p:ph type="ftr" sz="quarter" idx="11"/>
          </p:nvPr>
        </p:nvSpPr>
        <p:spPr>
          <a:xfrm>
            <a:off x="0" y="6912000"/>
            <a:ext cx="0" cy="0"/>
          </a:xfrm>
        </p:spPr>
        <p:txBody>
          <a:bodyPr/>
          <a:lstStyle>
            <a:lvl1pPr>
              <a:defRPr sz="100">
                <a:noFill/>
              </a:defRPr>
            </a:lvl1pPr>
          </a:lstStyle>
          <a:p>
            <a:endParaRPr lang="da-DK"/>
          </a:p>
        </p:txBody>
      </p:sp>
      <p:sp>
        <p:nvSpPr>
          <p:cNvPr id="11"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sp>
        <p:nvSpPr>
          <p:cNvPr id="3" name="Pladsholder til tekst 2">
            <a:extLst>
              <a:ext uri="{FF2B5EF4-FFF2-40B4-BE49-F238E27FC236}">
                <a16:creationId xmlns:a16="http://schemas.microsoft.com/office/drawing/2014/main" id="{68837300-163F-DC47-9B9C-D8493E8F69E9}"/>
              </a:ext>
            </a:extLst>
          </p:cNvPr>
          <p:cNvSpPr>
            <a:spLocks noGrp="1"/>
          </p:cNvSpPr>
          <p:nvPr>
            <p:ph type="body" sz="quarter" idx="14" hasCustomPrompt="1"/>
          </p:nvPr>
        </p:nvSpPr>
        <p:spPr>
          <a:xfrm>
            <a:off x="0" y="3761376"/>
            <a:ext cx="6749592" cy="2535237"/>
          </a:xfrm>
          <a:solidFill>
            <a:schemeClr val="accent1">
              <a:alpha val="82000"/>
            </a:schemeClr>
          </a:solidFill>
        </p:spPr>
        <p:txBody>
          <a:bodyPr/>
          <a:lstStyle>
            <a:lvl1pPr>
              <a:defRPr>
                <a:solidFill>
                  <a:schemeClr val="accent1"/>
                </a:solidFill>
              </a:defRPr>
            </a:lvl1pPr>
          </a:lstStyle>
          <a:p>
            <a:r>
              <a:rPr lang="da-DK"/>
              <a:t>.</a:t>
            </a:r>
          </a:p>
        </p:txBody>
      </p:sp>
      <p:sp>
        <p:nvSpPr>
          <p:cNvPr id="12" name="Text Placeholder 2">
            <a:extLst>
              <a:ext uri="{FF2B5EF4-FFF2-40B4-BE49-F238E27FC236}">
                <a16:creationId xmlns:a16="http://schemas.microsoft.com/office/drawing/2014/main" id="{77FF458B-15FF-6B49-B25A-4260DC5E65ED}"/>
              </a:ext>
            </a:extLst>
          </p:cNvPr>
          <p:cNvSpPr>
            <a:spLocks noGrp="1"/>
          </p:cNvSpPr>
          <p:nvPr>
            <p:ph type="body" sz="quarter" idx="15" hasCustomPrompt="1"/>
          </p:nvPr>
        </p:nvSpPr>
        <p:spPr>
          <a:xfrm>
            <a:off x="885680" y="5249848"/>
            <a:ext cx="5364292" cy="839867"/>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Tilføj kort tekst</a:t>
            </a:r>
          </a:p>
        </p:txBody>
      </p:sp>
      <p:sp>
        <p:nvSpPr>
          <p:cNvPr id="13" name="Title 1">
            <a:extLst>
              <a:ext uri="{FF2B5EF4-FFF2-40B4-BE49-F238E27FC236}">
                <a16:creationId xmlns:a16="http://schemas.microsoft.com/office/drawing/2014/main" id="{2E921A19-2C33-D149-9AE6-ECF43EC313CA}"/>
              </a:ext>
            </a:extLst>
          </p:cNvPr>
          <p:cNvSpPr>
            <a:spLocks noGrp="1"/>
          </p:cNvSpPr>
          <p:nvPr>
            <p:ph type="title" hasCustomPrompt="1"/>
          </p:nvPr>
        </p:nvSpPr>
        <p:spPr>
          <a:xfrm>
            <a:off x="885680" y="4069772"/>
            <a:ext cx="5364291" cy="1030127"/>
          </a:xfrm>
        </p:spPr>
        <p:txBody>
          <a:bodyPr anchor="b"/>
          <a:lstStyle>
            <a:lvl1pPr algn="l">
              <a:defRPr>
                <a:solidFill>
                  <a:schemeClr val="bg1"/>
                </a:solidFill>
              </a:defRPr>
            </a:lvl1pPr>
          </a:lstStyle>
          <a:p>
            <a:r>
              <a:rPr lang="da-DK"/>
              <a:t>Indsæt overskrift</a:t>
            </a:r>
          </a:p>
        </p:txBody>
      </p:sp>
    </p:spTree>
    <p:extLst>
      <p:ext uri="{BB962C8B-B14F-4D97-AF65-F5344CB8AC3E}">
        <p14:creationId xmlns:p14="http://schemas.microsoft.com/office/powerpoint/2010/main" val="247222915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Helsidesbillede med tekst2">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3600" y="-3600"/>
            <a:ext cx="12196800" cy="6861600"/>
          </a:xfrm>
          <a:solidFill>
            <a:schemeClr val="bg1">
              <a:lumMod val="95000"/>
            </a:schemeClr>
          </a:solidFill>
        </p:spPr>
        <p:txBody>
          <a:bodyPr tIns="648000" anchor="ctr" anchorCtr="0"/>
          <a:lstStyle>
            <a:lvl1pPr marL="0" marR="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sz="1600">
                <a:solidFill>
                  <a:schemeClr val="accent1"/>
                </a:solidFill>
              </a:defRPr>
            </a:lvl1pPr>
          </a:lstStyle>
          <a:p>
            <a:pPr marL="0" marR="0" lvl="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da-DK"/>
              <a:t>Træk billede til pladsholder eller klik på symbol for at tilføje billede</a:t>
            </a:r>
          </a:p>
        </p:txBody>
      </p:sp>
      <p:sp>
        <p:nvSpPr>
          <p:cNvPr id="9" name="Date_DateCustomA"/>
          <p:cNvSpPr>
            <a:spLocks noGrp="1"/>
          </p:cNvSpPr>
          <p:nvPr>
            <p:ph type="dt" sz="half" idx="10"/>
          </p:nvPr>
        </p:nvSpPr>
        <p:spPr>
          <a:xfrm>
            <a:off x="0" y="6912000"/>
            <a:ext cx="0" cy="0"/>
          </a:xfrm>
        </p:spPr>
        <p:txBody>
          <a:bodyPr/>
          <a:lstStyle>
            <a:lvl1pPr>
              <a:defRPr sz="100">
                <a:noFill/>
              </a:defRPr>
            </a:lvl1pPr>
          </a:lstStyle>
          <a:p>
            <a:endParaRPr lang="da-DK"/>
          </a:p>
        </p:txBody>
      </p:sp>
      <p:sp>
        <p:nvSpPr>
          <p:cNvPr id="10" name="FLD_PresentationTitle"/>
          <p:cNvSpPr>
            <a:spLocks noGrp="1"/>
          </p:cNvSpPr>
          <p:nvPr>
            <p:ph type="ftr" sz="quarter" idx="11"/>
          </p:nvPr>
        </p:nvSpPr>
        <p:spPr>
          <a:xfrm>
            <a:off x="0" y="6912000"/>
            <a:ext cx="0" cy="0"/>
          </a:xfrm>
        </p:spPr>
        <p:txBody>
          <a:bodyPr/>
          <a:lstStyle>
            <a:lvl1pPr>
              <a:defRPr sz="100">
                <a:noFill/>
              </a:defRPr>
            </a:lvl1pPr>
          </a:lstStyle>
          <a:p>
            <a:endParaRPr lang="da-DK"/>
          </a:p>
        </p:txBody>
      </p:sp>
      <p:sp>
        <p:nvSpPr>
          <p:cNvPr id="11"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sp>
        <p:nvSpPr>
          <p:cNvPr id="3" name="Pladsholder til tekst 2">
            <a:extLst>
              <a:ext uri="{FF2B5EF4-FFF2-40B4-BE49-F238E27FC236}">
                <a16:creationId xmlns:a16="http://schemas.microsoft.com/office/drawing/2014/main" id="{68837300-163F-DC47-9B9C-D8493E8F69E9}"/>
              </a:ext>
            </a:extLst>
          </p:cNvPr>
          <p:cNvSpPr>
            <a:spLocks noGrp="1"/>
          </p:cNvSpPr>
          <p:nvPr>
            <p:ph type="body" sz="quarter" idx="14" hasCustomPrompt="1"/>
          </p:nvPr>
        </p:nvSpPr>
        <p:spPr>
          <a:xfrm>
            <a:off x="7258639" y="0"/>
            <a:ext cx="4242062" cy="6858000"/>
          </a:xfrm>
          <a:solidFill>
            <a:schemeClr val="accent1">
              <a:alpha val="82000"/>
            </a:schemeClr>
          </a:solidFill>
        </p:spPr>
        <p:txBody>
          <a:bodyPr/>
          <a:lstStyle>
            <a:lvl1pPr>
              <a:defRPr>
                <a:solidFill>
                  <a:schemeClr val="accent1"/>
                </a:solidFill>
              </a:defRPr>
            </a:lvl1pPr>
          </a:lstStyle>
          <a:p>
            <a:r>
              <a:rPr lang="da-DK"/>
              <a:t>.</a:t>
            </a:r>
          </a:p>
        </p:txBody>
      </p:sp>
      <p:sp>
        <p:nvSpPr>
          <p:cNvPr id="12" name="Text Placeholder 2">
            <a:extLst>
              <a:ext uri="{FF2B5EF4-FFF2-40B4-BE49-F238E27FC236}">
                <a16:creationId xmlns:a16="http://schemas.microsoft.com/office/drawing/2014/main" id="{77FF458B-15FF-6B49-B25A-4260DC5E65ED}"/>
              </a:ext>
            </a:extLst>
          </p:cNvPr>
          <p:cNvSpPr>
            <a:spLocks noGrp="1"/>
          </p:cNvSpPr>
          <p:nvPr>
            <p:ph type="body" sz="quarter" idx="15" hasCustomPrompt="1"/>
          </p:nvPr>
        </p:nvSpPr>
        <p:spPr>
          <a:xfrm>
            <a:off x="7672980" y="2607740"/>
            <a:ext cx="3337528" cy="3519683"/>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Tilføj tekst</a:t>
            </a:r>
          </a:p>
        </p:txBody>
      </p:sp>
      <p:sp>
        <p:nvSpPr>
          <p:cNvPr id="13" name="Title 1">
            <a:extLst>
              <a:ext uri="{FF2B5EF4-FFF2-40B4-BE49-F238E27FC236}">
                <a16:creationId xmlns:a16="http://schemas.microsoft.com/office/drawing/2014/main" id="{2E921A19-2C33-D149-9AE6-ECF43EC313CA}"/>
              </a:ext>
            </a:extLst>
          </p:cNvPr>
          <p:cNvSpPr>
            <a:spLocks noGrp="1"/>
          </p:cNvSpPr>
          <p:nvPr>
            <p:ph type="title" hasCustomPrompt="1"/>
          </p:nvPr>
        </p:nvSpPr>
        <p:spPr>
          <a:xfrm>
            <a:off x="7672980" y="789245"/>
            <a:ext cx="3337528" cy="1576883"/>
          </a:xfrm>
        </p:spPr>
        <p:txBody>
          <a:bodyPr anchor="b"/>
          <a:lstStyle>
            <a:lvl1pPr algn="l">
              <a:defRPr>
                <a:solidFill>
                  <a:schemeClr val="bg1"/>
                </a:solidFill>
              </a:defRPr>
            </a:lvl1pPr>
          </a:lstStyle>
          <a:p>
            <a:r>
              <a:rPr lang="da-DK"/>
              <a:t>Indsæt overskrift</a:t>
            </a:r>
          </a:p>
        </p:txBody>
      </p:sp>
    </p:spTree>
    <p:extLst>
      <p:ext uri="{BB962C8B-B14F-4D97-AF65-F5344CB8AC3E}">
        <p14:creationId xmlns:p14="http://schemas.microsoft.com/office/powerpoint/2010/main" val="88254076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om">
    <p:spTree>
      <p:nvGrpSpPr>
        <p:cNvPr id="1" name=""/>
        <p:cNvGrpSpPr/>
        <p:nvPr/>
      </p:nvGrpSpPr>
      <p:grpSpPr>
        <a:xfrm>
          <a:off x="0" y="0"/>
          <a:ext cx="0" cy="0"/>
          <a:chOff x="0" y="0"/>
          <a:chExt cx="0" cy="0"/>
        </a:xfrm>
      </p:grpSpPr>
      <p:sp>
        <p:nvSpPr>
          <p:cNvPr id="9" name="Date_DateCustomA"/>
          <p:cNvSpPr>
            <a:spLocks noGrp="1"/>
          </p:cNvSpPr>
          <p:nvPr>
            <p:ph type="dt" sz="half" idx="10"/>
          </p:nvPr>
        </p:nvSpPr>
        <p:spPr>
          <a:xfrm>
            <a:off x="0" y="6912000"/>
            <a:ext cx="0" cy="0"/>
          </a:xfrm>
        </p:spPr>
        <p:txBody>
          <a:bodyPr/>
          <a:lstStyle>
            <a:lvl1pPr>
              <a:defRPr sz="100">
                <a:noFill/>
              </a:defRPr>
            </a:lvl1pPr>
          </a:lstStyle>
          <a:p>
            <a:endParaRPr lang="da-DK"/>
          </a:p>
        </p:txBody>
      </p:sp>
      <p:sp>
        <p:nvSpPr>
          <p:cNvPr id="10" name="FLD_PresentationTitle"/>
          <p:cNvSpPr>
            <a:spLocks noGrp="1"/>
          </p:cNvSpPr>
          <p:nvPr>
            <p:ph type="ftr" sz="quarter" idx="11"/>
          </p:nvPr>
        </p:nvSpPr>
        <p:spPr>
          <a:xfrm>
            <a:off x="0" y="6912000"/>
            <a:ext cx="0" cy="0"/>
          </a:xfrm>
        </p:spPr>
        <p:txBody>
          <a:bodyPr/>
          <a:lstStyle>
            <a:lvl1pPr>
              <a:defRPr sz="100">
                <a:noFill/>
              </a:defRPr>
            </a:lvl1pPr>
          </a:lstStyle>
          <a:p>
            <a:endParaRPr lang="da-DK"/>
          </a:p>
        </p:txBody>
      </p:sp>
      <p:sp>
        <p:nvSpPr>
          <p:cNvPr id="11"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pic>
        <p:nvPicPr>
          <p:cNvPr id="6" name="Logo">
            <a:extLst>
              <a:ext uri="{FF2B5EF4-FFF2-40B4-BE49-F238E27FC236}">
                <a16:creationId xmlns:a16="http://schemas.microsoft.com/office/drawing/2014/main" id="{22772A8C-5A1B-E74C-98FD-E87FD5A802C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86558" y="364150"/>
            <a:ext cx="1433231" cy="173615"/>
          </a:xfrm>
          <a:prstGeom prst="rect">
            <a:avLst/>
          </a:prstGeom>
        </p:spPr>
      </p:pic>
    </p:spTree>
    <p:extLst>
      <p:ext uri="{BB962C8B-B14F-4D97-AF65-F5344CB8AC3E}">
        <p14:creationId xmlns:p14="http://schemas.microsoft.com/office/powerpoint/2010/main" val="17051197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5F867355-AAA7-FD40-B0C3-7BAE5A5FC3F6}"/>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10" name="Tekstfelt 9">
            <a:extLst>
              <a:ext uri="{FF2B5EF4-FFF2-40B4-BE49-F238E27FC236}">
                <a16:creationId xmlns:a16="http://schemas.microsoft.com/office/drawing/2014/main" id="{D8A753AC-05F3-AD4C-BF95-2BE4A21C048C}"/>
              </a:ext>
            </a:extLst>
          </p:cNvPr>
          <p:cNvSpPr txBox="1"/>
          <p:nvPr userDrawn="1"/>
        </p:nvSpPr>
        <p:spPr>
          <a:xfrm>
            <a:off x="3479800" y="1876695"/>
            <a:ext cx="5232400" cy="769441"/>
          </a:xfrm>
          <a:prstGeom prst="rect">
            <a:avLst/>
          </a:prstGeom>
          <a:noFill/>
        </p:spPr>
        <p:txBody>
          <a:bodyPr wrap="square" lIns="0" tIns="0" rIns="0" bIns="0" rtlCol="0">
            <a:spAutoFit/>
          </a:bodyPr>
          <a:lstStyle/>
          <a:p>
            <a:pPr algn="ctr"/>
            <a:r>
              <a:rPr lang="da-DK" sz="5000">
                <a:solidFill>
                  <a:schemeClr val="bg1"/>
                </a:solidFill>
              </a:rPr>
              <a:t>PAUSE</a:t>
            </a:r>
          </a:p>
        </p:txBody>
      </p:sp>
      <p:pic>
        <p:nvPicPr>
          <p:cNvPr id="11" name="Billede 10">
            <a:extLst>
              <a:ext uri="{FF2B5EF4-FFF2-40B4-BE49-F238E27FC236}">
                <a16:creationId xmlns:a16="http://schemas.microsoft.com/office/drawing/2014/main" id="{23DDF7F7-0AC1-C443-BA29-DD597A10C38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60575" y="2261415"/>
            <a:ext cx="4020155" cy="3935895"/>
          </a:xfrm>
          <a:prstGeom prst="rect">
            <a:avLst/>
          </a:prstGeom>
        </p:spPr>
      </p:pic>
    </p:spTree>
    <p:extLst>
      <p:ext uri="{BB962C8B-B14F-4D97-AF65-F5344CB8AC3E}">
        <p14:creationId xmlns:p14="http://schemas.microsoft.com/office/powerpoint/2010/main" val="386989287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pørgsmål">
    <p:spTree>
      <p:nvGrpSpPr>
        <p:cNvPr id="1" name=""/>
        <p:cNvGrpSpPr/>
        <p:nvPr/>
      </p:nvGrpSpPr>
      <p:grpSpPr>
        <a:xfrm>
          <a:off x="0" y="0"/>
          <a:ext cx="0" cy="0"/>
          <a:chOff x="0" y="0"/>
          <a:chExt cx="0" cy="0"/>
        </a:xfrm>
      </p:grpSpPr>
      <p:pic>
        <p:nvPicPr>
          <p:cNvPr id="6" name="Billede 5"/>
          <p:cNvPicPr>
            <a:picLocks noChangeAspect="1"/>
          </p:cNvPicPr>
          <p:nvPr userDrawn="1"/>
        </p:nvPicPr>
        <p:blipFill rotWithShape="1">
          <a:blip r:embed="rId2" cstate="screen">
            <a:extLst>
              <a:ext uri="{28A0092B-C50C-407E-A947-70E740481C1C}">
                <a14:useLocalDpi xmlns:a14="http://schemas.microsoft.com/office/drawing/2010/main"/>
              </a:ext>
            </a:extLst>
          </a:blip>
          <a:srcRect t="1299" b="1121"/>
          <a:stretch/>
        </p:blipFill>
        <p:spPr>
          <a:xfrm>
            <a:off x="-16298" y="0"/>
            <a:ext cx="12208298" cy="6857999"/>
          </a:xfrm>
          <a:prstGeom prst="rect">
            <a:avLst/>
          </a:prstGeom>
        </p:spPr>
      </p:pic>
      <p:sp>
        <p:nvSpPr>
          <p:cNvPr id="3" name="Pladsholder til tekst 2"/>
          <p:cNvSpPr>
            <a:spLocks noGrp="1"/>
          </p:cNvSpPr>
          <p:nvPr>
            <p:ph type="body" sz="quarter" idx="11" hasCustomPrompt="1"/>
          </p:nvPr>
        </p:nvSpPr>
        <p:spPr>
          <a:xfrm>
            <a:off x="389376" y="5822731"/>
            <a:ext cx="6410325" cy="377825"/>
          </a:xfrm>
        </p:spPr>
        <p:txBody>
          <a:bodyPr/>
          <a:lstStyle>
            <a:lvl1pPr>
              <a:defRPr sz="1800" baseline="0">
                <a:solidFill>
                  <a:schemeClr val="bg1"/>
                </a:solidFill>
              </a:defRPr>
            </a:lvl1pPr>
          </a:lstStyle>
          <a:p>
            <a:pPr lvl="0"/>
            <a:r>
              <a:rPr lang="da-DK"/>
              <a:t>KONTAKT: Tlf.: xx xx xx xx Mail: </a:t>
            </a:r>
            <a:r>
              <a:rPr lang="da-DK" err="1"/>
              <a:t>XXX@energinet.dk</a:t>
            </a:r>
            <a:endParaRPr lang="da-DK"/>
          </a:p>
        </p:txBody>
      </p:sp>
      <p:sp>
        <p:nvSpPr>
          <p:cNvPr id="4" name="Tekstfelt 3"/>
          <p:cNvSpPr txBox="1"/>
          <p:nvPr userDrawn="1"/>
        </p:nvSpPr>
        <p:spPr>
          <a:xfrm>
            <a:off x="2701158" y="2026750"/>
            <a:ext cx="6600497" cy="1538883"/>
          </a:xfrm>
          <a:prstGeom prst="rect">
            <a:avLst/>
          </a:prstGeom>
          <a:noFill/>
        </p:spPr>
        <p:txBody>
          <a:bodyPr wrap="square" lIns="0" tIns="0" rIns="0" bIns="0" rtlCol="0">
            <a:spAutoFit/>
          </a:bodyPr>
          <a:lstStyle/>
          <a:p>
            <a:r>
              <a:rPr lang="da-DK" sz="10000">
                <a:solidFill>
                  <a:schemeClr val="bg1"/>
                </a:solidFill>
              </a:rPr>
              <a:t>SPØRGSMÅL</a:t>
            </a:r>
          </a:p>
        </p:txBody>
      </p:sp>
    </p:spTree>
    <p:extLst>
      <p:ext uri="{BB962C8B-B14F-4D97-AF65-F5344CB8AC3E}">
        <p14:creationId xmlns:p14="http://schemas.microsoft.com/office/powerpoint/2010/main" val="95750870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Brugerguide">
    <p:spTree>
      <p:nvGrpSpPr>
        <p:cNvPr id="1" name=""/>
        <p:cNvGrpSpPr/>
        <p:nvPr/>
      </p:nvGrpSpPr>
      <p:grpSpPr>
        <a:xfrm>
          <a:off x="0" y="0"/>
          <a:ext cx="0" cy="0"/>
          <a:chOff x="0" y="0"/>
          <a:chExt cx="0" cy="0"/>
        </a:xfrm>
      </p:grpSpPr>
      <p:sp>
        <p:nvSpPr>
          <p:cNvPr id="15" name="Fast overskrift"/>
          <p:cNvSpPr txBox="1"/>
          <p:nvPr userDrawn="1"/>
        </p:nvSpPr>
        <p:spPr>
          <a:xfrm>
            <a:off x="982663" y="539750"/>
            <a:ext cx="9361487" cy="650171"/>
          </a:xfrm>
          <a:prstGeom prst="rect">
            <a:avLst/>
          </a:prstGeom>
          <a:noFill/>
        </p:spPr>
        <p:txBody>
          <a:bodyPr wrap="square" lIns="0" tIns="0" rIns="0" bIns="0" rtlCol="0" anchor="b" anchorCtr="0">
            <a:noAutofit/>
          </a:bodyPr>
          <a:lstStyle/>
          <a:p>
            <a:r>
              <a:rPr lang="da-DK" sz="3200" b="0" noProof="1">
                <a:solidFill>
                  <a:schemeClr val="tx1"/>
                </a:solidFill>
                <a:latin typeface="Arial" panose="020B0604020202020204" pitchFamily="34" charset="0"/>
                <a:cs typeface="Arial" panose="020B0604020202020204" pitchFamily="34" charset="0"/>
              </a:rPr>
              <a:t>Brugerguide - Slet før anvendelse</a:t>
            </a:r>
          </a:p>
        </p:txBody>
      </p:sp>
      <p:sp>
        <p:nvSpPr>
          <p:cNvPr id="17" name="Text Box 2"/>
          <p:cNvSpPr txBox="1">
            <a:spLocks noChangeArrowheads="1"/>
          </p:cNvSpPr>
          <p:nvPr userDrawn="1"/>
        </p:nvSpPr>
        <p:spPr bwMode="auto">
          <a:xfrm>
            <a:off x="982667" y="1833789"/>
            <a:ext cx="2280360" cy="4678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1000" b="1" noProof="1">
                <a:latin typeface="Arial" panose="020B0604020202020204" pitchFamily="34" charset="0"/>
                <a:cs typeface="Arial" panose="020B0604020202020204" pitchFamily="34" charset="0"/>
              </a:rPr>
              <a:t>Brug</a:t>
            </a:r>
            <a:r>
              <a:rPr lang="da-DK" sz="1000" b="1" baseline="0" noProof="1">
                <a:latin typeface="Arial" panose="020B0604020202020204" pitchFamily="34" charset="0"/>
                <a:cs typeface="Arial" panose="020B0604020202020204" pitchFamily="34" charset="0"/>
              </a:rPr>
              <a:t> tekst typografier</a:t>
            </a:r>
            <a:endParaRPr lang="da-DK" sz="1000" b="1" noProof="1">
              <a:latin typeface="Arial" panose="020B0604020202020204" pitchFamily="34" charset="0"/>
              <a:cs typeface="Arial" panose="020B0604020202020204" pitchFamily="34" charset="0"/>
            </a:endParaRP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Brug</a:t>
            </a:r>
            <a:r>
              <a:rPr lang="da-DK" altLang="da-DK" sz="900" b="1" noProof="1">
                <a:solidFill>
                  <a:schemeClr val="tx1"/>
                </a:solidFill>
                <a:latin typeface="Arial" panose="020B0604020202020204" pitchFamily="34" charset="0"/>
                <a:cs typeface="Arial" panose="020B0604020202020204" pitchFamily="34" charset="0"/>
              </a:rPr>
              <a:t> TAB </a:t>
            </a:r>
            <a:r>
              <a:rPr lang="da-DK" altLang="da-DK" sz="900" b="0" noProof="1">
                <a:solidFill>
                  <a:schemeClr val="tx1"/>
                </a:solidFill>
                <a:latin typeface="Arial" panose="020B0604020202020204" pitchFamily="34" charset="0"/>
                <a:cs typeface="Arial" panose="020B0604020202020204" pitchFamily="34" charset="0"/>
              </a:rPr>
              <a:t>for at gå frem i tekst-niveauer. Klik </a:t>
            </a:r>
            <a:r>
              <a:rPr lang="da-DK" altLang="da-DK" sz="900" b="1" noProof="1">
                <a:solidFill>
                  <a:schemeClr val="tx1"/>
                </a:solidFill>
                <a:latin typeface="Arial" panose="020B0604020202020204" pitchFamily="34" charset="0"/>
                <a:cs typeface="Arial" panose="020B0604020202020204" pitchFamily="34" charset="0"/>
              </a:rPr>
              <a:t>ENTER</a:t>
            </a:r>
            <a:r>
              <a:rPr lang="da-DK" altLang="da-DK" sz="900" b="0" noProof="1">
                <a:solidFill>
                  <a:schemeClr val="tx1"/>
                </a:solidFill>
                <a:latin typeface="Arial" panose="020B0604020202020204" pitchFamily="34" charset="0"/>
                <a:cs typeface="Arial" panose="020B0604020202020204" pitchFamily="34" charset="0"/>
              </a:rPr>
              <a:t>, derefter </a:t>
            </a:r>
            <a:r>
              <a:rPr lang="da-DK" altLang="da-DK" sz="900" b="1" noProof="1">
                <a:solidFill>
                  <a:schemeClr val="tx1"/>
                </a:solidFill>
                <a:latin typeface="Arial" panose="020B0604020202020204" pitchFamily="34" charset="0"/>
                <a:cs typeface="Arial" panose="020B0604020202020204" pitchFamily="34" charset="0"/>
              </a:rPr>
              <a:t>TAB</a:t>
            </a:r>
            <a:r>
              <a:rPr lang="da-DK" altLang="da-DK" sz="900" b="0" noProof="1">
                <a:solidFill>
                  <a:schemeClr val="tx1"/>
                </a:solidFill>
                <a:latin typeface="Arial" panose="020B0604020202020204" pitchFamily="34" charset="0"/>
                <a:cs typeface="Arial" panose="020B0604020202020204" pitchFamily="34" charset="0"/>
              </a:rPr>
              <a:t> for at skifte fra et niveau til et næste.</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For at gå tilbage i tekst-niveaue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brug </a:t>
            </a:r>
            <a:r>
              <a:rPr lang="da-DK" altLang="da-DK" sz="900" b="1" noProof="1">
                <a:solidFill>
                  <a:schemeClr val="tx1"/>
                </a:solidFill>
                <a:latin typeface="Arial" panose="020B0604020202020204" pitchFamily="34" charset="0"/>
                <a:cs typeface="Arial" panose="020B0604020202020204" pitchFamily="34" charset="0"/>
              </a:rPr>
              <a:t>SHIFT+TAB.</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Alternativt kan </a:t>
            </a:r>
            <a:br>
              <a:rPr lang="da-DK" altLang="da-DK" sz="900" b="0" noProof="1">
                <a:solidFill>
                  <a:schemeClr val="tx1"/>
                </a:solidFill>
                <a:latin typeface="Arial" panose="020B0604020202020204" pitchFamily="34" charset="0"/>
                <a:cs typeface="Arial" panose="020B0604020202020204" pitchFamily="34" charset="0"/>
              </a:rPr>
            </a:br>
            <a:r>
              <a:rPr lang="da-DK" altLang="da-DK" sz="900" b="1" noProof="1">
                <a:solidFill>
                  <a:schemeClr val="tx1"/>
                </a:solidFill>
                <a:latin typeface="Arial" panose="020B0604020202020204" pitchFamily="34" charset="0"/>
                <a:cs typeface="Arial" panose="020B0604020202020204" pitchFamily="34" charset="0"/>
              </a:rPr>
              <a:t>Forøg</a:t>
            </a:r>
            <a:r>
              <a:rPr lang="da-DK" altLang="da-DK" sz="900" b="0" noProof="1">
                <a:solidFill>
                  <a:schemeClr val="tx1"/>
                </a:solidFill>
                <a:latin typeface="Arial" panose="020B0604020202020204" pitchFamily="34" charset="0"/>
                <a:cs typeface="Arial" panose="020B0604020202020204" pitchFamily="34" charset="0"/>
              </a:rPr>
              <a:t> og </a:t>
            </a:r>
            <a:r>
              <a:rPr lang="da-DK" altLang="da-DK" sz="900" b="1" noProof="1">
                <a:solidFill>
                  <a:schemeClr val="tx1"/>
                </a:solidFill>
                <a:latin typeface="Arial" panose="020B0604020202020204" pitchFamily="34" charset="0"/>
                <a:cs typeface="Arial" panose="020B0604020202020204" pitchFamily="34" charset="0"/>
              </a:rPr>
              <a:t>Formindsk</a:t>
            </a:r>
            <a:r>
              <a:rPr lang="da-DK" altLang="da-DK" sz="900" b="0" noProof="1">
                <a:solidFill>
                  <a:schemeClr val="tx1"/>
                </a:solidFill>
                <a:latin typeface="Arial" panose="020B0604020202020204" pitchFamily="34" charset="0"/>
                <a:cs typeface="Arial" panose="020B0604020202020204" pitchFamily="34" charset="0"/>
              </a:rPr>
              <a:t> listeniveau bruges.</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Brug </a:t>
            </a:r>
            <a:r>
              <a:rPr lang="da-DK" altLang="da-DK" sz="900" b="1" noProof="1">
                <a:solidFill>
                  <a:schemeClr val="tx1"/>
                </a:solidFill>
                <a:latin typeface="Arial" panose="020B0604020202020204" pitchFamily="34" charset="0"/>
                <a:cs typeface="Arial" panose="020B0604020202020204" pitchFamily="34" charset="0"/>
              </a:rPr>
              <a:t>Bullet</a:t>
            </a:r>
            <a:r>
              <a:rPr lang="da-DK" altLang="da-DK" sz="900" b="0" noProof="1">
                <a:solidFill>
                  <a:schemeClr val="tx1"/>
                </a:solidFill>
                <a:latin typeface="Arial" panose="020B0604020202020204" pitchFamily="34" charset="0"/>
                <a:cs typeface="Arial" panose="020B0604020202020204" pitchFamily="34" charset="0"/>
              </a:rPr>
              <a:t>-knappen for at fjerne og</a:t>
            </a:r>
            <a:r>
              <a:rPr lang="da-DK" altLang="da-DK" sz="900" b="0" baseline="0" noProof="1">
                <a:solidFill>
                  <a:schemeClr val="tx1"/>
                </a:solidFill>
                <a:latin typeface="Arial" panose="020B0604020202020204" pitchFamily="34" charset="0"/>
                <a:cs typeface="Arial" panose="020B0604020202020204" pitchFamily="34" charset="0"/>
              </a:rPr>
              <a:t> sætte bullet på igen.</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da-DK" sz="1000" b="1" noProof="1">
                <a:solidFill>
                  <a:schemeClr val="tx1"/>
                </a:solidFill>
                <a:latin typeface="Arial" panose="020B0604020202020204" pitchFamily="34" charset="0"/>
                <a:cs typeface="Arial" panose="020B0604020202020204" pitchFamily="34" charset="0"/>
              </a:rPr>
              <a:t>Brug layouts</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Startsid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Klik på menupunktet </a:t>
            </a:r>
            <a:r>
              <a:rPr lang="da-DK" altLang="da-DK" sz="900" b="1" noProof="1">
                <a:solidFill>
                  <a:schemeClr val="tx1"/>
                </a:solidFill>
                <a:latin typeface="Arial" panose="020B0604020202020204" pitchFamily="34" charset="0"/>
                <a:cs typeface="Arial" panose="020B0604020202020204" pitchFamily="34" charset="0"/>
              </a:rPr>
              <a:t>Nyt dias </a:t>
            </a:r>
            <a:r>
              <a:rPr lang="da-DK" altLang="da-DK" sz="900" b="0" noProof="1">
                <a:solidFill>
                  <a:schemeClr val="tx1"/>
                </a:solidFill>
                <a:latin typeface="Arial" panose="020B0604020202020204" pitchFamily="34" charset="0"/>
                <a:cs typeface="Arial" panose="020B0604020202020204" pitchFamily="34" charset="0"/>
              </a:rPr>
              <a:t>fo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at indsætte nyt slid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3. </a:t>
            </a:r>
            <a:r>
              <a:rPr lang="da-DK" altLang="da-DK" sz="900" b="0" noProof="1">
                <a:solidFill>
                  <a:schemeClr val="tx1"/>
                </a:solidFill>
                <a:latin typeface="Arial" panose="020B0604020202020204" pitchFamily="34" charset="0"/>
                <a:cs typeface="Arial" panose="020B0604020202020204" pitchFamily="34" charset="0"/>
              </a:rPr>
              <a:t>Vælg det layout, du ønsker,</a:t>
            </a:r>
            <a:r>
              <a:rPr lang="da-DK" altLang="da-DK" sz="900" b="0" baseline="0" noProof="1">
                <a:solidFill>
                  <a:schemeClr val="tx1"/>
                </a:solidFill>
                <a:latin typeface="Arial" panose="020B0604020202020204" pitchFamily="34" charset="0"/>
                <a:cs typeface="Arial" panose="020B0604020202020204" pitchFamily="34" charset="0"/>
              </a:rPr>
              <a:t> </a:t>
            </a:r>
            <a:r>
              <a:rPr lang="da-DK" altLang="da-DK" sz="900" b="0" noProof="1">
                <a:solidFill>
                  <a:schemeClr val="tx1"/>
                </a:solidFill>
                <a:latin typeface="Arial" panose="020B0604020202020204" pitchFamily="34" charset="0"/>
                <a:cs typeface="Arial" panose="020B0604020202020204" pitchFamily="34" charset="0"/>
              </a:rPr>
              <a:t>for at ændre dit nuværende layout til et alternativt.</a:t>
            </a:r>
          </a:p>
          <a:p>
            <a:pPr fontAlgn="auto">
              <a:spcBef>
                <a:spcPts val="1200"/>
              </a:spcBef>
              <a:spcAft>
                <a:spcPts val="600"/>
              </a:spcAft>
              <a:buFont typeface="+mj-lt"/>
              <a:buNone/>
              <a:defRPr/>
            </a:pPr>
            <a:r>
              <a:rPr lang="da-DK" sz="1000" b="1" noProof="1">
                <a:solidFill>
                  <a:schemeClr val="tx1"/>
                </a:solidFill>
                <a:latin typeface="Arial" panose="020B0604020202020204" pitchFamily="34" charset="0"/>
                <a:cs typeface="Arial" panose="020B0604020202020204" pitchFamily="34" charset="0"/>
              </a:rPr>
              <a:t>Nulstil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Hjem</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Nulstil</a:t>
            </a:r>
            <a:r>
              <a:rPr lang="da-DK" altLang="da-DK" sz="900" b="0" noProof="1">
                <a:solidFill>
                  <a:schemeClr val="tx1"/>
                </a:solidFill>
                <a:latin typeface="Arial" panose="020B0604020202020204" pitchFamily="34" charset="0"/>
                <a:cs typeface="Arial" panose="020B0604020202020204" pitchFamily="34" charset="0"/>
              </a:rPr>
              <a:t> for at nulstille placering, størrelse og formatering af pladsholdere til layoutets oprindelige design .</a:t>
            </a:r>
          </a:p>
          <a:p>
            <a:pPr eaLnBrk="1" hangingPunct="1">
              <a:spcAft>
                <a:spcPts val="600"/>
              </a:spcAft>
              <a:defRPr/>
            </a:pPr>
            <a:endParaRPr lang="da-DK" sz="900" b="1" noProof="1">
              <a:solidFill>
                <a:schemeClr val="tx1"/>
              </a:solidFill>
              <a:latin typeface="Arial" panose="020B0604020202020204" pitchFamily="34" charset="0"/>
              <a:cs typeface="Arial" panose="020B0604020202020204" pitchFamily="34" charset="0"/>
            </a:endParaRPr>
          </a:p>
          <a:p>
            <a:pPr eaLnBrk="1" hangingPunct="1">
              <a:spcAft>
                <a:spcPts val="240"/>
              </a:spcAft>
              <a:defRPr/>
            </a:pPr>
            <a:endParaRPr lang="da-DK" sz="900" noProof="1">
              <a:solidFill>
                <a:schemeClr val="tx1"/>
              </a:solidFill>
              <a:latin typeface="Arial" panose="020B0604020202020204" pitchFamily="34" charset="0"/>
              <a:cs typeface="Arial" panose="020B0604020202020204" pitchFamily="34" charset="0"/>
            </a:endParaRPr>
          </a:p>
        </p:txBody>
      </p:sp>
      <p:sp>
        <p:nvSpPr>
          <p:cNvPr id="18" name="Text Box 3"/>
          <p:cNvSpPr txBox="1">
            <a:spLocks noChangeArrowheads="1"/>
          </p:cNvSpPr>
          <p:nvPr userDrawn="1"/>
        </p:nvSpPr>
        <p:spPr bwMode="auto">
          <a:xfrm>
            <a:off x="5039973" y="1833789"/>
            <a:ext cx="1927222" cy="2862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1000" b="1" noProof="1">
                <a:solidFill>
                  <a:schemeClr val="tx1"/>
                </a:solidFill>
                <a:latin typeface="Arial" panose="020B0604020202020204" pitchFamily="34" charset="0"/>
                <a:cs typeface="Arial" panose="020B0604020202020204" pitchFamily="34" charset="0"/>
              </a:rPr>
              <a:t>Indsæt billede</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På slides med billedpladsholde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klik på ikonet og vælg </a:t>
            </a:r>
            <a:r>
              <a:rPr lang="da-DK" altLang="da-DK" sz="900" b="1" noProof="1">
                <a:solidFill>
                  <a:schemeClr val="tx1"/>
                </a:solidFill>
                <a:latin typeface="Arial" panose="020B0604020202020204" pitchFamily="34" charset="0"/>
                <a:cs typeface="Arial" panose="020B0604020202020204" pitchFamily="34" charset="0"/>
              </a:rPr>
              <a:t>Indsæt.</a:t>
            </a:r>
          </a:p>
          <a:p>
            <a:pPr eaLnBrk="1" hangingPunct="1">
              <a:spcBef>
                <a:spcPts val="1200"/>
              </a:spcBef>
              <a:spcAft>
                <a:spcPts val="600"/>
              </a:spcAft>
              <a:defRPr/>
            </a:pPr>
            <a:r>
              <a:rPr lang="da-DK" sz="1000" b="1" noProof="1">
                <a:solidFill>
                  <a:schemeClr val="tx1"/>
                </a:solidFill>
                <a:latin typeface="Arial" panose="020B0604020202020204" pitchFamily="34" charset="0"/>
                <a:cs typeface="Arial" panose="020B0604020202020204" pitchFamily="34" charset="0"/>
              </a:rPr>
              <a:t>Beskær billed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a:t>
            </a:r>
            <a:r>
              <a:rPr lang="da-DK" altLang="da-DK" sz="900" b="1" baseline="0" noProof="1">
                <a:solidFill>
                  <a:schemeClr val="tx1"/>
                </a:solidFill>
                <a:latin typeface="Arial" panose="020B0604020202020204" pitchFamily="34" charset="0"/>
                <a:cs typeface="Arial" panose="020B0604020202020204" pitchFamily="34" charset="0"/>
              </a:rPr>
              <a:t> </a:t>
            </a:r>
            <a:r>
              <a:rPr lang="da-DK" altLang="da-DK" sz="900" b="0" baseline="0" noProof="1">
                <a:solidFill>
                  <a:schemeClr val="tx1"/>
                </a:solidFill>
                <a:latin typeface="Arial" panose="020B0604020202020204" pitchFamily="34" charset="0"/>
                <a:cs typeface="Arial" panose="020B0604020202020204" pitchFamily="34" charset="0"/>
              </a:rPr>
              <a:t>Markér billedet. Klik på fanen </a:t>
            </a:r>
            <a:r>
              <a:rPr lang="da-DK" altLang="da-DK" sz="900" b="1" noProof="1">
                <a:solidFill>
                  <a:schemeClr val="tx1"/>
                </a:solidFill>
                <a:latin typeface="Arial" panose="020B0604020202020204" pitchFamily="34" charset="0"/>
                <a:cs typeface="Arial" panose="020B0604020202020204" pitchFamily="34" charset="0"/>
              </a:rPr>
              <a:t>Billedværktøjer</a:t>
            </a:r>
            <a:r>
              <a:rPr lang="da-DK" altLang="da-DK" sz="900" b="0" baseline="0" noProof="1">
                <a:solidFill>
                  <a:schemeClr val="tx1"/>
                </a:solidFill>
                <a:latin typeface="Arial" panose="020B0604020202020204" pitchFamily="34" charset="0"/>
                <a:cs typeface="Arial" panose="020B0604020202020204" pitchFamily="34" charset="0"/>
              </a:rPr>
              <a:t> og </a:t>
            </a:r>
            <a:r>
              <a:rPr lang="da-DK" altLang="da-DK" sz="900" b="1" noProof="1">
                <a:solidFill>
                  <a:schemeClr val="tx1"/>
                </a:solidFill>
                <a:latin typeface="Arial" panose="020B0604020202020204" pitchFamily="34" charset="0"/>
                <a:cs typeface="Arial" panose="020B0604020202020204" pitchFamily="34" charset="0"/>
              </a:rPr>
              <a:t>Formater</a:t>
            </a:r>
            <a:r>
              <a:rPr lang="da-DK" altLang="da-DK" sz="900" b="0" baseline="0" noProof="1">
                <a:solidFill>
                  <a:schemeClr val="tx1"/>
                </a:solidFill>
                <a:latin typeface="Arial" panose="020B0604020202020204" pitchFamily="34" charset="0"/>
                <a:cs typeface="Arial" panose="020B0604020202020204" pitchFamily="34" charset="0"/>
              </a:rPr>
              <a:t>.</a:t>
            </a:r>
            <a:endParaRPr lang="da-DK" altLang="da-DK"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Klik </a:t>
            </a:r>
            <a:r>
              <a:rPr lang="da-DK" altLang="da-DK" sz="900" b="1" noProof="1">
                <a:solidFill>
                  <a:schemeClr val="tx1"/>
                </a:solidFill>
                <a:latin typeface="Arial" panose="020B0604020202020204" pitchFamily="34" charset="0"/>
                <a:cs typeface="Arial" panose="020B0604020202020204" pitchFamily="34" charset="0"/>
              </a:rPr>
              <a:t>Beskær</a:t>
            </a:r>
            <a:r>
              <a:rPr lang="da-DK" altLang="da-DK" sz="900" b="0" noProof="1">
                <a:solidFill>
                  <a:schemeClr val="tx1"/>
                </a:solidFill>
                <a:latin typeface="Arial" panose="020B0604020202020204" pitchFamily="34" charset="0"/>
                <a:cs typeface="Arial" panose="020B0604020202020204" pitchFamily="34" charset="0"/>
              </a:rPr>
              <a:t> for at ændre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billedets fokus/størrels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3. </a:t>
            </a:r>
            <a:r>
              <a:rPr lang="da-DK" altLang="da-DK" sz="900" b="0" noProof="1">
                <a:solidFill>
                  <a:schemeClr val="tx1"/>
                </a:solidFill>
                <a:latin typeface="Arial" panose="020B0604020202020204" pitchFamily="34" charset="0"/>
                <a:cs typeface="Arial" panose="020B0604020202020204" pitchFamily="34" charset="0"/>
              </a:rPr>
              <a:t>Ønsker du at skalere billedet, så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hold </a:t>
            </a:r>
            <a:r>
              <a:rPr lang="da-DK" altLang="da-DK" sz="900" b="1" noProof="1">
                <a:solidFill>
                  <a:schemeClr val="tx1"/>
                </a:solidFill>
                <a:latin typeface="Arial" panose="020B0604020202020204" pitchFamily="34" charset="0"/>
                <a:cs typeface="Arial" panose="020B0604020202020204" pitchFamily="34" charset="0"/>
              </a:rPr>
              <a:t>SHIFT</a:t>
            </a:r>
            <a:r>
              <a:rPr lang="da-DK" altLang="da-DK" sz="900" b="0" noProof="1">
                <a:solidFill>
                  <a:schemeClr val="tx1"/>
                </a:solidFill>
                <a:latin typeface="Arial" panose="020B0604020202020204" pitchFamily="34" charset="0"/>
                <a:cs typeface="Arial" panose="020B0604020202020204" pitchFamily="34" charset="0"/>
              </a:rPr>
              <a:t>-knappen nede, mens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du trækker i billedets hjørn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Tips: </a:t>
            </a:r>
            <a:r>
              <a:rPr lang="da-DK" altLang="da-DK" sz="900" b="0" noProof="1">
                <a:solidFill>
                  <a:schemeClr val="tx1"/>
                </a:solidFill>
                <a:latin typeface="Arial" panose="020B0604020202020204" pitchFamily="34" charset="0"/>
                <a:cs typeface="Arial" panose="020B0604020202020204" pitchFamily="34" charset="0"/>
              </a:rPr>
              <a:t>Hvis du sletter billedet og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indsætter et nyt, kan billedet lægge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sig foran tekst og grafik. Hvis dette sker, højreklik på billedet og vælg </a:t>
            </a:r>
            <a:r>
              <a:rPr lang="da-DK" altLang="da-DK" sz="900" b="1" noProof="1">
                <a:solidFill>
                  <a:schemeClr val="tx1"/>
                </a:solidFill>
                <a:latin typeface="Arial" panose="020B0604020202020204" pitchFamily="34" charset="0"/>
                <a:cs typeface="Arial" panose="020B0604020202020204" pitchFamily="34" charset="0"/>
              </a:rPr>
              <a:t>Placer bagest.</a:t>
            </a:r>
          </a:p>
        </p:txBody>
      </p:sp>
      <p:sp>
        <p:nvSpPr>
          <p:cNvPr id="19" name="Text Box 4"/>
          <p:cNvSpPr txBox="1">
            <a:spLocks noChangeArrowheads="1"/>
          </p:cNvSpPr>
          <p:nvPr userDrawn="1"/>
        </p:nvSpPr>
        <p:spPr bwMode="auto">
          <a:xfrm>
            <a:off x="9062174" y="1815926"/>
            <a:ext cx="2256615" cy="3508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1000" b="1" noProof="1">
                <a:solidFill>
                  <a:schemeClr val="tx1"/>
                </a:solidFill>
                <a:latin typeface="Arial" panose="020B0604020202020204" pitchFamily="34" charset="0"/>
                <a:cs typeface="Arial" panose="020B0604020202020204" pitchFamily="34" charset="0"/>
              </a:rPr>
              <a:t>For at justere sidenummerering, </a:t>
            </a:r>
            <a:br>
              <a:rPr lang="da-DK" sz="1000" b="1"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dato og sidefod</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Arial" panose="020B0604020202020204" pitchFamily="34" charset="0"/>
                <a:cs typeface="Arial" panose="020B0604020202020204" pitchFamily="34" charset="0"/>
              </a:rPr>
              <a:t>Gør dette som</a:t>
            </a:r>
            <a:r>
              <a:rPr lang="da-DK" altLang="da-DK" sz="900" b="0" baseline="0" noProof="1">
                <a:solidFill>
                  <a:schemeClr val="tx1"/>
                </a:solidFill>
                <a:latin typeface="Arial" panose="020B0604020202020204" pitchFamily="34" charset="0"/>
                <a:cs typeface="Arial" panose="020B0604020202020204" pitchFamily="34" charset="0"/>
              </a:rPr>
              <a:t> det sidste i din præsentation, så det slår igennem på alle slides.</a:t>
            </a:r>
            <a:endParaRPr lang="da-DK"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Indsæt.</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Klik </a:t>
            </a:r>
            <a:r>
              <a:rPr lang="da-DK" altLang="da-DK" sz="900" b="1" noProof="1">
                <a:solidFill>
                  <a:schemeClr val="tx1"/>
                </a:solidFill>
                <a:latin typeface="Arial" panose="020B0604020202020204" pitchFamily="34" charset="0"/>
                <a:cs typeface="Arial" panose="020B0604020202020204" pitchFamily="34" charset="0"/>
              </a:rPr>
              <a:t>Sidehoved og Sidef</a:t>
            </a:r>
            <a:r>
              <a:rPr lang="da-DK" altLang="da-DK" sz="900" b="0" noProof="1">
                <a:solidFill>
                  <a:schemeClr val="tx1"/>
                </a:solidFill>
                <a:latin typeface="Arial" panose="020B0604020202020204" pitchFamily="34" charset="0"/>
                <a:cs typeface="Arial" panose="020B0604020202020204" pitchFamily="34" charset="0"/>
              </a:rPr>
              <a:t>od</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indtast evt. tekst i sidefod).</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Anvend på alle </a:t>
            </a:r>
            <a:r>
              <a:rPr lang="da-DK" altLang="da-DK" sz="900" b="0" noProof="1">
                <a:solidFill>
                  <a:schemeClr val="tx1"/>
                </a:solidFill>
                <a:latin typeface="Arial" panose="020B0604020202020204" pitchFamily="34" charset="0"/>
                <a:cs typeface="Arial" panose="020B0604020202020204" pitchFamily="34" charset="0"/>
              </a:rPr>
              <a:t>eller </a:t>
            </a:r>
            <a:r>
              <a:rPr lang="da-DK" altLang="da-DK" sz="900" b="1" noProof="1">
                <a:solidFill>
                  <a:schemeClr val="tx1"/>
                </a:solidFill>
                <a:latin typeface="Arial" panose="020B0604020202020204" pitchFamily="34" charset="0"/>
                <a:cs typeface="Arial" panose="020B0604020202020204" pitchFamily="34" charset="0"/>
              </a:rPr>
              <a:t>Anvend</a:t>
            </a:r>
            <a:r>
              <a:rPr lang="da-DK" altLang="da-DK" sz="900" b="0" noProof="1">
                <a:solidFill>
                  <a:schemeClr val="tx1"/>
                </a:solidFill>
                <a:latin typeface="Arial" panose="020B0604020202020204" pitchFamily="34" charset="0"/>
                <a:cs typeface="Arial" panose="020B0604020202020204" pitchFamily="34" charset="0"/>
              </a:rPr>
              <a:t> hvis det kun skal være på et enkelt slide.</a:t>
            </a:r>
          </a:p>
          <a:p>
            <a:pPr eaLnBrk="1" hangingPunct="1">
              <a:spcBef>
                <a:spcPts val="1200"/>
              </a:spcBef>
              <a:spcAft>
                <a:spcPts val="600"/>
              </a:spcAft>
              <a:defRPr/>
            </a:pPr>
            <a:r>
              <a:rPr lang="da-DK" sz="1000" b="1" noProof="1">
                <a:solidFill>
                  <a:schemeClr val="tx1"/>
                </a:solidFill>
                <a:latin typeface="Arial" panose="020B0604020202020204" pitchFamily="34" charset="0"/>
                <a:cs typeface="Arial" panose="020B0604020202020204" pitchFamily="34" charset="0"/>
              </a:rPr>
              <a:t>Hjælpelinjer</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For at se hjælpelinj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Vis </a:t>
            </a:r>
            <a:r>
              <a:rPr lang="da-DK" altLang="da-DK" sz="900" b="0" noProof="1">
                <a:solidFill>
                  <a:schemeClr val="tx1"/>
                </a:solidFill>
                <a:latin typeface="Arial" panose="020B0604020202020204" pitchFamily="34" charset="0"/>
                <a:cs typeface="Arial" panose="020B0604020202020204" pitchFamily="34" charset="0"/>
              </a:rPr>
              <a:t>og sæt hak ved </a:t>
            </a:r>
            <a:r>
              <a:rPr lang="da-DK" altLang="da-DK" sz="900" b="1" noProof="1">
                <a:solidFill>
                  <a:schemeClr val="tx1"/>
                </a:solidFill>
                <a:latin typeface="Arial" panose="020B0604020202020204" pitchFamily="34" charset="0"/>
                <a:cs typeface="Arial" panose="020B0604020202020204" pitchFamily="34" charset="0"/>
              </a:rPr>
              <a:t>Hjælpelinjer.</a:t>
            </a:r>
          </a:p>
          <a:p>
            <a:pPr eaLnBrk="1" hangingPunct="1">
              <a:spcAft>
                <a:spcPts val="600"/>
              </a:spcAft>
              <a:defRPr/>
            </a:pP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Tips: Alt + F9 </a:t>
            </a:r>
            <a:r>
              <a:rPr lang="da-DK" altLang="da-DK" sz="900" b="0" noProof="1">
                <a:solidFill>
                  <a:schemeClr val="tx1"/>
                </a:solidFill>
                <a:latin typeface="Arial" panose="020B0604020202020204" pitchFamily="34" charset="0"/>
                <a:cs typeface="Arial" panose="020B0604020202020204" pitchFamily="34" charset="0"/>
              </a:rPr>
              <a:t>for hurtig visning af hjælpelinjer.</a:t>
            </a:r>
          </a:p>
          <a:p>
            <a:pPr eaLnBrk="1" hangingPunct="1">
              <a:spcAft>
                <a:spcPts val="600"/>
              </a:spcAft>
              <a:defRPr/>
            </a:pPr>
            <a:endParaRPr lang="da-DK" altLang="da-DK" sz="900" b="0" noProof="1">
              <a:solidFill>
                <a:schemeClr val="tx1"/>
              </a:solidFill>
              <a:latin typeface="Arial" panose="020B0604020202020204" pitchFamily="34" charset="0"/>
              <a:cs typeface="Arial" panose="020B0604020202020204" pitchFamily="34" charset="0"/>
            </a:endParaRPr>
          </a:p>
        </p:txBody>
      </p:sp>
      <p:pic>
        <p:nvPicPr>
          <p:cNvPr id="22" name="1 Forøg formindsk"/>
          <p:cNvPicPr>
            <a:picLocks noChangeAspect="1"/>
          </p:cNvPicPr>
          <p:nvPr userDrawn="1"/>
        </p:nvPicPr>
        <p:blipFill>
          <a:blip r:embed="rId2"/>
          <a:stretch>
            <a:fillRect/>
          </a:stretch>
        </p:blipFill>
        <p:spPr>
          <a:xfrm>
            <a:off x="3143464" y="2877130"/>
            <a:ext cx="549328" cy="285228"/>
          </a:xfrm>
          <a:prstGeom prst="rect">
            <a:avLst/>
          </a:prstGeom>
        </p:spPr>
      </p:pic>
      <p:pic>
        <p:nvPicPr>
          <p:cNvPr id="26" name="2 Ny slide"/>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157383" y="3958874"/>
            <a:ext cx="363713" cy="647461"/>
          </a:xfrm>
          <a:prstGeom prst="rect">
            <a:avLst/>
          </a:prstGeom>
        </p:spPr>
      </p:pic>
      <p:pic>
        <p:nvPicPr>
          <p:cNvPr id="27" name="4 Nulstil"/>
          <p:cNvPicPr>
            <a:picLocks noChangeAspect="1"/>
          </p:cNvPicPr>
          <p:nvPr userDrawn="1"/>
        </p:nvPicPr>
        <p:blipFill>
          <a:blip r:embed="rId4"/>
          <a:stretch>
            <a:fillRect/>
          </a:stretch>
        </p:blipFill>
        <p:spPr>
          <a:xfrm>
            <a:off x="3145551" y="5464557"/>
            <a:ext cx="547241" cy="197798"/>
          </a:xfrm>
          <a:prstGeom prst="rect">
            <a:avLst/>
          </a:prstGeom>
        </p:spPr>
      </p:pic>
      <p:pic>
        <p:nvPicPr>
          <p:cNvPr id="30" name="5 Indsæt billede"/>
          <p:cNvPicPr>
            <a:picLocks noChangeAspect="1"/>
          </p:cNvPicPr>
          <p:nvPr userDrawn="1"/>
        </p:nvPicPr>
        <p:blipFill>
          <a:blip r:embed="rId5"/>
          <a:stretch>
            <a:fillRect/>
          </a:stretch>
        </p:blipFill>
        <p:spPr>
          <a:xfrm>
            <a:off x="6967195" y="2075087"/>
            <a:ext cx="262151" cy="256054"/>
          </a:xfrm>
          <a:prstGeom prst="rect">
            <a:avLst/>
          </a:prstGeom>
        </p:spPr>
      </p:pic>
      <p:pic>
        <p:nvPicPr>
          <p:cNvPr id="31" name="6 Beskær"/>
          <p:cNvPicPr>
            <a:picLocks noChangeAspect="1"/>
          </p:cNvPicPr>
          <p:nvPr userDrawn="1"/>
        </p:nvPicPr>
        <p:blipFill>
          <a:blip r:embed="rId6"/>
          <a:stretch>
            <a:fillRect/>
          </a:stretch>
        </p:blipFill>
        <p:spPr>
          <a:xfrm>
            <a:off x="6929570" y="3095427"/>
            <a:ext cx="337400" cy="321707"/>
          </a:xfrm>
          <a:prstGeom prst="rect">
            <a:avLst/>
          </a:prstGeom>
        </p:spPr>
      </p:pic>
      <p:pic>
        <p:nvPicPr>
          <p:cNvPr id="32" name="7 Skalér billede"/>
          <p:cNvPicPr>
            <a:picLocks noChangeAspect="1"/>
          </p:cNvPicPr>
          <p:nvPr userDrawn="1"/>
        </p:nvPicPr>
        <p:blipFill>
          <a:blip r:embed="rId7"/>
          <a:stretch>
            <a:fillRect/>
          </a:stretch>
        </p:blipFill>
        <p:spPr>
          <a:xfrm>
            <a:off x="6945349" y="3543401"/>
            <a:ext cx="359695" cy="335309"/>
          </a:xfrm>
          <a:prstGeom prst="rect">
            <a:avLst/>
          </a:prstGeom>
        </p:spPr>
      </p:pic>
      <p:pic>
        <p:nvPicPr>
          <p:cNvPr id="33" name="Picture 13"/>
          <p:cNvPicPr>
            <a:picLocks noChangeAspect="1"/>
          </p:cNvPicPr>
          <p:nvPr userDrawn="1"/>
        </p:nvPicPr>
        <p:blipFill>
          <a:blip r:embed="rId8"/>
          <a:stretch>
            <a:fillRect/>
          </a:stretch>
        </p:blipFill>
        <p:spPr>
          <a:xfrm>
            <a:off x="3239595" y="3321050"/>
            <a:ext cx="199287" cy="192169"/>
          </a:xfrm>
          <a:prstGeom prst="rect">
            <a:avLst/>
          </a:prstGeom>
          <a:ln w="3175">
            <a:solidFill>
              <a:schemeClr val="tx1">
                <a:lumMod val="50000"/>
                <a:lumOff val="50000"/>
              </a:schemeClr>
            </a:solidFill>
          </a:ln>
        </p:spPr>
      </p:pic>
      <p:pic>
        <p:nvPicPr>
          <p:cNvPr id="34" name="Picture 2"/>
          <p:cNvPicPr>
            <a:picLocks noChangeAspect="1" noChangeArrowheads="1"/>
          </p:cNvPicPr>
          <p:nvPr userDrawn="1"/>
        </p:nvPicPr>
        <p:blipFill>
          <a:blip r:embed="rId9">
            <a:extLst>
              <a:ext uri="{28A0092B-C50C-407E-A947-70E740481C1C}">
                <a14:useLocalDpi xmlns:a14="http://schemas.microsoft.com/office/drawing/2010/main"/>
              </a:ext>
            </a:extLst>
          </a:blip>
          <a:srcRect/>
          <a:stretch>
            <a:fillRect/>
          </a:stretch>
        </p:blipFill>
        <p:spPr bwMode="auto">
          <a:xfrm>
            <a:off x="6945349" y="2723498"/>
            <a:ext cx="595309" cy="350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0701285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Sikkerhedsslide">
    <p:spTree>
      <p:nvGrpSpPr>
        <p:cNvPr id="1" name=""/>
        <p:cNvGrpSpPr/>
        <p:nvPr/>
      </p:nvGrpSpPr>
      <p:grpSpPr>
        <a:xfrm>
          <a:off x="0" y="0"/>
          <a:ext cx="0" cy="0"/>
          <a:chOff x="0" y="0"/>
          <a:chExt cx="0" cy="0"/>
        </a:xfrm>
      </p:grpSpPr>
      <p:sp>
        <p:nvSpPr>
          <p:cNvPr id="5" name="Rektangel 4"/>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11" name="Tekstfelt 10"/>
          <p:cNvSpPr txBox="1"/>
          <p:nvPr userDrawn="1"/>
        </p:nvSpPr>
        <p:spPr>
          <a:xfrm>
            <a:off x="2749328" y="4057651"/>
            <a:ext cx="1667920" cy="307777"/>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2000">
                <a:solidFill>
                  <a:schemeClr val="bg1"/>
                </a:solidFill>
                <a:latin typeface="Calibri" charset="0"/>
                <a:ea typeface="Calibri" charset="0"/>
                <a:cs typeface="Calibri" charset="0"/>
              </a:rPr>
              <a:t>NØDUDGANGE</a:t>
            </a:r>
          </a:p>
        </p:txBody>
      </p:sp>
      <p:sp>
        <p:nvSpPr>
          <p:cNvPr id="12" name="Tekstfelt 11"/>
          <p:cNvSpPr txBox="1"/>
          <p:nvPr userDrawn="1"/>
        </p:nvSpPr>
        <p:spPr>
          <a:xfrm>
            <a:off x="5219443" y="4057651"/>
            <a:ext cx="2073972" cy="307777"/>
          </a:xfrm>
          <a:prstGeom prst="rect">
            <a:avLst/>
          </a:prstGeom>
          <a:noFill/>
        </p:spPr>
        <p:txBody>
          <a:bodyPr wrap="square" lIns="0" tIns="0" rIns="0" bIns="0"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a-DK" sz="2000">
                <a:solidFill>
                  <a:schemeClr val="bg1"/>
                </a:solidFill>
                <a:latin typeface="Calibri" charset="0"/>
                <a:ea typeface="Calibri" charset="0"/>
                <a:cs typeface="Calibri" charset="0"/>
              </a:rPr>
              <a:t>HJERTESTARTER</a:t>
            </a:r>
          </a:p>
        </p:txBody>
      </p:sp>
      <p:sp>
        <p:nvSpPr>
          <p:cNvPr id="13" name="Tekstfelt 12"/>
          <p:cNvSpPr txBox="1"/>
          <p:nvPr userDrawn="1"/>
        </p:nvSpPr>
        <p:spPr>
          <a:xfrm>
            <a:off x="7968792" y="4057651"/>
            <a:ext cx="1864518" cy="307777"/>
          </a:xfrm>
          <a:prstGeom prst="rect">
            <a:avLst/>
          </a:prstGeom>
          <a:noFill/>
        </p:spPr>
        <p:txBody>
          <a:bodyPr wrap="square" lIns="0" tIns="0" rIns="0" bIns="0"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a-DK" sz="2000">
                <a:solidFill>
                  <a:schemeClr val="bg1"/>
                </a:solidFill>
                <a:latin typeface="Calibri" charset="0"/>
                <a:ea typeface="Calibri" charset="0"/>
                <a:cs typeface="Calibri" charset="0"/>
              </a:rPr>
              <a:t>SAMLINGSSTED</a:t>
            </a:r>
          </a:p>
        </p:txBody>
      </p:sp>
      <p:pic>
        <p:nvPicPr>
          <p:cNvPr id="3" name="Billede 2" descr="Et billede, der indeholder tekst, clipart&#10;&#10;Automatisk genereret beskrivelse">
            <a:extLst>
              <a:ext uri="{FF2B5EF4-FFF2-40B4-BE49-F238E27FC236}">
                <a16:creationId xmlns:a16="http://schemas.microsoft.com/office/drawing/2014/main" id="{44F8C9F1-2E7E-B348-9536-95B3E0340C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78" r="669"/>
          <a:stretch/>
        </p:blipFill>
        <p:spPr>
          <a:xfrm>
            <a:off x="2714158" y="2146300"/>
            <a:ext cx="1650438" cy="1636776"/>
          </a:xfrm>
          <a:prstGeom prst="rect">
            <a:avLst/>
          </a:prstGeom>
        </p:spPr>
      </p:pic>
      <p:pic>
        <p:nvPicPr>
          <p:cNvPr id="14" name="Billede 13">
            <a:extLst>
              <a:ext uri="{FF2B5EF4-FFF2-40B4-BE49-F238E27FC236}">
                <a16:creationId xmlns:a16="http://schemas.microsoft.com/office/drawing/2014/main" id="{F91BF282-FC60-7E4F-8ED4-8CFE6E76CD77}"/>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718" t="1358" r="1509"/>
          <a:stretch/>
        </p:blipFill>
        <p:spPr>
          <a:xfrm>
            <a:off x="5410200" y="2168524"/>
            <a:ext cx="1593850" cy="1614551"/>
          </a:xfrm>
          <a:prstGeom prst="rect">
            <a:avLst/>
          </a:prstGeom>
        </p:spPr>
      </p:pic>
      <p:pic>
        <p:nvPicPr>
          <p:cNvPr id="17" name="Billede 16" descr="Et billede, der indeholder tekst, skilt, førstehjælpssæt, clipart&#10;&#10;Automatisk genereret beskrivelse">
            <a:extLst>
              <a:ext uri="{FF2B5EF4-FFF2-40B4-BE49-F238E27FC236}">
                <a16:creationId xmlns:a16="http://schemas.microsoft.com/office/drawing/2014/main" id="{948BE73B-F68F-9746-A38C-C0BEBB6BB3D0}"/>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221" t="1779" r="2336" b="-1"/>
          <a:stretch/>
        </p:blipFill>
        <p:spPr>
          <a:xfrm>
            <a:off x="8049654" y="2168524"/>
            <a:ext cx="1595235" cy="1614551"/>
          </a:xfrm>
          <a:prstGeom prst="rect">
            <a:avLst/>
          </a:prstGeom>
        </p:spPr>
      </p:pic>
    </p:spTree>
    <p:extLst>
      <p:ext uri="{BB962C8B-B14F-4D97-AF65-F5344CB8AC3E}">
        <p14:creationId xmlns:p14="http://schemas.microsoft.com/office/powerpoint/2010/main" val="358460514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199456" y="1104801"/>
            <a:ext cx="9313035" cy="419863"/>
          </a:xfrm>
        </p:spPr>
        <p:txBody>
          <a:bodyPr/>
          <a:lstStyle/>
          <a:p>
            <a:r>
              <a:rPr lang="da-DK"/>
              <a:t>Klik og indsæt overskrift</a:t>
            </a:r>
          </a:p>
        </p:txBody>
      </p:sp>
      <p:sp>
        <p:nvSpPr>
          <p:cNvPr id="3" name="Pladsholder til indhold 2"/>
          <p:cNvSpPr>
            <a:spLocks noGrp="1"/>
          </p:cNvSpPr>
          <p:nvPr>
            <p:ph idx="1" hasCustomPrompt="1"/>
          </p:nvPr>
        </p:nvSpPr>
        <p:spPr>
          <a:xfrm>
            <a:off x="1199456" y="1812575"/>
            <a:ext cx="9313035" cy="4208713"/>
          </a:xfrm>
        </p:spPr>
        <p:txBody>
          <a:bodyPr/>
          <a:lstStyle/>
          <a:p>
            <a:pPr lvl="0"/>
            <a:r>
              <a:rPr lang="da-DK"/>
              <a:t>Klik og indsæt tekst</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p:cNvSpPr>
            <a:spLocks noGrp="1"/>
          </p:cNvSpPr>
          <p:nvPr>
            <p:ph type="dt" sz="half" idx="10"/>
          </p:nvPr>
        </p:nvSpPr>
        <p:spPr/>
        <p:txBody>
          <a:bodyPr/>
          <a:lstStyle/>
          <a:p>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diasnummer 5"/>
          <p:cNvSpPr>
            <a:spLocks noGrp="1"/>
          </p:cNvSpPr>
          <p:nvPr>
            <p:ph type="sldNum" sz="quarter" idx="12"/>
          </p:nvPr>
        </p:nvSpPr>
        <p:spPr/>
        <p:txBody>
          <a:bodyPr/>
          <a:lstStyle/>
          <a:p>
            <a:fld id="{667EC89C-17A0-4E64-A6D2-B825673CEEDF}" type="slidenum">
              <a:rPr lang="da-DK" smtClean="0"/>
              <a:pPr/>
              <a:t>‹#›</a:t>
            </a:fld>
            <a:endParaRPr lang="da-DK"/>
          </a:p>
        </p:txBody>
      </p:sp>
      <p:sp>
        <p:nvSpPr>
          <p:cNvPr id="7" name="Rectangle 6"/>
          <p:cNvSpPr/>
          <p:nvPr userDrawn="1"/>
        </p:nvSpPr>
        <p:spPr>
          <a:xfrm>
            <a:off x="12336000" y="1"/>
            <a:ext cx="2400000" cy="2215991"/>
          </a:xfrm>
          <a:prstGeom prst="rect">
            <a:avLst/>
          </a:prstGeom>
        </p:spPr>
        <p:txBody>
          <a:bodyPr wrap="square" lIns="0" tIns="0" rIns="0" bIns="0">
            <a:spAutoFit/>
          </a:bodyPr>
          <a:lstStyle/>
          <a:p>
            <a:r>
              <a:rPr lang="da-DK" sz="1200" b="1">
                <a:solidFill>
                  <a:prstClr val="white"/>
                </a:solidFill>
              </a:rPr>
              <a:t>Gode råd:</a:t>
            </a:r>
          </a:p>
          <a:p>
            <a:endParaRPr lang="da-DK" sz="1200">
              <a:solidFill>
                <a:prstClr val="white"/>
              </a:solidFill>
            </a:endParaRPr>
          </a:p>
          <a:p>
            <a:r>
              <a:rPr lang="da-DK" sz="1200">
                <a:solidFill>
                  <a:prstClr val="white"/>
                </a:solidFill>
              </a:rPr>
              <a:t>Modtageren vil høre din præsentation, ikke læse slides.</a:t>
            </a:r>
          </a:p>
          <a:p>
            <a:endParaRPr lang="da-DK" sz="1200">
              <a:solidFill>
                <a:prstClr val="white"/>
              </a:solidFill>
            </a:endParaRPr>
          </a:p>
          <a:p>
            <a:r>
              <a:rPr lang="da-DK" sz="1200">
                <a:solidFill>
                  <a:prstClr val="white"/>
                </a:solidFill>
              </a:rPr>
              <a:t>Brug notefeltet som hjælp til at huske, hvad du vil sige.</a:t>
            </a:r>
          </a:p>
          <a:p>
            <a:endParaRPr lang="da-DK" sz="1200">
              <a:solidFill>
                <a:prstClr val="white"/>
              </a:solidFill>
            </a:endParaRPr>
          </a:p>
          <a:p>
            <a:r>
              <a:rPr lang="da-DK" sz="1200">
                <a:solidFill>
                  <a:prstClr val="white"/>
                </a:solidFill>
              </a:rPr>
              <a:t>Har du behov for, at modtageren skal huske vigtig information, så lav faktaark og del ud.</a:t>
            </a:r>
          </a:p>
          <a:p>
            <a:endParaRPr lang="da-DK" sz="1200">
              <a:solidFill>
                <a:prstClr val="white"/>
              </a:solidFill>
            </a:endParaRPr>
          </a:p>
        </p:txBody>
      </p:sp>
    </p:spTree>
    <p:extLst>
      <p:ext uri="{BB962C8B-B14F-4D97-AF65-F5344CB8AC3E}">
        <p14:creationId xmlns:p14="http://schemas.microsoft.com/office/powerpoint/2010/main" val="32132363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4" name="Inhaltsplatzhalter 1">
            <a:extLst>
              <a:ext uri="{FF2B5EF4-FFF2-40B4-BE49-F238E27FC236}">
                <a16:creationId xmlns:a16="http://schemas.microsoft.com/office/drawing/2014/main" id="{C62E783B-8C38-B14F-A829-53ADBD597589}"/>
              </a:ext>
            </a:extLst>
          </p:cNvPr>
          <p:cNvSpPr>
            <a:spLocks noGrp="1"/>
          </p:cNvSpPr>
          <p:nvPr>
            <p:ph idx="1"/>
          </p:nvPr>
        </p:nvSpPr>
        <p:spPr>
          <a:xfrm>
            <a:off x="407368" y="1747353"/>
            <a:ext cx="7200800" cy="4292180"/>
          </a:xfrm>
        </p:spPr>
        <p:txBody>
          <a:bodyPr/>
          <a:lstStyle/>
          <a:p>
            <a:r>
              <a:rPr lang="de-DE">
                <a:solidFill>
                  <a:srgbClr val="0F218B"/>
                </a:solidFill>
              </a:rPr>
              <a:t>Headline 3 – Edit </a:t>
            </a:r>
            <a:r>
              <a:rPr lang="de-DE" err="1">
                <a:solidFill>
                  <a:srgbClr val="0F218B"/>
                </a:solidFill>
              </a:rPr>
              <a:t>the</a:t>
            </a:r>
            <a:r>
              <a:rPr lang="de-DE">
                <a:solidFill>
                  <a:srgbClr val="0F218B"/>
                </a:solidFill>
              </a:rPr>
              <a:t> </a:t>
            </a:r>
            <a:r>
              <a:rPr lang="de-DE" err="1">
                <a:solidFill>
                  <a:srgbClr val="0F218B"/>
                </a:solidFill>
              </a:rPr>
              <a:t>pie</a:t>
            </a:r>
            <a:r>
              <a:rPr lang="de-DE">
                <a:solidFill>
                  <a:srgbClr val="0F218B"/>
                </a:solidFill>
              </a:rPr>
              <a:t> </a:t>
            </a:r>
            <a:r>
              <a:rPr lang="de-DE" err="1">
                <a:solidFill>
                  <a:srgbClr val="0F218B"/>
                </a:solidFill>
              </a:rPr>
              <a:t>chart</a:t>
            </a:r>
            <a:r>
              <a:rPr lang="de-DE">
                <a:solidFill>
                  <a:srgbClr val="0F218B"/>
                </a:solidFill>
              </a:rPr>
              <a:t> </a:t>
            </a:r>
            <a:r>
              <a:rPr lang="de-DE" err="1">
                <a:solidFill>
                  <a:srgbClr val="0F218B"/>
                </a:solidFill>
              </a:rPr>
              <a:t>by</a:t>
            </a:r>
            <a:r>
              <a:rPr lang="de-DE">
                <a:solidFill>
                  <a:srgbClr val="0F218B"/>
                </a:solidFill>
              </a:rPr>
              <a:t> </a:t>
            </a:r>
            <a:r>
              <a:rPr lang="de-DE" err="1">
                <a:solidFill>
                  <a:srgbClr val="0F218B"/>
                </a:solidFill>
              </a:rPr>
              <a:t>clicking</a:t>
            </a:r>
            <a:r>
              <a:rPr lang="de-DE">
                <a:solidFill>
                  <a:srgbClr val="0F218B"/>
                </a:solidFill>
              </a:rPr>
              <a:t> on it. </a:t>
            </a:r>
            <a:r>
              <a:rPr lang="de-DE" err="1">
                <a:solidFill>
                  <a:srgbClr val="0F218B"/>
                </a:solidFill>
              </a:rPr>
              <a:t>Now</a:t>
            </a:r>
            <a:r>
              <a:rPr lang="de-DE">
                <a:solidFill>
                  <a:srgbClr val="0F218B"/>
                </a:solidFill>
              </a:rPr>
              <a:t> </a:t>
            </a:r>
            <a:r>
              <a:rPr lang="de-DE" err="1">
                <a:solidFill>
                  <a:srgbClr val="0F218B"/>
                </a:solidFill>
              </a:rPr>
              <a:t>icons</a:t>
            </a:r>
            <a:r>
              <a:rPr lang="de-DE">
                <a:solidFill>
                  <a:srgbClr val="0F218B"/>
                </a:solidFill>
              </a:rPr>
              <a:t> </a:t>
            </a:r>
            <a:r>
              <a:rPr lang="de-DE" err="1">
                <a:solidFill>
                  <a:srgbClr val="0F218B"/>
                </a:solidFill>
              </a:rPr>
              <a:t>appear</a:t>
            </a:r>
            <a:r>
              <a:rPr lang="de-DE">
                <a:solidFill>
                  <a:srgbClr val="0F218B"/>
                </a:solidFill>
              </a:rPr>
              <a:t>. </a:t>
            </a:r>
            <a:r>
              <a:rPr lang="de-DE" err="1">
                <a:solidFill>
                  <a:srgbClr val="0F218B"/>
                </a:solidFill>
              </a:rPr>
              <a:t>If</a:t>
            </a:r>
            <a:r>
              <a:rPr lang="de-DE">
                <a:solidFill>
                  <a:srgbClr val="0F218B"/>
                </a:solidFill>
              </a:rPr>
              <a:t> </a:t>
            </a:r>
            <a:r>
              <a:rPr lang="de-DE" err="1">
                <a:solidFill>
                  <a:srgbClr val="0F218B"/>
                </a:solidFill>
              </a:rPr>
              <a:t>you</a:t>
            </a:r>
            <a:r>
              <a:rPr lang="de-DE">
                <a:solidFill>
                  <a:srgbClr val="0F218B"/>
                </a:solidFill>
              </a:rPr>
              <a:t> </a:t>
            </a:r>
            <a:r>
              <a:rPr lang="de-DE" err="1">
                <a:solidFill>
                  <a:srgbClr val="0F218B"/>
                </a:solidFill>
              </a:rPr>
              <a:t>keep</a:t>
            </a:r>
            <a:r>
              <a:rPr lang="de-DE">
                <a:solidFill>
                  <a:srgbClr val="0F218B"/>
                </a:solidFill>
              </a:rPr>
              <a:t> </a:t>
            </a:r>
            <a:r>
              <a:rPr lang="de-DE" err="1">
                <a:solidFill>
                  <a:srgbClr val="0F218B"/>
                </a:solidFill>
              </a:rPr>
              <a:t>the</a:t>
            </a:r>
            <a:r>
              <a:rPr lang="de-DE">
                <a:solidFill>
                  <a:srgbClr val="0F218B"/>
                </a:solidFill>
              </a:rPr>
              <a:t> </a:t>
            </a:r>
            <a:r>
              <a:rPr lang="de-DE" err="1">
                <a:solidFill>
                  <a:srgbClr val="0F218B"/>
                </a:solidFill>
              </a:rPr>
              <a:t>cursor</a:t>
            </a:r>
            <a:r>
              <a:rPr lang="de-DE">
                <a:solidFill>
                  <a:srgbClr val="0F218B"/>
                </a:solidFill>
              </a:rPr>
              <a:t> </a:t>
            </a:r>
            <a:r>
              <a:rPr lang="de-DE" err="1">
                <a:solidFill>
                  <a:srgbClr val="0F218B"/>
                </a:solidFill>
              </a:rPr>
              <a:t>above</a:t>
            </a:r>
            <a:r>
              <a:rPr lang="de-DE">
                <a:solidFill>
                  <a:srgbClr val="0F218B"/>
                </a:solidFill>
              </a:rPr>
              <a:t> </a:t>
            </a:r>
            <a:r>
              <a:rPr lang="de-DE" err="1">
                <a:solidFill>
                  <a:srgbClr val="0F218B"/>
                </a:solidFill>
              </a:rPr>
              <a:t>the</a:t>
            </a:r>
            <a:r>
              <a:rPr lang="de-DE">
                <a:solidFill>
                  <a:srgbClr val="0F218B"/>
                </a:solidFill>
              </a:rPr>
              <a:t> </a:t>
            </a:r>
            <a:r>
              <a:rPr lang="de-DE" err="1">
                <a:solidFill>
                  <a:srgbClr val="0F218B"/>
                </a:solidFill>
              </a:rPr>
              <a:t>icons</a:t>
            </a:r>
            <a:r>
              <a:rPr lang="de-DE">
                <a:solidFill>
                  <a:srgbClr val="0F218B"/>
                </a:solidFill>
              </a:rPr>
              <a:t>, a </a:t>
            </a:r>
            <a:r>
              <a:rPr lang="de-DE" err="1">
                <a:solidFill>
                  <a:srgbClr val="0F218B"/>
                </a:solidFill>
              </a:rPr>
              <a:t>descriptive</a:t>
            </a:r>
            <a:r>
              <a:rPr lang="de-DE">
                <a:solidFill>
                  <a:srgbClr val="0F218B"/>
                </a:solidFill>
              </a:rPr>
              <a:t> </a:t>
            </a:r>
            <a:r>
              <a:rPr lang="de-DE" err="1">
                <a:solidFill>
                  <a:srgbClr val="0F218B"/>
                </a:solidFill>
              </a:rPr>
              <a:t>text</a:t>
            </a:r>
            <a:r>
              <a:rPr lang="de-DE">
                <a:solidFill>
                  <a:srgbClr val="0F218B"/>
                </a:solidFill>
              </a:rPr>
              <a:t> </a:t>
            </a:r>
            <a:r>
              <a:rPr lang="de-DE" err="1">
                <a:solidFill>
                  <a:srgbClr val="0F218B"/>
                </a:solidFill>
              </a:rPr>
              <a:t>appears</a:t>
            </a:r>
            <a:r>
              <a:rPr lang="de-DE">
                <a:solidFill>
                  <a:srgbClr val="0F218B"/>
                </a:solidFill>
              </a:rPr>
              <a:t>. </a:t>
            </a:r>
          </a:p>
          <a:p>
            <a:r>
              <a:rPr lang="de-DE" err="1"/>
              <a:t>You</a:t>
            </a:r>
            <a:r>
              <a:rPr lang="de-DE"/>
              <a:t> </a:t>
            </a:r>
            <a:r>
              <a:rPr lang="de-DE" err="1"/>
              <a:t>may</a:t>
            </a:r>
            <a:r>
              <a:rPr lang="de-DE"/>
              <a:t> </a:t>
            </a:r>
            <a:r>
              <a:rPr lang="de-DE" err="1"/>
              <a:t>change</a:t>
            </a:r>
            <a:r>
              <a:rPr lang="de-DE"/>
              <a:t> </a:t>
            </a:r>
            <a:r>
              <a:rPr lang="de-DE" err="1"/>
              <a:t>the</a:t>
            </a:r>
            <a:r>
              <a:rPr lang="de-DE"/>
              <a:t> type </a:t>
            </a:r>
            <a:r>
              <a:rPr lang="de-DE" err="1"/>
              <a:t>of</a:t>
            </a:r>
            <a:r>
              <a:rPr lang="de-DE"/>
              <a:t> </a:t>
            </a:r>
            <a:r>
              <a:rPr lang="de-DE" err="1"/>
              <a:t>chart</a:t>
            </a:r>
            <a:r>
              <a:rPr lang="de-DE"/>
              <a:t>, </a:t>
            </a:r>
            <a:r>
              <a:rPr lang="de-DE" err="1"/>
              <a:t>the</a:t>
            </a:r>
            <a:r>
              <a:rPr lang="de-DE"/>
              <a:t> </a:t>
            </a:r>
            <a:r>
              <a:rPr lang="de-DE" err="1"/>
              <a:t>layout</a:t>
            </a:r>
            <a:r>
              <a:rPr lang="de-DE"/>
              <a:t> and </a:t>
            </a:r>
            <a:r>
              <a:rPr lang="de-DE" err="1"/>
              <a:t>colour</a:t>
            </a:r>
            <a:r>
              <a:rPr lang="de-DE"/>
              <a:t> </a:t>
            </a:r>
            <a:r>
              <a:rPr lang="de-DE" err="1"/>
              <a:t>scheme</a:t>
            </a:r>
            <a:r>
              <a:rPr lang="de-DE"/>
              <a:t>. </a:t>
            </a:r>
            <a:r>
              <a:rPr lang="de-DE" err="1"/>
              <a:t>We</a:t>
            </a:r>
            <a:r>
              <a:rPr lang="de-DE"/>
              <a:t> </a:t>
            </a:r>
            <a:r>
              <a:rPr lang="de-DE" err="1"/>
              <a:t>advise</a:t>
            </a:r>
            <a:r>
              <a:rPr lang="de-DE"/>
              <a:t> </a:t>
            </a:r>
            <a:r>
              <a:rPr lang="de-DE" err="1"/>
              <a:t>to</a:t>
            </a:r>
            <a:r>
              <a:rPr lang="de-DE"/>
              <a:t> </a:t>
            </a:r>
            <a:r>
              <a:rPr lang="de-DE" err="1"/>
              <a:t>refrain</a:t>
            </a:r>
            <a:r>
              <a:rPr lang="de-DE"/>
              <a:t> </a:t>
            </a:r>
            <a:r>
              <a:rPr lang="de-DE" err="1"/>
              <a:t>from</a:t>
            </a:r>
            <a:r>
              <a:rPr lang="de-DE"/>
              <a:t> </a:t>
            </a:r>
            <a:r>
              <a:rPr lang="de-DE" err="1"/>
              <a:t>using</a:t>
            </a:r>
            <a:r>
              <a:rPr lang="de-DE"/>
              <a:t> </a:t>
            </a:r>
            <a:r>
              <a:rPr lang="de-DE" err="1"/>
              <a:t>gradients</a:t>
            </a:r>
            <a:r>
              <a:rPr lang="de-DE"/>
              <a:t> and </a:t>
            </a:r>
            <a:r>
              <a:rPr lang="de-DE" err="1"/>
              <a:t>shadows</a:t>
            </a:r>
            <a:r>
              <a:rPr lang="de-DE"/>
              <a:t> – </a:t>
            </a:r>
            <a:r>
              <a:rPr lang="de-DE" err="1"/>
              <a:t>this</a:t>
            </a:r>
            <a:r>
              <a:rPr lang="de-DE"/>
              <a:t> </a:t>
            </a:r>
            <a:r>
              <a:rPr lang="de-DE" err="1"/>
              <a:t>does</a:t>
            </a:r>
            <a:r>
              <a:rPr lang="de-DE"/>
              <a:t> not </a:t>
            </a:r>
            <a:r>
              <a:rPr lang="de-DE" err="1"/>
              <a:t>add</a:t>
            </a:r>
            <a:r>
              <a:rPr lang="de-DE"/>
              <a:t> </a:t>
            </a:r>
            <a:r>
              <a:rPr lang="de-DE" err="1"/>
              <a:t>any</a:t>
            </a:r>
            <a:r>
              <a:rPr lang="de-DE"/>
              <a:t> </a:t>
            </a:r>
            <a:r>
              <a:rPr lang="de-DE" err="1"/>
              <a:t>information</a:t>
            </a:r>
            <a:r>
              <a:rPr lang="de-DE"/>
              <a:t> in </a:t>
            </a:r>
            <a:r>
              <a:rPr lang="de-DE" err="1"/>
              <a:t>most</a:t>
            </a:r>
            <a:r>
              <a:rPr lang="de-DE"/>
              <a:t> </a:t>
            </a:r>
            <a:r>
              <a:rPr lang="de-DE" err="1"/>
              <a:t>cases</a:t>
            </a:r>
            <a:r>
              <a:rPr lang="de-DE"/>
              <a:t>. </a:t>
            </a:r>
          </a:p>
          <a:p>
            <a:r>
              <a:rPr lang="en-US"/>
              <a:t>The size of this copy will adapt automatically, depending on how many words you insert or write. If the size of the copy appears too small – rather try editing the text than </a:t>
            </a:r>
            <a:r>
              <a:rPr lang="en-US" err="1"/>
              <a:t>maximising</a:t>
            </a:r>
            <a:r>
              <a:rPr lang="en-US"/>
              <a:t> the size of the text box. </a:t>
            </a:r>
            <a:endParaRPr lang="de-DE"/>
          </a:p>
          <a:p>
            <a:endParaRPr lang="de-DE"/>
          </a:p>
        </p:txBody>
      </p:sp>
      <p:graphicFrame>
        <p:nvGraphicFramePr>
          <p:cNvPr id="6" name="Inhaltsplatzhalter 8" title="Kreisdiagramm Platzhalter">
            <a:extLst>
              <a:ext uri="{FF2B5EF4-FFF2-40B4-BE49-F238E27FC236}">
                <a16:creationId xmlns:a16="http://schemas.microsoft.com/office/drawing/2014/main" id="{6D36771A-5075-9748-A710-7DBB70C12D6A}"/>
              </a:ext>
            </a:extLst>
          </p:cNvPr>
          <p:cNvGraphicFramePr>
            <a:graphicFrameLocks/>
          </p:cNvGraphicFramePr>
          <p:nvPr userDrawn="1">
            <p:extLst>
              <p:ext uri="{D42A27DB-BD31-4B8C-83A1-F6EECF244321}">
                <p14:modId xmlns:p14="http://schemas.microsoft.com/office/powerpoint/2010/main" val="3232390385"/>
              </p:ext>
            </p:extLst>
          </p:nvPr>
        </p:nvGraphicFramePr>
        <p:xfrm>
          <a:off x="8472264" y="1747353"/>
          <a:ext cx="2951162" cy="4103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38618007"/>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image" Target="../media/image2.png"/><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image" Target="../media/image12.emf"/><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oleObject" Target="../embeddings/oleObject2.bin"/><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ags" Target="../tags/tag3.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Layout" Target="../slideLayouts/slideLayout46.xml"/><Relationship Id="rId7" Type="http://schemas.openxmlformats.org/officeDocument/2006/relationships/oleObject" Target="../embeddings/oleObject21.bin"/><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tags" Target="../tags/tag22.xml"/><Relationship Id="rId5" Type="http://schemas.openxmlformats.org/officeDocument/2006/relationships/theme" Target="../theme/theme3.xml"/><Relationship Id="rId4" Type="http://schemas.openxmlformats.org/officeDocument/2006/relationships/slideLayout" Target="../slideLayouts/slideLayout47.xml"/><Relationship Id="rId9" Type="http://schemas.openxmlformats.org/officeDocument/2006/relationships/image" Target="../media/image15.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image" Target="../media/image35.png"/><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theme" Target="../theme/theme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image" Target="../media/image11.emf"/><Relationship Id="rId3" Type="http://schemas.openxmlformats.org/officeDocument/2006/relationships/slideLayout" Target="../slideLayouts/slideLayout66.xml"/><Relationship Id="rId21" Type="http://schemas.openxmlformats.org/officeDocument/2006/relationships/slideLayout" Target="../slideLayouts/slideLayout84.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theme" Target="../theme/theme5.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4"/>
            </p:custDataLst>
            <p:extLst>
              <p:ext uri="{D42A27DB-BD31-4B8C-83A1-F6EECF244321}">
                <p14:modId xmlns:p14="http://schemas.microsoft.com/office/powerpoint/2010/main" val="500511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99" imgH="499" progId="TCLayout.ActiveDocument.1">
                  <p:embed/>
                </p:oleObj>
              </mc:Choice>
              <mc:Fallback>
                <p:oleObj name="think-cell Slide" r:id="rId25" imgW="499" imgH="499" progId="TCLayout.ActiveDocument.1">
                  <p:embed/>
                  <p:pic>
                    <p:nvPicPr>
                      <p:cNvPr id="2" name="Object 1" hidden="1"/>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4" name="Textplatzhalter 2"/>
          <p:cNvSpPr>
            <a:spLocks noGrp="1"/>
          </p:cNvSpPr>
          <p:nvPr>
            <p:ph type="body" idx="1"/>
          </p:nvPr>
        </p:nvSpPr>
        <p:spPr>
          <a:xfrm>
            <a:off x="263352" y="1206960"/>
            <a:ext cx="11616780" cy="3311326"/>
          </a:xfrm>
          <a:prstGeom prst="rect">
            <a:avLst/>
          </a:prstGeom>
          <a:ln>
            <a:noFill/>
          </a:ln>
        </p:spPr>
        <p:txBody>
          <a:bodyPr vert="horz" lIns="91440" tIns="45720" rIns="91440" bIns="45720" rtlCol="0">
            <a:normAutofit/>
          </a:body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8" name="Datumsplatzhalter 4"/>
          <p:cNvSpPr txBox="1">
            <a:spLocks/>
          </p:cNvSpPr>
          <p:nvPr userDrawn="1"/>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de-DE" sz="900">
                <a:solidFill>
                  <a:schemeClr val="accent1"/>
                </a:solidFill>
              </a:rPr>
              <a:t> </a:t>
            </a:r>
            <a:fld id="{9D8EEF28-5ABD-4429-9AD9-DE956F602A14}" type="slidenum">
              <a:rPr lang="de-DE" sz="900" smtClean="0">
                <a:solidFill>
                  <a:schemeClr val="tx1">
                    <a:lumMod val="50000"/>
                  </a:schemeClr>
                </a:solidFill>
              </a:rPr>
              <a:pPr algn="r"/>
              <a:t>‹#›</a:t>
            </a:fld>
            <a:endParaRPr lang="de-DE" sz="90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a:off x="10776520" y="6314495"/>
            <a:ext cx="778960" cy="210759"/>
          </a:xfrm>
          <a:prstGeom prst="rect">
            <a:avLst/>
          </a:prstGeom>
        </p:spPr>
      </p:pic>
    </p:spTree>
    <p:extLst>
      <p:ext uri="{BB962C8B-B14F-4D97-AF65-F5344CB8AC3E}">
        <p14:creationId xmlns:p14="http://schemas.microsoft.com/office/powerpoint/2010/main" val="1630488656"/>
      </p:ext>
    </p:extLst>
  </p:cSld>
  <p:clrMap bg1="lt1" tx1="dk1" bg2="lt2" tx2="dk2" accent1="accent1" accent2="accent2" accent3="accent3" accent4="accent4" accent5="accent5" accent6="accent6" hlink="hlink" folHlink="folHlink"/>
  <p:sldLayoutIdLst>
    <p:sldLayoutId id="2147483969" r:id="rId1"/>
    <p:sldLayoutId id="2147483970" r:id="rId2"/>
    <p:sldLayoutId id="2147483971" r:id="rId3"/>
    <p:sldLayoutId id="2147483972" r:id="rId4"/>
    <p:sldLayoutId id="2147483973" r:id="rId5"/>
    <p:sldLayoutId id="2147483974" r:id="rId6"/>
    <p:sldLayoutId id="2147483975" r:id="rId7"/>
    <p:sldLayoutId id="2147483976" r:id="rId8"/>
    <p:sldLayoutId id="2147483977" r:id="rId9"/>
    <p:sldLayoutId id="2147483978" r:id="rId10"/>
    <p:sldLayoutId id="2147483979" r:id="rId11"/>
    <p:sldLayoutId id="2147483980" r:id="rId12"/>
    <p:sldLayoutId id="2147483981" r:id="rId13"/>
    <p:sldLayoutId id="2147483982" r:id="rId14"/>
    <p:sldLayoutId id="2147483983" r:id="rId15"/>
    <p:sldLayoutId id="2147483984" r:id="rId16"/>
    <p:sldLayoutId id="2147483985" r:id="rId17"/>
    <p:sldLayoutId id="2147483986" r:id="rId18"/>
    <p:sldLayoutId id="2147484012" r:id="rId19"/>
    <p:sldLayoutId id="2147484013" r:id="rId20"/>
    <p:sldLayoutId id="2147484014" r:id="rId21"/>
    <p:sldLayoutId id="2147484039" r:id="rId22"/>
  </p:sldLayoutIdLst>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7333C59-845A-93C7-CD3C-2DDFA85EC14E}"/>
              </a:ext>
            </a:extLst>
          </p:cNvPr>
          <p:cNvGraphicFramePr>
            <a:graphicFrameLocks noChangeAspect="1"/>
          </p:cNvGraphicFramePr>
          <p:nvPr userDrawn="1">
            <p:custDataLst>
              <p:tags r:id="rId23"/>
            </p:custDataLst>
            <p:extLst>
              <p:ext uri="{D42A27DB-BD31-4B8C-83A1-F6EECF244321}">
                <p14:modId xmlns:p14="http://schemas.microsoft.com/office/powerpoint/2010/main" val="1340052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473" imgH="476" progId="TCLayout.ActiveDocument.1">
                  <p:embed/>
                </p:oleObj>
              </mc:Choice>
              <mc:Fallback>
                <p:oleObj name="think-cell Slide" r:id="rId24" imgW="473" imgH="476" progId="TCLayout.ActiveDocument.1">
                  <p:embed/>
                  <p:pic>
                    <p:nvPicPr>
                      <p:cNvPr id="2" name="Object 1" hidden="1">
                        <a:extLst>
                          <a:ext uri="{FF2B5EF4-FFF2-40B4-BE49-F238E27FC236}">
                            <a16:creationId xmlns:a16="http://schemas.microsoft.com/office/drawing/2014/main" id="{87333C59-845A-93C7-CD3C-2DDFA85EC14E}"/>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4" name="Textplatzhalter 2"/>
          <p:cNvSpPr>
            <a:spLocks noGrp="1"/>
          </p:cNvSpPr>
          <p:nvPr>
            <p:ph type="body" idx="1"/>
          </p:nvPr>
        </p:nvSpPr>
        <p:spPr>
          <a:xfrm>
            <a:off x="263352" y="1206960"/>
            <a:ext cx="11616780" cy="3311326"/>
          </a:xfrm>
          <a:prstGeom prst="rect">
            <a:avLst/>
          </a:prstGeom>
          <a:ln>
            <a:noFill/>
          </a:ln>
        </p:spPr>
        <p:txBody>
          <a:bodyPr vert="horz" lIns="91440" tIns="45720" rIns="91440" bIns="45720" rtlCol="0">
            <a:normAutofit/>
          </a:bodyPr>
          <a:lstStyle/>
          <a:p>
            <a:pPr lvl="0"/>
            <a:r>
              <a:rPr lang="en-IE"/>
              <a:t>Edit the text here; First level</a:t>
            </a:r>
          </a:p>
          <a:p>
            <a:pPr lvl="1"/>
            <a:r>
              <a:rPr lang="en-IE"/>
              <a:t>Second level</a:t>
            </a:r>
          </a:p>
          <a:p>
            <a:pPr lvl="2"/>
            <a:r>
              <a:rPr lang="en-IE"/>
              <a:t>Third level</a:t>
            </a:r>
          </a:p>
          <a:p>
            <a:pPr lvl="3"/>
            <a:r>
              <a:rPr lang="en-IE"/>
              <a:t>Fourth level</a:t>
            </a:r>
          </a:p>
          <a:p>
            <a:pPr lvl="4"/>
            <a:r>
              <a:rPr lang="en-IE"/>
              <a:t>Fifth level</a:t>
            </a:r>
          </a:p>
        </p:txBody>
      </p:sp>
      <p:sp>
        <p:nvSpPr>
          <p:cNvPr id="8" name="Datumsplatzhalter 4"/>
          <p:cNvSpPr txBox="1">
            <a:spLocks/>
          </p:cNvSpPr>
          <p:nvPr userDrawn="1"/>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rtl="0"/>
            <a:r>
              <a:rPr lang="en-IE" sz="900">
                <a:solidFill>
                  <a:schemeClr val="accent1"/>
                </a:solidFill>
              </a:rPr>
              <a:t> </a:t>
            </a:r>
            <a:fld id="{9D8EEF28-5ABD-4429-9AD9-DE956F602A14}" type="slidenum">
              <a:rPr lang="en-IE" sz="900" smtClean="0">
                <a:solidFill>
                  <a:schemeClr val="tx1">
                    <a:lumMod val="50000"/>
                  </a:schemeClr>
                </a:solidFill>
              </a:rPr>
              <a:pPr algn="r" rtl="0"/>
              <a:t>‹#›</a:t>
            </a:fld>
            <a:endParaRPr lang="en-IE" sz="90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10776520" y="6314495"/>
            <a:ext cx="778960" cy="210759"/>
          </a:xfrm>
          <a:prstGeom prst="rect">
            <a:avLst/>
          </a:prstGeom>
        </p:spPr>
      </p:pic>
    </p:spTree>
    <p:extLst>
      <p:ext uri="{BB962C8B-B14F-4D97-AF65-F5344CB8AC3E}">
        <p14:creationId xmlns:p14="http://schemas.microsoft.com/office/powerpoint/2010/main" val="947610540"/>
      </p:ext>
    </p:extLst>
  </p:cSld>
  <p:clrMap bg1="lt1" tx1="dk1" bg2="lt2" tx2="dk2" accent1="accent1" accent2="accent2" accent3="accent3" accent4="accent4" accent5="accent5" accent6="accent6" hlink="hlink" folHlink="folHlink"/>
  <p:sldLayoutIdLst>
    <p:sldLayoutId id="2147483988" r:id="rId1"/>
    <p:sldLayoutId id="2147483989" r:id="rId2"/>
    <p:sldLayoutId id="2147483990" r:id="rId3"/>
    <p:sldLayoutId id="2147483991" r:id="rId4"/>
    <p:sldLayoutId id="2147483992" r:id="rId5"/>
    <p:sldLayoutId id="2147483993" r:id="rId6"/>
    <p:sldLayoutId id="2147483994" r:id="rId7"/>
    <p:sldLayoutId id="2147483995" r:id="rId8"/>
    <p:sldLayoutId id="2147483996" r:id="rId9"/>
    <p:sldLayoutId id="2147483997" r:id="rId10"/>
    <p:sldLayoutId id="2147483998" r:id="rId11"/>
    <p:sldLayoutId id="2147483999" r:id="rId12"/>
    <p:sldLayoutId id="2147484000" r:id="rId13"/>
    <p:sldLayoutId id="2147484001" r:id="rId14"/>
    <p:sldLayoutId id="2147484002" r:id="rId15"/>
    <p:sldLayoutId id="2147484003" r:id="rId16"/>
    <p:sldLayoutId id="2147484004" r:id="rId17"/>
    <p:sldLayoutId id="2147484005" r:id="rId18"/>
    <p:sldLayoutId id="2147484006" r:id="rId19"/>
    <p:sldLayoutId id="2147484065" r:id="rId20"/>
    <p:sldLayoutId id="2147484066" r:id="rId21"/>
  </p:sldLayoutIdLst>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DB3CAF3-C762-534F-ADB5-DB2B0740A3D0}"/>
              </a:ext>
            </a:extLst>
          </p:cNvPr>
          <p:cNvGraphicFramePr>
            <a:graphicFrameLocks noChangeAspect="1"/>
          </p:cNvGraphicFramePr>
          <p:nvPr userDrawn="1">
            <p:custDataLst>
              <p:tags r:id="rId6"/>
            </p:custDataLst>
            <p:extLst>
              <p:ext uri="{D42A27DB-BD31-4B8C-83A1-F6EECF244321}">
                <p14:modId xmlns:p14="http://schemas.microsoft.com/office/powerpoint/2010/main" val="3734647558"/>
              </p:ext>
            </p:extLst>
          </p:nvPr>
        </p:nvGraphicFramePr>
        <p:xfrm>
          <a:off x="1955" y="1588"/>
          <a:ext cx="1510"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6" name="Object 5" hidden="1">
                        <a:extLst>
                          <a:ext uri="{FF2B5EF4-FFF2-40B4-BE49-F238E27FC236}">
                            <a16:creationId xmlns:a16="http://schemas.microsoft.com/office/drawing/2014/main" id="{1DB3CAF3-C762-534F-ADB5-DB2B0740A3D0}"/>
                          </a:ext>
                        </a:extLst>
                      </p:cNvPr>
                      <p:cNvPicPr/>
                      <p:nvPr/>
                    </p:nvPicPr>
                    <p:blipFill>
                      <a:blip r:embed="rId8"/>
                      <a:stretch>
                        <a:fillRect/>
                      </a:stretch>
                    </p:blipFill>
                    <p:spPr>
                      <a:xfrm>
                        <a:off x="1955" y="1588"/>
                        <a:ext cx="1510"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05AA23E-9F3B-4705-91CC-5E7E5423DC71}"/>
              </a:ext>
            </a:extLst>
          </p:cNvPr>
          <p:cNvPicPr>
            <a:picLocks noChangeAspect="1"/>
          </p:cNvPicPr>
          <p:nvPr userDrawn="1"/>
        </p:nvPicPr>
        <p:blipFill>
          <a:blip r:embed="rId9"/>
          <a:stretch>
            <a:fillRect/>
          </a:stretch>
        </p:blipFill>
        <p:spPr>
          <a:xfrm>
            <a:off x="0" y="0"/>
            <a:ext cx="12192000" cy="835819"/>
          </a:xfrm>
          <a:prstGeom prst="rect">
            <a:avLst/>
          </a:prstGeom>
        </p:spPr>
      </p:pic>
      <p:sp>
        <p:nvSpPr>
          <p:cNvPr id="2" name="Espace réservé du numéro de diapositive 1"/>
          <p:cNvSpPr>
            <a:spLocks noGrp="1"/>
          </p:cNvSpPr>
          <p:nvPr>
            <p:ph type="sldNum" sz="quarter" idx="4"/>
          </p:nvPr>
        </p:nvSpPr>
        <p:spPr>
          <a:xfrm>
            <a:off x="11260270" y="6553201"/>
            <a:ext cx="819105"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a:p>
        </p:txBody>
      </p:sp>
      <p:sp>
        <p:nvSpPr>
          <p:cNvPr id="5" name="Title Placeholder 4"/>
          <p:cNvSpPr>
            <a:spLocks noGrp="1"/>
          </p:cNvSpPr>
          <p:nvPr>
            <p:ph type="title"/>
          </p:nvPr>
        </p:nvSpPr>
        <p:spPr>
          <a:xfrm>
            <a:off x="644771" y="108000"/>
            <a:ext cx="10535446" cy="336550"/>
          </a:xfrm>
          <a:prstGeom prst="rect">
            <a:avLst/>
          </a:prstGeom>
        </p:spPr>
        <p:txBody>
          <a:bodyPr vert="horz" lIns="72000" tIns="36000" rIns="72000" bIns="36000" rtlCol="0" anchor="t">
            <a:noAutofit/>
          </a:bodyPr>
          <a:lstStyle/>
          <a:p>
            <a:pPr lvl="0"/>
            <a:r>
              <a:rPr lang="en-US"/>
              <a:t>Click to edit Master title style</a:t>
            </a:r>
            <a:endParaRPr lang="nl-NL"/>
          </a:p>
        </p:txBody>
      </p:sp>
      <p:sp>
        <p:nvSpPr>
          <p:cNvPr id="3" name="Text Placeholder 2"/>
          <p:cNvSpPr>
            <a:spLocks noGrp="1"/>
          </p:cNvSpPr>
          <p:nvPr>
            <p:ph type="body" idx="1"/>
          </p:nvPr>
        </p:nvSpPr>
        <p:spPr>
          <a:xfrm>
            <a:off x="644770" y="1080000"/>
            <a:ext cx="11078308" cy="4351338"/>
          </a:xfrm>
          <a:prstGeom prst="rect">
            <a:avLst/>
          </a:prstGeom>
        </p:spPr>
        <p:txBody>
          <a:bodyPr vert="horz" lIns="91440" tIns="45720" rIns="91440" bIns="45720" rtlCol="0">
            <a:noAutofit/>
          </a:bodyPr>
          <a:lstStyle/>
          <a:p>
            <a:pPr lvl="0"/>
            <a:r>
              <a:rPr lang="en-US"/>
              <a:t>Edit Master text styles</a:t>
            </a:r>
          </a:p>
          <a:p>
            <a:pPr lvl="1"/>
            <a:r>
              <a:rPr lang="en-US"/>
              <a:t>[Add text]</a:t>
            </a:r>
          </a:p>
          <a:p>
            <a:pPr lvl="2"/>
            <a:r>
              <a:rPr lang="en-US"/>
              <a:t>[Add text]</a:t>
            </a:r>
          </a:p>
          <a:p>
            <a:pPr lvl="3"/>
            <a:r>
              <a:rPr lang="en-US"/>
              <a:t>[Add text]</a:t>
            </a:r>
          </a:p>
        </p:txBody>
      </p:sp>
      <p:grpSp>
        <p:nvGrpSpPr>
          <p:cNvPr id="45" name="Graphic 3">
            <a:extLst>
              <a:ext uri="{FF2B5EF4-FFF2-40B4-BE49-F238E27FC236}">
                <a16:creationId xmlns:a16="http://schemas.microsoft.com/office/drawing/2014/main" id="{56B033C0-3928-468B-8CF6-1496F52E0712}"/>
              </a:ext>
            </a:extLst>
          </p:cNvPr>
          <p:cNvGrpSpPr>
            <a:grpSpLocks noChangeAspect="1"/>
          </p:cNvGrpSpPr>
          <p:nvPr userDrawn="1"/>
        </p:nvGrpSpPr>
        <p:grpSpPr>
          <a:xfrm>
            <a:off x="10988308" y="20857"/>
            <a:ext cx="1055569" cy="792366"/>
            <a:chOff x="66025" y="-34306"/>
            <a:chExt cx="6381750" cy="5895975"/>
          </a:xfrm>
        </p:grpSpPr>
        <p:sp>
          <p:nvSpPr>
            <p:cNvPr id="47" name="Freeform: Shape 46">
              <a:extLst>
                <a:ext uri="{FF2B5EF4-FFF2-40B4-BE49-F238E27FC236}">
                  <a16:creationId xmlns:a16="http://schemas.microsoft.com/office/drawing/2014/main" id="{8FFBD3D4-4671-45AB-B604-0CEAAC63B7C9}"/>
                </a:ext>
              </a:extLst>
            </p:cNvPr>
            <p:cNvSpPr/>
            <p:nvPr/>
          </p:nvSpPr>
          <p:spPr>
            <a:xfrm>
              <a:off x="5751687" y="4420250"/>
              <a:ext cx="484155" cy="202882"/>
            </a:xfrm>
            <a:custGeom>
              <a:avLst/>
              <a:gdLst>
                <a:gd name="connsiteX0" fmla="*/ 426530 w 484155"/>
                <a:gd name="connsiteY0" fmla="*/ 0 h 202882"/>
                <a:gd name="connsiteX1" fmla="*/ 396050 w 484155"/>
                <a:gd name="connsiteY1" fmla="*/ 0 h 202882"/>
                <a:gd name="connsiteX2" fmla="*/ 0 w 484155"/>
                <a:gd name="connsiteY2" fmla="*/ 95 h 202882"/>
                <a:gd name="connsiteX3" fmla="*/ 0 w 484155"/>
                <a:gd name="connsiteY3" fmla="*/ 196596 h 202882"/>
                <a:gd name="connsiteX4" fmla="*/ 476 w 484155"/>
                <a:gd name="connsiteY4" fmla="*/ 202882 h 202882"/>
                <a:gd name="connsiteX5" fmla="*/ 69152 w 484155"/>
                <a:gd name="connsiteY5" fmla="*/ 135255 h 202882"/>
                <a:gd name="connsiteX6" fmla="*/ 426530 w 484155"/>
                <a:gd name="connsiteY6" fmla="*/ 135350 h 202882"/>
                <a:gd name="connsiteX7" fmla="*/ 484156 w 484155"/>
                <a:gd name="connsiteY7" fmla="*/ 77724 h 202882"/>
                <a:gd name="connsiteX8" fmla="*/ 484156 w 484155"/>
                <a:gd name="connsiteY8" fmla="*/ 57721 h 202882"/>
                <a:gd name="connsiteX9" fmla="*/ 426530 w 484155"/>
                <a:gd name="connsiteY9" fmla="*/ 0 h 20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155" h="202882">
                  <a:moveTo>
                    <a:pt x="426530" y="0"/>
                  </a:moveTo>
                  <a:lnTo>
                    <a:pt x="396050" y="0"/>
                  </a:lnTo>
                  <a:cubicBezTo>
                    <a:pt x="63913" y="0"/>
                    <a:pt x="40767" y="0"/>
                    <a:pt x="0" y="95"/>
                  </a:cubicBezTo>
                  <a:lnTo>
                    <a:pt x="0" y="196596"/>
                  </a:lnTo>
                  <a:cubicBezTo>
                    <a:pt x="571" y="196977"/>
                    <a:pt x="476" y="199930"/>
                    <a:pt x="476" y="202882"/>
                  </a:cubicBezTo>
                  <a:cubicBezTo>
                    <a:pt x="476" y="170497"/>
                    <a:pt x="7334" y="135255"/>
                    <a:pt x="69152" y="135255"/>
                  </a:cubicBezTo>
                  <a:lnTo>
                    <a:pt x="426530" y="135350"/>
                  </a:lnTo>
                  <a:cubicBezTo>
                    <a:pt x="458248" y="135350"/>
                    <a:pt x="484156" y="109442"/>
                    <a:pt x="484156" y="77724"/>
                  </a:cubicBezTo>
                  <a:lnTo>
                    <a:pt x="484156" y="57721"/>
                  </a:lnTo>
                  <a:cubicBezTo>
                    <a:pt x="484156" y="25908"/>
                    <a:pt x="458153" y="0"/>
                    <a:pt x="426530" y="0"/>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48" name="Freeform: Shape 47">
              <a:extLst>
                <a:ext uri="{FF2B5EF4-FFF2-40B4-BE49-F238E27FC236}">
                  <a16:creationId xmlns:a16="http://schemas.microsoft.com/office/drawing/2014/main" id="{70E968C3-6094-4563-9C29-65EB27A50039}"/>
                </a:ext>
              </a:extLst>
            </p:cNvPr>
            <p:cNvSpPr/>
            <p:nvPr/>
          </p:nvSpPr>
          <p:spPr>
            <a:xfrm>
              <a:off x="4971686" y="52273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49" name="Freeform: Shape 48">
              <a:extLst>
                <a:ext uri="{FF2B5EF4-FFF2-40B4-BE49-F238E27FC236}">
                  <a16:creationId xmlns:a16="http://schemas.microsoft.com/office/drawing/2014/main" id="{55A31E9F-A94F-45F8-BF93-D84A8C6DA807}"/>
                </a:ext>
              </a:extLst>
            </p:cNvPr>
            <p:cNvSpPr/>
            <p:nvPr/>
          </p:nvSpPr>
          <p:spPr>
            <a:xfrm>
              <a:off x="4507341" y="448711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50" name="Freeform: Shape 49">
              <a:extLst>
                <a:ext uri="{FF2B5EF4-FFF2-40B4-BE49-F238E27FC236}">
                  <a16:creationId xmlns:a16="http://schemas.microsoft.com/office/drawing/2014/main" id="{C2DB8481-8B23-479A-9514-240E6508D49C}"/>
                </a:ext>
              </a:extLst>
            </p:cNvPr>
            <p:cNvSpPr/>
            <p:nvPr/>
          </p:nvSpPr>
          <p:spPr>
            <a:xfrm>
              <a:off x="4659360" y="479953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51" name="Freeform: Shape 50">
              <a:extLst>
                <a:ext uri="{FF2B5EF4-FFF2-40B4-BE49-F238E27FC236}">
                  <a16:creationId xmlns:a16="http://schemas.microsoft.com/office/drawing/2014/main" id="{20BC56EA-7519-4612-A39E-81EBB7DD740C}"/>
                </a:ext>
              </a:extLst>
            </p:cNvPr>
            <p:cNvSpPr/>
            <p:nvPr/>
          </p:nvSpPr>
          <p:spPr>
            <a:xfrm>
              <a:off x="4806046" y="50789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52" name="Freeform: Shape 51">
              <a:extLst>
                <a:ext uri="{FF2B5EF4-FFF2-40B4-BE49-F238E27FC236}">
                  <a16:creationId xmlns:a16="http://schemas.microsoft.com/office/drawing/2014/main" id="{63C56C61-7E4E-4C7A-8C28-8EC4584AD35D}"/>
                </a:ext>
              </a:extLst>
            </p:cNvPr>
            <p:cNvSpPr/>
            <p:nvPr/>
          </p:nvSpPr>
          <p:spPr>
            <a:xfrm>
              <a:off x="539988" y="2223595"/>
              <a:ext cx="151257" cy="159829"/>
            </a:xfrm>
            <a:custGeom>
              <a:avLst/>
              <a:gdLst>
                <a:gd name="connsiteX0" fmla="*/ 151257 w 151257"/>
                <a:gd name="connsiteY0" fmla="*/ 159829 h 159829"/>
                <a:gd name="connsiteX1" fmla="*/ 151257 w 151257"/>
                <a:gd name="connsiteY1" fmla="*/ 83439 h 159829"/>
                <a:gd name="connsiteX2" fmla="*/ 67818 w 151257"/>
                <a:gd name="connsiteY2" fmla="*/ 0 h 159829"/>
                <a:gd name="connsiteX3" fmla="*/ 0 w 151257"/>
                <a:gd name="connsiteY3" fmla="*/ 0 h 159829"/>
                <a:gd name="connsiteX4" fmla="*/ 0 w 151257"/>
                <a:gd name="connsiteY4" fmla="*/ 76391 h 159829"/>
                <a:gd name="connsiteX5" fmla="*/ 83439 w 151257"/>
                <a:gd name="connsiteY5" fmla="*/ 159829 h 159829"/>
                <a:gd name="connsiteX6" fmla="*/ 151257 w 151257"/>
                <a:gd name="connsiteY6" fmla="*/ 159829 h 15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257" h="159829">
                  <a:moveTo>
                    <a:pt x="151257" y="159829"/>
                  </a:moveTo>
                  <a:lnTo>
                    <a:pt x="151257" y="83439"/>
                  </a:lnTo>
                  <a:cubicBezTo>
                    <a:pt x="151257" y="37529"/>
                    <a:pt x="113729" y="0"/>
                    <a:pt x="67818" y="0"/>
                  </a:cubicBezTo>
                  <a:lnTo>
                    <a:pt x="0" y="0"/>
                  </a:lnTo>
                  <a:lnTo>
                    <a:pt x="0" y="76391"/>
                  </a:lnTo>
                  <a:cubicBezTo>
                    <a:pt x="0" y="122301"/>
                    <a:pt x="37529" y="159829"/>
                    <a:pt x="83439" y="159829"/>
                  </a:cubicBezTo>
                  <a:lnTo>
                    <a:pt x="151257" y="159829"/>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53" name="Freeform: Shape 52">
              <a:extLst>
                <a:ext uri="{FF2B5EF4-FFF2-40B4-BE49-F238E27FC236}">
                  <a16:creationId xmlns:a16="http://schemas.microsoft.com/office/drawing/2014/main" id="{4805347C-EEE8-4911-8713-96A3756D3ABD}"/>
                </a:ext>
              </a:extLst>
            </p:cNvPr>
            <p:cNvSpPr/>
            <p:nvPr/>
          </p:nvSpPr>
          <p:spPr>
            <a:xfrm>
              <a:off x="243761" y="2223595"/>
              <a:ext cx="447484" cy="566261"/>
            </a:xfrm>
            <a:custGeom>
              <a:avLst/>
              <a:gdLst>
                <a:gd name="connsiteX0" fmla="*/ 83344 w 447484"/>
                <a:gd name="connsiteY0" fmla="*/ 566261 h 566261"/>
                <a:gd name="connsiteX1" fmla="*/ 364046 w 447484"/>
                <a:gd name="connsiteY1" fmla="*/ 566261 h 566261"/>
                <a:gd name="connsiteX2" fmla="*/ 447485 w 447484"/>
                <a:gd name="connsiteY2" fmla="*/ 482822 h 566261"/>
                <a:gd name="connsiteX3" fmla="*/ 447485 w 447484"/>
                <a:gd name="connsiteY3" fmla="*/ 240316 h 566261"/>
                <a:gd name="connsiteX4" fmla="*/ 447485 w 447484"/>
                <a:gd name="connsiteY4" fmla="*/ 159829 h 566261"/>
                <a:gd name="connsiteX5" fmla="*/ 379667 w 447484"/>
                <a:gd name="connsiteY5" fmla="*/ 159829 h 566261"/>
                <a:gd name="connsiteX6" fmla="*/ 375952 w 447484"/>
                <a:gd name="connsiteY6" fmla="*/ 159829 h 566261"/>
                <a:gd name="connsiteX7" fmla="*/ 372999 w 447484"/>
                <a:gd name="connsiteY7" fmla="*/ 159544 h 566261"/>
                <a:gd name="connsiteX8" fmla="*/ 296228 w 447484"/>
                <a:gd name="connsiteY8" fmla="*/ 76391 h 566261"/>
                <a:gd name="connsiteX9" fmla="*/ 296228 w 447484"/>
                <a:gd name="connsiteY9" fmla="*/ 0 h 566261"/>
                <a:gd name="connsiteX10" fmla="*/ 237458 w 447484"/>
                <a:gd name="connsiteY10" fmla="*/ 0 h 566261"/>
                <a:gd name="connsiteX11" fmla="*/ 156496 w 447484"/>
                <a:gd name="connsiteY11" fmla="*/ 78676 h 566261"/>
                <a:gd name="connsiteX12" fmla="*/ 77153 w 447484"/>
                <a:gd name="connsiteY12" fmla="*/ 159639 h 566261"/>
                <a:gd name="connsiteX13" fmla="*/ 0 w 447484"/>
                <a:gd name="connsiteY13" fmla="*/ 240506 h 566261"/>
                <a:gd name="connsiteX14" fmla="*/ 0 w 447484"/>
                <a:gd name="connsiteY14" fmla="*/ 482632 h 566261"/>
                <a:gd name="connsiteX15" fmla="*/ 83344 w 447484"/>
                <a:gd name="connsiteY15" fmla="*/ 566261 h 56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484" h="566261">
                  <a:moveTo>
                    <a:pt x="83344" y="566261"/>
                  </a:moveTo>
                  <a:lnTo>
                    <a:pt x="364046" y="566261"/>
                  </a:lnTo>
                  <a:cubicBezTo>
                    <a:pt x="409956" y="566261"/>
                    <a:pt x="447485" y="528733"/>
                    <a:pt x="447485" y="482822"/>
                  </a:cubicBezTo>
                  <a:lnTo>
                    <a:pt x="447485" y="240316"/>
                  </a:lnTo>
                  <a:lnTo>
                    <a:pt x="447485" y="159829"/>
                  </a:lnTo>
                  <a:lnTo>
                    <a:pt x="379667" y="159829"/>
                  </a:lnTo>
                  <a:cubicBezTo>
                    <a:pt x="378428" y="159829"/>
                    <a:pt x="377190" y="159829"/>
                    <a:pt x="375952" y="159829"/>
                  </a:cubicBezTo>
                  <a:cubicBezTo>
                    <a:pt x="374999" y="159734"/>
                    <a:pt x="373951" y="159639"/>
                    <a:pt x="372999" y="159544"/>
                  </a:cubicBezTo>
                  <a:cubicBezTo>
                    <a:pt x="330232" y="156115"/>
                    <a:pt x="296228" y="120015"/>
                    <a:pt x="296228" y="76391"/>
                  </a:cubicBezTo>
                  <a:lnTo>
                    <a:pt x="296228" y="0"/>
                  </a:lnTo>
                  <a:lnTo>
                    <a:pt x="237458" y="0"/>
                  </a:lnTo>
                  <a:cubicBezTo>
                    <a:pt x="193643" y="0"/>
                    <a:pt x="157734" y="34957"/>
                    <a:pt x="156496" y="78676"/>
                  </a:cubicBezTo>
                  <a:cubicBezTo>
                    <a:pt x="155258" y="122110"/>
                    <a:pt x="120396" y="157543"/>
                    <a:pt x="77153" y="159639"/>
                  </a:cubicBezTo>
                  <a:cubicBezTo>
                    <a:pt x="33909" y="161734"/>
                    <a:pt x="0" y="197263"/>
                    <a:pt x="0" y="240506"/>
                  </a:cubicBezTo>
                  <a:lnTo>
                    <a:pt x="0" y="482632"/>
                  </a:lnTo>
                  <a:cubicBezTo>
                    <a:pt x="0" y="528733"/>
                    <a:pt x="37529" y="566261"/>
                    <a:pt x="83344" y="566261"/>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54" name="Freeform: Shape 53">
              <a:extLst>
                <a:ext uri="{FF2B5EF4-FFF2-40B4-BE49-F238E27FC236}">
                  <a16:creationId xmlns:a16="http://schemas.microsoft.com/office/drawing/2014/main" id="{FB9ADC9D-67CE-485B-9843-09372F3614C1}"/>
                </a:ext>
              </a:extLst>
            </p:cNvPr>
            <p:cNvSpPr/>
            <p:nvPr/>
          </p:nvSpPr>
          <p:spPr>
            <a:xfrm>
              <a:off x="718392" y="1652285"/>
              <a:ext cx="1079087" cy="1436369"/>
            </a:xfrm>
            <a:custGeom>
              <a:avLst/>
              <a:gdLst>
                <a:gd name="connsiteX0" fmla="*/ 235363 w 1079087"/>
                <a:gd name="connsiteY0" fmla="*/ 707612 h 1436369"/>
                <a:gd name="connsiteX1" fmla="*/ 366617 w 1079087"/>
                <a:gd name="connsiteY1" fmla="*/ 707612 h 1436369"/>
                <a:gd name="connsiteX2" fmla="*/ 373856 w 1079087"/>
                <a:gd name="connsiteY2" fmla="*/ 707326 h 1436369"/>
                <a:gd name="connsiteX3" fmla="*/ 387953 w 1079087"/>
                <a:gd name="connsiteY3" fmla="*/ 707326 h 1436369"/>
                <a:gd name="connsiteX4" fmla="*/ 388906 w 1079087"/>
                <a:gd name="connsiteY4" fmla="*/ 707422 h 1436369"/>
                <a:gd name="connsiteX5" fmla="*/ 463772 w 1079087"/>
                <a:gd name="connsiteY5" fmla="*/ 788194 h 1436369"/>
                <a:gd name="connsiteX6" fmla="*/ 463772 w 1079087"/>
                <a:gd name="connsiteY6" fmla="*/ 789527 h 1436369"/>
                <a:gd name="connsiteX7" fmla="*/ 386239 w 1079087"/>
                <a:gd name="connsiteY7" fmla="*/ 870490 h 1436369"/>
                <a:gd name="connsiteX8" fmla="*/ 306896 w 1079087"/>
                <a:gd name="connsiteY8" fmla="*/ 945166 h 1436369"/>
                <a:gd name="connsiteX9" fmla="*/ 226314 w 1079087"/>
                <a:gd name="connsiteY9" fmla="*/ 1017746 h 1436369"/>
                <a:gd name="connsiteX10" fmla="*/ 206407 w 1079087"/>
                <a:gd name="connsiteY10" fmla="*/ 1017746 h 1436369"/>
                <a:gd name="connsiteX11" fmla="*/ 146495 w 1079087"/>
                <a:gd name="connsiteY11" fmla="*/ 1077658 h 1436369"/>
                <a:gd name="connsiteX12" fmla="*/ 146495 w 1079087"/>
                <a:gd name="connsiteY12" fmla="*/ 1083850 h 1436369"/>
                <a:gd name="connsiteX13" fmla="*/ 206407 w 1079087"/>
                <a:gd name="connsiteY13" fmla="*/ 1143762 h 1436369"/>
                <a:gd name="connsiteX14" fmla="*/ 225362 w 1079087"/>
                <a:gd name="connsiteY14" fmla="*/ 1143762 h 1436369"/>
                <a:gd name="connsiteX15" fmla="*/ 306324 w 1079087"/>
                <a:gd name="connsiteY15" fmla="*/ 1224724 h 1436369"/>
                <a:gd name="connsiteX16" fmla="*/ 306324 w 1079087"/>
                <a:gd name="connsiteY16" fmla="*/ 1229392 h 1436369"/>
                <a:gd name="connsiteX17" fmla="*/ 225362 w 1079087"/>
                <a:gd name="connsiteY17" fmla="*/ 1310354 h 1436369"/>
                <a:gd name="connsiteX18" fmla="*/ 59912 w 1079087"/>
                <a:gd name="connsiteY18" fmla="*/ 1310354 h 1436369"/>
                <a:gd name="connsiteX19" fmla="*/ 0 w 1079087"/>
                <a:gd name="connsiteY19" fmla="*/ 1370266 h 1436369"/>
                <a:gd name="connsiteX20" fmla="*/ 0 w 1079087"/>
                <a:gd name="connsiteY20" fmla="*/ 1376458 h 1436369"/>
                <a:gd name="connsiteX21" fmla="*/ 59912 w 1079087"/>
                <a:gd name="connsiteY21" fmla="*/ 1436370 h 1436369"/>
                <a:gd name="connsiteX22" fmla="*/ 389954 w 1079087"/>
                <a:gd name="connsiteY22" fmla="*/ 1436370 h 1436369"/>
                <a:gd name="connsiteX23" fmla="*/ 397764 w 1079087"/>
                <a:gd name="connsiteY23" fmla="*/ 1436370 h 1436369"/>
                <a:gd name="connsiteX24" fmla="*/ 521208 w 1079087"/>
                <a:gd name="connsiteY24" fmla="*/ 1436370 h 1436369"/>
                <a:gd name="connsiteX25" fmla="*/ 603980 w 1079087"/>
                <a:gd name="connsiteY25" fmla="*/ 1363218 h 1436369"/>
                <a:gd name="connsiteX26" fmla="*/ 684371 w 1079087"/>
                <a:gd name="connsiteY26" fmla="*/ 1292162 h 1436369"/>
                <a:gd name="connsiteX27" fmla="*/ 838390 w 1079087"/>
                <a:gd name="connsiteY27" fmla="*/ 1292162 h 1436369"/>
                <a:gd name="connsiteX28" fmla="*/ 920782 w 1079087"/>
                <a:gd name="connsiteY28" fmla="*/ 1221581 h 1436369"/>
                <a:gd name="connsiteX29" fmla="*/ 998315 w 1079087"/>
                <a:gd name="connsiteY29" fmla="*/ 1153192 h 1436369"/>
                <a:gd name="connsiteX30" fmla="*/ 1079087 w 1079087"/>
                <a:gd name="connsiteY30" fmla="*/ 1069848 h 1436369"/>
                <a:gd name="connsiteX31" fmla="*/ 1079087 w 1079087"/>
                <a:gd name="connsiteY31" fmla="*/ 956310 h 1436369"/>
                <a:gd name="connsiteX32" fmla="*/ 998792 w 1079087"/>
                <a:gd name="connsiteY32" fmla="*/ 872966 h 1436369"/>
                <a:gd name="connsiteX33" fmla="*/ 921258 w 1079087"/>
                <a:gd name="connsiteY33" fmla="*/ 800672 h 1436369"/>
                <a:gd name="connsiteX34" fmla="*/ 840581 w 1079087"/>
                <a:gd name="connsiteY34" fmla="*/ 726186 h 1436369"/>
                <a:gd name="connsiteX35" fmla="*/ 761810 w 1079087"/>
                <a:gd name="connsiteY35" fmla="*/ 645223 h 1436369"/>
                <a:gd name="connsiteX36" fmla="*/ 761810 w 1079087"/>
                <a:gd name="connsiteY36" fmla="*/ 515969 h 1436369"/>
                <a:gd name="connsiteX37" fmla="*/ 684657 w 1079087"/>
                <a:gd name="connsiteY37" fmla="*/ 432816 h 1436369"/>
                <a:gd name="connsiteX38" fmla="*/ 609695 w 1079087"/>
                <a:gd name="connsiteY38" fmla="*/ 352044 h 1436369"/>
                <a:gd name="connsiteX39" fmla="*/ 609695 w 1079087"/>
                <a:gd name="connsiteY39" fmla="*/ 224980 h 1436369"/>
                <a:gd name="connsiteX40" fmla="*/ 527780 w 1079087"/>
                <a:gd name="connsiteY40" fmla="*/ 141541 h 1436369"/>
                <a:gd name="connsiteX41" fmla="*/ 449009 w 1079087"/>
                <a:gd name="connsiteY41" fmla="*/ 71818 h 1436369"/>
                <a:gd name="connsiteX42" fmla="*/ 366427 w 1079087"/>
                <a:gd name="connsiteY42" fmla="*/ 0 h 1436369"/>
                <a:gd name="connsiteX43" fmla="*/ 235363 w 1079087"/>
                <a:gd name="connsiteY43" fmla="*/ 0 h 1436369"/>
                <a:gd name="connsiteX44" fmla="*/ 151924 w 1079087"/>
                <a:gd name="connsiteY44" fmla="*/ 83439 h 1436369"/>
                <a:gd name="connsiteX45" fmla="*/ 151924 w 1079087"/>
                <a:gd name="connsiteY45" fmla="*/ 624268 h 1436369"/>
                <a:gd name="connsiteX46" fmla="*/ 235363 w 1079087"/>
                <a:gd name="connsiteY46" fmla="*/ 707612 h 14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79087" h="1436369">
                  <a:moveTo>
                    <a:pt x="235363" y="707612"/>
                  </a:moveTo>
                  <a:lnTo>
                    <a:pt x="366617" y="707612"/>
                  </a:lnTo>
                  <a:cubicBezTo>
                    <a:pt x="369094" y="707612"/>
                    <a:pt x="371475" y="707517"/>
                    <a:pt x="373856" y="707326"/>
                  </a:cubicBezTo>
                  <a:cubicBezTo>
                    <a:pt x="378809" y="706850"/>
                    <a:pt x="383000" y="706850"/>
                    <a:pt x="387953" y="707326"/>
                  </a:cubicBezTo>
                  <a:cubicBezTo>
                    <a:pt x="388239" y="707326"/>
                    <a:pt x="388620" y="707422"/>
                    <a:pt x="388906" y="707422"/>
                  </a:cubicBezTo>
                  <a:cubicBezTo>
                    <a:pt x="431292" y="710660"/>
                    <a:pt x="463772" y="745712"/>
                    <a:pt x="463772" y="788194"/>
                  </a:cubicBezTo>
                  <a:lnTo>
                    <a:pt x="463772" y="789527"/>
                  </a:lnTo>
                  <a:cubicBezTo>
                    <a:pt x="463772" y="832866"/>
                    <a:pt x="429578" y="868585"/>
                    <a:pt x="386239" y="870490"/>
                  </a:cubicBezTo>
                  <a:cubicBezTo>
                    <a:pt x="344900" y="872299"/>
                    <a:pt x="311182" y="904494"/>
                    <a:pt x="306896" y="945166"/>
                  </a:cubicBezTo>
                  <a:cubicBezTo>
                    <a:pt x="302514" y="986599"/>
                    <a:pt x="267938" y="1017746"/>
                    <a:pt x="226314" y="1017746"/>
                  </a:cubicBezTo>
                  <a:lnTo>
                    <a:pt x="206407" y="1017746"/>
                  </a:lnTo>
                  <a:cubicBezTo>
                    <a:pt x="173450" y="1017746"/>
                    <a:pt x="146495" y="1044702"/>
                    <a:pt x="146495" y="1077658"/>
                  </a:cubicBezTo>
                  <a:lnTo>
                    <a:pt x="146495" y="1083850"/>
                  </a:lnTo>
                  <a:cubicBezTo>
                    <a:pt x="146495" y="1116806"/>
                    <a:pt x="173450" y="1143762"/>
                    <a:pt x="206407" y="1143762"/>
                  </a:cubicBezTo>
                  <a:lnTo>
                    <a:pt x="225362" y="1143762"/>
                  </a:lnTo>
                  <a:cubicBezTo>
                    <a:pt x="269939" y="1143762"/>
                    <a:pt x="306324" y="1180148"/>
                    <a:pt x="306324" y="1224724"/>
                  </a:cubicBezTo>
                  <a:lnTo>
                    <a:pt x="306324" y="1229392"/>
                  </a:lnTo>
                  <a:cubicBezTo>
                    <a:pt x="306324" y="1273969"/>
                    <a:pt x="269939" y="1310354"/>
                    <a:pt x="225362" y="1310354"/>
                  </a:cubicBezTo>
                  <a:lnTo>
                    <a:pt x="59912" y="1310354"/>
                  </a:lnTo>
                  <a:cubicBezTo>
                    <a:pt x="26956" y="1310354"/>
                    <a:pt x="0" y="1337310"/>
                    <a:pt x="0" y="1370266"/>
                  </a:cubicBezTo>
                  <a:lnTo>
                    <a:pt x="0" y="1376458"/>
                  </a:lnTo>
                  <a:cubicBezTo>
                    <a:pt x="0" y="1409414"/>
                    <a:pt x="26956" y="1436370"/>
                    <a:pt x="59912" y="1436370"/>
                  </a:cubicBezTo>
                  <a:lnTo>
                    <a:pt x="389954" y="1436370"/>
                  </a:lnTo>
                  <a:lnTo>
                    <a:pt x="397764" y="1436370"/>
                  </a:lnTo>
                  <a:lnTo>
                    <a:pt x="521208" y="1436370"/>
                  </a:lnTo>
                  <a:cubicBezTo>
                    <a:pt x="563594" y="1436370"/>
                    <a:pt x="598932" y="1404271"/>
                    <a:pt x="603980" y="1363218"/>
                  </a:cubicBezTo>
                  <a:cubicBezTo>
                    <a:pt x="609028" y="1322451"/>
                    <a:pt x="643223" y="1292162"/>
                    <a:pt x="684371" y="1292162"/>
                  </a:cubicBezTo>
                  <a:lnTo>
                    <a:pt x="838390" y="1292162"/>
                  </a:lnTo>
                  <a:cubicBezTo>
                    <a:pt x="879920" y="1292162"/>
                    <a:pt x="914590" y="1261396"/>
                    <a:pt x="920782" y="1221581"/>
                  </a:cubicBezTo>
                  <a:cubicBezTo>
                    <a:pt x="926878" y="1182719"/>
                    <a:pt x="958977" y="1154335"/>
                    <a:pt x="998315" y="1153192"/>
                  </a:cubicBezTo>
                  <a:cubicBezTo>
                    <a:pt x="1042988" y="1151763"/>
                    <a:pt x="1079087" y="1114806"/>
                    <a:pt x="1079087" y="1069848"/>
                  </a:cubicBezTo>
                  <a:lnTo>
                    <a:pt x="1079087" y="956310"/>
                  </a:lnTo>
                  <a:cubicBezTo>
                    <a:pt x="1079087" y="911447"/>
                    <a:pt x="1043273" y="874586"/>
                    <a:pt x="998792" y="872966"/>
                  </a:cubicBezTo>
                  <a:cubicBezTo>
                    <a:pt x="958310" y="871442"/>
                    <a:pt x="925640" y="840962"/>
                    <a:pt x="921258" y="800672"/>
                  </a:cubicBezTo>
                  <a:cubicBezTo>
                    <a:pt x="916877" y="759619"/>
                    <a:pt x="882396" y="727329"/>
                    <a:pt x="840581" y="726186"/>
                  </a:cubicBezTo>
                  <a:cubicBezTo>
                    <a:pt x="796766" y="724948"/>
                    <a:pt x="761810" y="689038"/>
                    <a:pt x="761810" y="645223"/>
                  </a:cubicBezTo>
                  <a:lnTo>
                    <a:pt x="761810" y="515969"/>
                  </a:lnTo>
                  <a:cubicBezTo>
                    <a:pt x="761810" y="472154"/>
                    <a:pt x="727615" y="436055"/>
                    <a:pt x="684657" y="432816"/>
                  </a:cubicBezTo>
                  <a:cubicBezTo>
                    <a:pt x="642271" y="429577"/>
                    <a:pt x="609695" y="394525"/>
                    <a:pt x="609695" y="352044"/>
                  </a:cubicBezTo>
                  <a:lnTo>
                    <a:pt x="609695" y="224980"/>
                  </a:lnTo>
                  <a:cubicBezTo>
                    <a:pt x="609695" y="179641"/>
                    <a:pt x="572929" y="142399"/>
                    <a:pt x="527780" y="141541"/>
                  </a:cubicBezTo>
                  <a:cubicBezTo>
                    <a:pt x="487680" y="140875"/>
                    <a:pt x="454533" y="111538"/>
                    <a:pt x="449009" y="71818"/>
                  </a:cubicBezTo>
                  <a:cubicBezTo>
                    <a:pt x="443294" y="31337"/>
                    <a:pt x="408337" y="0"/>
                    <a:pt x="366427" y="0"/>
                  </a:cubicBezTo>
                  <a:lnTo>
                    <a:pt x="235363" y="0"/>
                  </a:lnTo>
                  <a:cubicBezTo>
                    <a:pt x="189452" y="0"/>
                    <a:pt x="151924" y="37528"/>
                    <a:pt x="151924" y="83439"/>
                  </a:cubicBezTo>
                  <a:lnTo>
                    <a:pt x="151924" y="624268"/>
                  </a:lnTo>
                  <a:cubicBezTo>
                    <a:pt x="151924" y="670084"/>
                    <a:pt x="189452" y="707612"/>
                    <a:pt x="235363" y="707612"/>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55" name="Freeform: Shape 54">
              <a:extLst>
                <a:ext uri="{FF2B5EF4-FFF2-40B4-BE49-F238E27FC236}">
                  <a16:creationId xmlns:a16="http://schemas.microsoft.com/office/drawing/2014/main" id="{47B7A1B4-FD2D-44A8-A32B-03E30BD09CF7}"/>
                </a:ext>
              </a:extLst>
            </p:cNvPr>
            <p:cNvSpPr/>
            <p:nvPr/>
          </p:nvSpPr>
          <p:spPr>
            <a:xfrm>
              <a:off x="4979019" y="1499219"/>
              <a:ext cx="450437" cy="290036"/>
            </a:xfrm>
            <a:custGeom>
              <a:avLst/>
              <a:gdLst>
                <a:gd name="connsiteX0" fmla="*/ 450438 w 450437"/>
                <a:gd name="connsiteY0" fmla="*/ 0 h 290036"/>
                <a:gd name="connsiteX1" fmla="*/ 70009 w 450437"/>
                <a:gd name="connsiteY1" fmla="*/ 0 h 290036"/>
                <a:gd name="connsiteX2" fmla="*/ 0 w 450437"/>
                <a:gd name="connsiteY2" fmla="*/ 70009 h 290036"/>
                <a:gd name="connsiteX3" fmla="*/ 0 w 450437"/>
                <a:gd name="connsiteY3" fmla="*/ 220028 h 290036"/>
                <a:gd name="connsiteX4" fmla="*/ 70009 w 450437"/>
                <a:gd name="connsiteY4" fmla="*/ 290036 h 290036"/>
                <a:gd name="connsiteX5" fmla="*/ 450438 w 450437"/>
                <a:gd name="connsiteY5" fmla="*/ 290036 h 290036"/>
                <a:gd name="connsiteX6" fmla="*/ 450438 w 450437"/>
                <a:gd name="connsiteY6" fmla="*/ 0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437" h="290036">
                  <a:moveTo>
                    <a:pt x="450438" y="0"/>
                  </a:moveTo>
                  <a:lnTo>
                    <a:pt x="70009" y="0"/>
                  </a:lnTo>
                  <a:cubicBezTo>
                    <a:pt x="31528" y="0"/>
                    <a:pt x="0" y="31528"/>
                    <a:pt x="0" y="70009"/>
                  </a:cubicBezTo>
                  <a:lnTo>
                    <a:pt x="0" y="220028"/>
                  </a:lnTo>
                  <a:cubicBezTo>
                    <a:pt x="0" y="258509"/>
                    <a:pt x="31528" y="290036"/>
                    <a:pt x="70009" y="290036"/>
                  </a:cubicBezTo>
                  <a:lnTo>
                    <a:pt x="450438" y="290036"/>
                  </a:lnTo>
                  <a:lnTo>
                    <a:pt x="45043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56" name="Freeform: Shape 55">
              <a:extLst>
                <a:ext uri="{FF2B5EF4-FFF2-40B4-BE49-F238E27FC236}">
                  <a16:creationId xmlns:a16="http://schemas.microsoft.com/office/drawing/2014/main" id="{577E858F-FC3D-459D-84E3-39455C9A7343}"/>
                </a:ext>
              </a:extLst>
            </p:cNvPr>
            <p:cNvSpPr/>
            <p:nvPr/>
          </p:nvSpPr>
          <p:spPr>
            <a:xfrm>
              <a:off x="4666981" y="1789445"/>
              <a:ext cx="762571" cy="290036"/>
            </a:xfrm>
            <a:custGeom>
              <a:avLst/>
              <a:gdLst>
                <a:gd name="connsiteX0" fmla="*/ 762476 w 762571"/>
                <a:gd name="connsiteY0" fmla="*/ 290036 h 290036"/>
                <a:gd name="connsiteX1" fmla="*/ 70009 w 762571"/>
                <a:gd name="connsiteY1" fmla="*/ 290036 h 290036"/>
                <a:gd name="connsiteX2" fmla="*/ 0 w 762571"/>
                <a:gd name="connsiteY2" fmla="*/ 220028 h 290036"/>
                <a:gd name="connsiteX3" fmla="*/ 0 w 762571"/>
                <a:gd name="connsiteY3" fmla="*/ 70009 h 290036"/>
                <a:gd name="connsiteX4" fmla="*/ 70009 w 762571"/>
                <a:gd name="connsiteY4" fmla="*/ 0 h 290036"/>
                <a:gd name="connsiteX5" fmla="*/ 208216 w 762571"/>
                <a:gd name="connsiteY5" fmla="*/ 0 h 290036"/>
                <a:gd name="connsiteX6" fmla="*/ 299847 w 762571"/>
                <a:gd name="connsiteY6" fmla="*/ 61531 h 290036"/>
                <a:gd name="connsiteX7" fmla="*/ 299847 w 762571"/>
                <a:gd name="connsiteY7" fmla="*/ 77629 h 290036"/>
                <a:gd name="connsiteX8" fmla="*/ 368046 w 762571"/>
                <a:gd name="connsiteY8" fmla="*/ 145828 h 290036"/>
                <a:gd name="connsiteX9" fmla="*/ 391763 w 762571"/>
                <a:gd name="connsiteY9" fmla="*/ 145828 h 290036"/>
                <a:gd name="connsiteX10" fmla="*/ 459962 w 762571"/>
                <a:gd name="connsiteY10" fmla="*/ 77629 h 290036"/>
                <a:gd name="connsiteX11" fmla="*/ 459962 w 762571"/>
                <a:gd name="connsiteY11" fmla="*/ 61531 h 290036"/>
                <a:gd name="connsiteX12" fmla="*/ 421005 w 762571"/>
                <a:gd name="connsiteY12" fmla="*/ 0 h 290036"/>
                <a:gd name="connsiteX13" fmla="*/ 762571 w 762571"/>
                <a:gd name="connsiteY13" fmla="*/ 0 h 290036"/>
                <a:gd name="connsiteX14" fmla="*/ 762571 w 762571"/>
                <a:gd name="connsiteY14" fmla="*/ 290036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571" h="290036">
                  <a:moveTo>
                    <a:pt x="762476" y="290036"/>
                  </a:moveTo>
                  <a:lnTo>
                    <a:pt x="70009" y="290036"/>
                  </a:lnTo>
                  <a:cubicBezTo>
                    <a:pt x="31528" y="290036"/>
                    <a:pt x="0" y="258509"/>
                    <a:pt x="0" y="220028"/>
                  </a:cubicBezTo>
                  <a:lnTo>
                    <a:pt x="0" y="70009"/>
                  </a:lnTo>
                  <a:cubicBezTo>
                    <a:pt x="0" y="31528"/>
                    <a:pt x="31528" y="0"/>
                    <a:pt x="70009" y="0"/>
                  </a:cubicBezTo>
                  <a:lnTo>
                    <a:pt x="208216" y="0"/>
                  </a:lnTo>
                  <a:cubicBezTo>
                    <a:pt x="268224" y="1143"/>
                    <a:pt x="299847" y="34480"/>
                    <a:pt x="299847" y="61531"/>
                  </a:cubicBezTo>
                  <a:lnTo>
                    <a:pt x="299847" y="77629"/>
                  </a:lnTo>
                  <a:cubicBezTo>
                    <a:pt x="299847" y="115157"/>
                    <a:pt x="330517" y="145828"/>
                    <a:pt x="368046" y="145828"/>
                  </a:cubicBezTo>
                  <a:lnTo>
                    <a:pt x="391763" y="145828"/>
                  </a:lnTo>
                  <a:cubicBezTo>
                    <a:pt x="429292" y="145828"/>
                    <a:pt x="459962" y="115157"/>
                    <a:pt x="459962" y="77629"/>
                  </a:cubicBezTo>
                  <a:lnTo>
                    <a:pt x="459962" y="61531"/>
                  </a:lnTo>
                  <a:cubicBezTo>
                    <a:pt x="459962" y="34480"/>
                    <a:pt x="443960" y="10954"/>
                    <a:pt x="421005" y="0"/>
                  </a:cubicBezTo>
                  <a:lnTo>
                    <a:pt x="762571" y="0"/>
                  </a:lnTo>
                  <a:lnTo>
                    <a:pt x="762571" y="29003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57" name="Freeform: Shape 56">
              <a:extLst>
                <a:ext uri="{FF2B5EF4-FFF2-40B4-BE49-F238E27FC236}">
                  <a16:creationId xmlns:a16="http://schemas.microsoft.com/office/drawing/2014/main" id="{4D18E699-492E-4A0A-8F83-20CA3D9275C1}"/>
                </a:ext>
              </a:extLst>
            </p:cNvPr>
            <p:cNvSpPr/>
            <p:nvPr/>
          </p:nvSpPr>
          <p:spPr>
            <a:xfrm>
              <a:off x="4752787" y="2078719"/>
              <a:ext cx="676764" cy="280797"/>
            </a:xfrm>
            <a:custGeom>
              <a:avLst/>
              <a:gdLst>
                <a:gd name="connsiteX0" fmla="*/ 676764 w 676764"/>
                <a:gd name="connsiteY0" fmla="*/ 63056 h 280797"/>
                <a:gd name="connsiteX1" fmla="*/ 676764 w 676764"/>
                <a:gd name="connsiteY1" fmla="*/ 75914 h 280797"/>
                <a:gd name="connsiteX2" fmla="*/ 676764 w 676764"/>
                <a:gd name="connsiteY2" fmla="*/ 84106 h 280797"/>
                <a:gd name="connsiteX3" fmla="*/ 616281 w 676764"/>
                <a:gd name="connsiteY3" fmla="*/ 144590 h 280797"/>
                <a:gd name="connsiteX4" fmla="*/ 526174 w 676764"/>
                <a:gd name="connsiteY4" fmla="*/ 144590 h 280797"/>
                <a:gd name="connsiteX5" fmla="*/ 526174 w 676764"/>
                <a:gd name="connsiteY5" fmla="*/ 220313 h 280797"/>
                <a:gd name="connsiteX6" fmla="*/ 465691 w 676764"/>
                <a:gd name="connsiteY6" fmla="*/ 280797 h 280797"/>
                <a:gd name="connsiteX7" fmla="*/ 227566 w 676764"/>
                <a:gd name="connsiteY7" fmla="*/ 280797 h 280797"/>
                <a:gd name="connsiteX8" fmla="*/ 227566 w 676764"/>
                <a:gd name="connsiteY8" fmla="*/ 205073 h 280797"/>
                <a:gd name="connsiteX9" fmla="*/ 167082 w 676764"/>
                <a:gd name="connsiteY9" fmla="*/ 144590 h 280797"/>
                <a:gd name="connsiteX10" fmla="*/ 7348 w 676764"/>
                <a:gd name="connsiteY10" fmla="*/ 144590 h 280797"/>
                <a:gd name="connsiteX11" fmla="*/ 67832 w 676764"/>
                <a:gd name="connsiteY11" fmla="*/ 84106 h 280797"/>
                <a:gd name="connsiteX12" fmla="*/ 67832 w 676764"/>
                <a:gd name="connsiteY12" fmla="*/ 63056 h 280797"/>
                <a:gd name="connsiteX13" fmla="*/ 7348 w 676764"/>
                <a:gd name="connsiteY13" fmla="*/ 2572 h 280797"/>
                <a:gd name="connsiteX14" fmla="*/ 96502 w 676764"/>
                <a:gd name="connsiteY14" fmla="*/ 1905 h 280797"/>
                <a:gd name="connsiteX15" fmla="*/ 96502 w 676764"/>
                <a:gd name="connsiteY15" fmla="*/ 0 h 280797"/>
                <a:gd name="connsiteX16" fmla="*/ 465691 w 676764"/>
                <a:gd name="connsiteY16" fmla="*/ 0 h 280797"/>
                <a:gd name="connsiteX17" fmla="*/ 676764 w 676764"/>
                <a:gd name="connsiteY17" fmla="*/ 0 h 280797"/>
                <a:gd name="connsiteX18" fmla="*/ 676764 w 676764"/>
                <a:gd name="connsiteY18" fmla="*/ 63056 h 280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6764" h="280797">
                  <a:moveTo>
                    <a:pt x="676764" y="63056"/>
                  </a:moveTo>
                  <a:lnTo>
                    <a:pt x="676764" y="75914"/>
                  </a:lnTo>
                  <a:lnTo>
                    <a:pt x="676764" y="84106"/>
                  </a:lnTo>
                  <a:cubicBezTo>
                    <a:pt x="676764" y="117348"/>
                    <a:pt x="649523" y="144590"/>
                    <a:pt x="616281" y="144590"/>
                  </a:cubicBezTo>
                  <a:lnTo>
                    <a:pt x="526174" y="144590"/>
                  </a:lnTo>
                  <a:lnTo>
                    <a:pt x="526174" y="220313"/>
                  </a:lnTo>
                  <a:cubicBezTo>
                    <a:pt x="526174" y="253556"/>
                    <a:pt x="498933" y="280797"/>
                    <a:pt x="465691" y="280797"/>
                  </a:cubicBezTo>
                  <a:lnTo>
                    <a:pt x="227566" y="280797"/>
                  </a:lnTo>
                  <a:lnTo>
                    <a:pt x="227566" y="205073"/>
                  </a:lnTo>
                  <a:cubicBezTo>
                    <a:pt x="227566" y="171831"/>
                    <a:pt x="200324" y="144590"/>
                    <a:pt x="167082" y="144590"/>
                  </a:cubicBezTo>
                  <a:lnTo>
                    <a:pt x="7348" y="144590"/>
                  </a:lnTo>
                  <a:cubicBezTo>
                    <a:pt x="40590" y="144590"/>
                    <a:pt x="67832" y="117443"/>
                    <a:pt x="67832" y="84106"/>
                  </a:cubicBezTo>
                  <a:lnTo>
                    <a:pt x="67832" y="63056"/>
                  </a:lnTo>
                  <a:cubicBezTo>
                    <a:pt x="67832" y="29813"/>
                    <a:pt x="40590" y="2572"/>
                    <a:pt x="7348" y="2572"/>
                  </a:cubicBezTo>
                  <a:cubicBezTo>
                    <a:pt x="-18370" y="2572"/>
                    <a:pt x="26302" y="2286"/>
                    <a:pt x="96502" y="1905"/>
                  </a:cubicBezTo>
                  <a:lnTo>
                    <a:pt x="96502" y="0"/>
                  </a:lnTo>
                  <a:lnTo>
                    <a:pt x="465691" y="0"/>
                  </a:lnTo>
                  <a:lnTo>
                    <a:pt x="676764" y="0"/>
                  </a:lnTo>
                  <a:lnTo>
                    <a:pt x="676764" y="6305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58" name="Freeform: Shape 57">
              <a:extLst>
                <a:ext uri="{FF2B5EF4-FFF2-40B4-BE49-F238E27FC236}">
                  <a16:creationId xmlns:a16="http://schemas.microsoft.com/office/drawing/2014/main" id="{D57D48E2-D36D-4C65-8FB4-4F27AF98A90F}"/>
                </a:ext>
              </a:extLst>
            </p:cNvPr>
            <p:cNvSpPr/>
            <p:nvPr/>
          </p:nvSpPr>
          <p:spPr>
            <a:xfrm>
              <a:off x="4480672" y="2223214"/>
              <a:ext cx="495776" cy="136207"/>
            </a:xfrm>
            <a:custGeom>
              <a:avLst/>
              <a:gdLst>
                <a:gd name="connsiteX0" fmla="*/ 495776 w 495776"/>
                <a:gd name="connsiteY0" fmla="*/ 136208 h 136207"/>
                <a:gd name="connsiteX1" fmla="*/ 495776 w 495776"/>
                <a:gd name="connsiteY1" fmla="*/ 60484 h 136207"/>
                <a:gd name="connsiteX2" fmla="*/ 435292 w 495776"/>
                <a:gd name="connsiteY2" fmla="*/ 0 h 136207"/>
                <a:gd name="connsiteX3" fmla="*/ 89630 w 495776"/>
                <a:gd name="connsiteY3" fmla="*/ 0 h 136207"/>
                <a:gd name="connsiteX4" fmla="*/ 29146 w 495776"/>
                <a:gd name="connsiteY4" fmla="*/ 60484 h 136207"/>
                <a:gd name="connsiteX5" fmla="*/ 29146 w 495776"/>
                <a:gd name="connsiteY5" fmla="*/ 73914 h 136207"/>
                <a:gd name="connsiteX6" fmla="*/ 0 w 495776"/>
                <a:gd name="connsiteY6" fmla="*/ 136208 h 136207"/>
                <a:gd name="connsiteX7" fmla="*/ 495776 w 495776"/>
                <a:gd name="connsiteY7" fmla="*/ 136208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776" h="136207">
                  <a:moveTo>
                    <a:pt x="495776" y="136208"/>
                  </a:moveTo>
                  <a:lnTo>
                    <a:pt x="495776" y="60484"/>
                  </a:lnTo>
                  <a:cubicBezTo>
                    <a:pt x="495776" y="27242"/>
                    <a:pt x="468534" y="0"/>
                    <a:pt x="435292" y="0"/>
                  </a:cubicBezTo>
                  <a:lnTo>
                    <a:pt x="89630" y="0"/>
                  </a:lnTo>
                  <a:cubicBezTo>
                    <a:pt x="56388" y="0"/>
                    <a:pt x="29146" y="27242"/>
                    <a:pt x="29146" y="60484"/>
                  </a:cubicBezTo>
                  <a:lnTo>
                    <a:pt x="29146" y="73914"/>
                  </a:lnTo>
                  <a:cubicBezTo>
                    <a:pt x="29146" y="98870"/>
                    <a:pt x="17907" y="121253"/>
                    <a:pt x="0" y="136208"/>
                  </a:cubicBezTo>
                  <a:lnTo>
                    <a:pt x="495776" y="136208"/>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59" name="Freeform: Shape 58">
              <a:extLst>
                <a:ext uri="{FF2B5EF4-FFF2-40B4-BE49-F238E27FC236}">
                  <a16:creationId xmlns:a16="http://schemas.microsoft.com/office/drawing/2014/main" id="{CC95BA71-F64B-4E49-913A-83C7DB7E2B10}"/>
                </a:ext>
              </a:extLst>
            </p:cNvPr>
            <p:cNvSpPr/>
            <p:nvPr/>
          </p:nvSpPr>
          <p:spPr>
            <a:xfrm>
              <a:off x="3380820" y="2942637"/>
              <a:ext cx="1117568" cy="468344"/>
            </a:xfrm>
            <a:custGeom>
              <a:avLst/>
              <a:gdLst>
                <a:gd name="connsiteX0" fmla="*/ 1117568 w 1117568"/>
                <a:gd name="connsiteY0" fmla="*/ 208883 h 468344"/>
                <a:gd name="connsiteX1" fmla="*/ 1117568 w 1117568"/>
                <a:gd name="connsiteY1" fmla="*/ 303943 h 468344"/>
                <a:gd name="connsiteX2" fmla="*/ 1047559 w 1117568"/>
                <a:gd name="connsiteY2" fmla="*/ 303276 h 468344"/>
                <a:gd name="connsiteX3" fmla="*/ 1041273 w 1117568"/>
                <a:gd name="connsiteY3" fmla="*/ 303276 h 468344"/>
                <a:gd name="connsiteX4" fmla="*/ 960310 w 1117568"/>
                <a:gd name="connsiteY4" fmla="*/ 384238 h 468344"/>
                <a:gd name="connsiteX5" fmla="*/ 960310 w 1117568"/>
                <a:gd name="connsiteY5" fmla="*/ 398335 h 468344"/>
                <a:gd name="connsiteX6" fmla="*/ 890302 w 1117568"/>
                <a:gd name="connsiteY6" fmla="*/ 468344 h 468344"/>
                <a:gd name="connsiteX7" fmla="*/ 323088 w 1117568"/>
                <a:gd name="connsiteY7" fmla="*/ 468344 h 468344"/>
                <a:gd name="connsiteX8" fmla="*/ 322421 w 1117568"/>
                <a:gd name="connsiteY8" fmla="*/ 398335 h 468344"/>
                <a:gd name="connsiteX9" fmla="*/ 322421 w 1117568"/>
                <a:gd name="connsiteY9" fmla="*/ 384238 h 468344"/>
                <a:gd name="connsiteX10" fmla="*/ 241459 w 1117568"/>
                <a:gd name="connsiteY10" fmla="*/ 303276 h 468344"/>
                <a:gd name="connsiteX11" fmla="*/ 224695 w 1117568"/>
                <a:gd name="connsiteY11" fmla="*/ 303276 h 468344"/>
                <a:gd name="connsiteX12" fmla="*/ 154876 w 1117568"/>
                <a:gd name="connsiteY12" fmla="*/ 238887 h 468344"/>
                <a:gd name="connsiteX13" fmla="*/ 74104 w 1117568"/>
                <a:gd name="connsiteY13" fmla="*/ 164401 h 468344"/>
                <a:gd name="connsiteX14" fmla="*/ 70009 w 1117568"/>
                <a:gd name="connsiteY14" fmla="*/ 164401 h 468344"/>
                <a:gd name="connsiteX15" fmla="*/ 0 w 1117568"/>
                <a:gd name="connsiteY15" fmla="*/ 94393 h 468344"/>
                <a:gd name="connsiteX16" fmla="*/ 0 w 1117568"/>
                <a:gd name="connsiteY16" fmla="*/ 70009 h 468344"/>
                <a:gd name="connsiteX17" fmla="*/ 70009 w 1117568"/>
                <a:gd name="connsiteY17" fmla="*/ 0 h 468344"/>
                <a:gd name="connsiteX18" fmla="*/ 403003 w 1117568"/>
                <a:gd name="connsiteY18" fmla="*/ 0 h 468344"/>
                <a:gd name="connsiteX19" fmla="*/ 452533 w 1117568"/>
                <a:gd name="connsiteY19" fmla="*/ 0 h 468344"/>
                <a:gd name="connsiteX20" fmla="*/ 567880 w 1117568"/>
                <a:gd name="connsiteY20" fmla="*/ 0 h 468344"/>
                <a:gd name="connsiteX21" fmla="*/ 637699 w 1117568"/>
                <a:gd name="connsiteY21" fmla="*/ 64389 h 468344"/>
                <a:gd name="connsiteX22" fmla="*/ 718471 w 1117568"/>
                <a:gd name="connsiteY22" fmla="*/ 138874 h 468344"/>
                <a:gd name="connsiteX23" fmla="*/ 1047655 w 1117568"/>
                <a:gd name="connsiteY23" fmla="*/ 138874 h 468344"/>
                <a:gd name="connsiteX24" fmla="*/ 1117568 w 1117568"/>
                <a:gd name="connsiteY24" fmla="*/ 208883 h 46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17568" h="468344">
                  <a:moveTo>
                    <a:pt x="1117568" y="208883"/>
                  </a:moveTo>
                  <a:lnTo>
                    <a:pt x="1117568" y="303943"/>
                  </a:lnTo>
                  <a:lnTo>
                    <a:pt x="1047559" y="303276"/>
                  </a:lnTo>
                  <a:lnTo>
                    <a:pt x="1041273" y="303276"/>
                  </a:lnTo>
                  <a:cubicBezTo>
                    <a:pt x="996696" y="303276"/>
                    <a:pt x="960310" y="339662"/>
                    <a:pt x="960310" y="384238"/>
                  </a:cubicBezTo>
                  <a:lnTo>
                    <a:pt x="960310" y="398335"/>
                  </a:lnTo>
                  <a:cubicBezTo>
                    <a:pt x="960310" y="436816"/>
                    <a:pt x="928783" y="468344"/>
                    <a:pt x="890302" y="468344"/>
                  </a:cubicBezTo>
                  <a:lnTo>
                    <a:pt x="323088" y="468344"/>
                  </a:lnTo>
                  <a:lnTo>
                    <a:pt x="322421" y="398335"/>
                  </a:lnTo>
                  <a:lnTo>
                    <a:pt x="322421" y="384238"/>
                  </a:lnTo>
                  <a:cubicBezTo>
                    <a:pt x="322421" y="339662"/>
                    <a:pt x="286036" y="303276"/>
                    <a:pt x="241459" y="303276"/>
                  </a:cubicBezTo>
                  <a:lnTo>
                    <a:pt x="224695" y="303276"/>
                  </a:lnTo>
                  <a:cubicBezTo>
                    <a:pt x="188023" y="303276"/>
                    <a:pt x="157734" y="274796"/>
                    <a:pt x="154876" y="238887"/>
                  </a:cubicBezTo>
                  <a:cubicBezTo>
                    <a:pt x="151447" y="196691"/>
                    <a:pt x="116491" y="164401"/>
                    <a:pt x="74104" y="164401"/>
                  </a:cubicBezTo>
                  <a:lnTo>
                    <a:pt x="70009" y="164401"/>
                  </a:lnTo>
                  <a:cubicBezTo>
                    <a:pt x="31528" y="164401"/>
                    <a:pt x="0" y="132874"/>
                    <a:pt x="0" y="94393"/>
                  </a:cubicBezTo>
                  <a:lnTo>
                    <a:pt x="0" y="70009"/>
                  </a:lnTo>
                  <a:cubicBezTo>
                    <a:pt x="0" y="31528"/>
                    <a:pt x="31528" y="0"/>
                    <a:pt x="70009" y="0"/>
                  </a:cubicBezTo>
                  <a:lnTo>
                    <a:pt x="403003" y="0"/>
                  </a:lnTo>
                  <a:lnTo>
                    <a:pt x="452533" y="0"/>
                  </a:lnTo>
                  <a:lnTo>
                    <a:pt x="567880" y="0"/>
                  </a:lnTo>
                  <a:cubicBezTo>
                    <a:pt x="604456" y="0"/>
                    <a:pt x="634841" y="28480"/>
                    <a:pt x="637699" y="64389"/>
                  </a:cubicBezTo>
                  <a:cubicBezTo>
                    <a:pt x="641128" y="106585"/>
                    <a:pt x="676084" y="138874"/>
                    <a:pt x="718471" y="138874"/>
                  </a:cubicBezTo>
                  <a:lnTo>
                    <a:pt x="1047655" y="138874"/>
                  </a:lnTo>
                  <a:cubicBezTo>
                    <a:pt x="1086040" y="138874"/>
                    <a:pt x="1117568" y="170402"/>
                    <a:pt x="1117568" y="208883"/>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60" name="Freeform: Shape 59">
              <a:extLst>
                <a:ext uri="{FF2B5EF4-FFF2-40B4-BE49-F238E27FC236}">
                  <a16:creationId xmlns:a16="http://schemas.microsoft.com/office/drawing/2014/main" id="{8EA42EC0-CC00-472D-9C59-C262992F99D9}"/>
                </a:ext>
              </a:extLst>
            </p:cNvPr>
            <p:cNvSpPr/>
            <p:nvPr/>
          </p:nvSpPr>
          <p:spPr>
            <a:xfrm>
              <a:off x="4183110" y="3246961"/>
              <a:ext cx="781336" cy="280130"/>
            </a:xfrm>
            <a:custGeom>
              <a:avLst/>
              <a:gdLst>
                <a:gd name="connsiteX0" fmla="*/ 0 w 781336"/>
                <a:gd name="connsiteY0" fmla="*/ 164116 h 280130"/>
                <a:gd name="connsiteX1" fmla="*/ 0 w 781336"/>
                <a:gd name="connsiteY1" fmla="*/ 280130 h 280130"/>
                <a:gd name="connsiteX2" fmla="*/ 241363 w 781336"/>
                <a:gd name="connsiteY2" fmla="*/ 280130 h 280130"/>
                <a:gd name="connsiteX3" fmla="*/ 290894 w 781336"/>
                <a:gd name="connsiteY3" fmla="*/ 280130 h 280130"/>
                <a:gd name="connsiteX4" fmla="*/ 406241 w 781336"/>
                <a:gd name="connsiteY4" fmla="*/ 280130 h 280130"/>
                <a:gd name="connsiteX5" fmla="*/ 476060 w 781336"/>
                <a:gd name="connsiteY5" fmla="*/ 215741 h 280130"/>
                <a:gd name="connsiteX6" fmla="*/ 556832 w 781336"/>
                <a:gd name="connsiteY6" fmla="*/ 141256 h 280130"/>
                <a:gd name="connsiteX7" fmla="*/ 781336 w 781336"/>
                <a:gd name="connsiteY7" fmla="*/ 141256 h 280130"/>
                <a:gd name="connsiteX8" fmla="*/ 781336 w 781336"/>
                <a:gd name="connsiteY8" fmla="*/ 1524 h 280130"/>
                <a:gd name="connsiteX9" fmla="*/ 530162 w 781336"/>
                <a:gd name="connsiteY9" fmla="*/ 1524 h 280130"/>
                <a:gd name="connsiteX10" fmla="*/ 223647 w 781336"/>
                <a:gd name="connsiteY10" fmla="*/ 0 h 280130"/>
                <a:gd name="connsiteX11" fmla="*/ 157925 w 781336"/>
                <a:gd name="connsiteY11" fmla="*/ 80010 h 280130"/>
                <a:gd name="connsiteX12" fmla="*/ 157925 w 781336"/>
                <a:gd name="connsiteY12" fmla="*/ 94107 h 280130"/>
                <a:gd name="connsiteX13" fmla="*/ 87916 w 781336"/>
                <a:gd name="connsiteY13" fmla="*/ 164116 h 280130"/>
                <a:gd name="connsiteX14" fmla="*/ 0 w 781336"/>
                <a:gd name="connsiteY14" fmla="*/ 164116 h 280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1336" h="280130">
                  <a:moveTo>
                    <a:pt x="0" y="164116"/>
                  </a:moveTo>
                  <a:lnTo>
                    <a:pt x="0" y="280130"/>
                  </a:lnTo>
                  <a:lnTo>
                    <a:pt x="241363" y="280130"/>
                  </a:lnTo>
                  <a:lnTo>
                    <a:pt x="290894" y="280130"/>
                  </a:lnTo>
                  <a:lnTo>
                    <a:pt x="406241" y="280130"/>
                  </a:lnTo>
                  <a:cubicBezTo>
                    <a:pt x="442817" y="280130"/>
                    <a:pt x="473202" y="251651"/>
                    <a:pt x="476060" y="215741"/>
                  </a:cubicBezTo>
                  <a:cubicBezTo>
                    <a:pt x="479488" y="173546"/>
                    <a:pt x="514445" y="141256"/>
                    <a:pt x="556832" y="141256"/>
                  </a:cubicBezTo>
                  <a:lnTo>
                    <a:pt x="781336" y="141256"/>
                  </a:lnTo>
                  <a:lnTo>
                    <a:pt x="781336" y="1524"/>
                  </a:lnTo>
                  <a:lnTo>
                    <a:pt x="530162" y="1524"/>
                  </a:lnTo>
                  <a:lnTo>
                    <a:pt x="223647" y="0"/>
                  </a:lnTo>
                  <a:cubicBezTo>
                    <a:pt x="188500" y="8858"/>
                    <a:pt x="157925" y="42196"/>
                    <a:pt x="157925" y="80010"/>
                  </a:cubicBezTo>
                  <a:lnTo>
                    <a:pt x="157925" y="94107"/>
                  </a:lnTo>
                  <a:cubicBezTo>
                    <a:pt x="157925" y="132588"/>
                    <a:pt x="126397" y="164116"/>
                    <a:pt x="87916" y="164116"/>
                  </a:cubicBezTo>
                  <a:lnTo>
                    <a:pt x="0" y="164116"/>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61" name="Freeform: Shape 60">
              <a:extLst>
                <a:ext uri="{FF2B5EF4-FFF2-40B4-BE49-F238E27FC236}">
                  <a16:creationId xmlns:a16="http://schemas.microsoft.com/office/drawing/2014/main" id="{D8036831-E3F9-413C-82F8-1AAE8176253E}"/>
                </a:ext>
              </a:extLst>
            </p:cNvPr>
            <p:cNvSpPr/>
            <p:nvPr/>
          </p:nvSpPr>
          <p:spPr>
            <a:xfrm>
              <a:off x="3700479" y="2359612"/>
              <a:ext cx="1578101" cy="888872"/>
            </a:xfrm>
            <a:custGeom>
              <a:avLst/>
              <a:gdLst>
                <a:gd name="connsiteX0" fmla="*/ 1423702 w 1578101"/>
                <a:gd name="connsiteY0" fmla="*/ 828389 h 888872"/>
                <a:gd name="connsiteX1" fmla="*/ 1363218 w 1578101"/>
                <a:gd name="connsiteY1" fmla="*/ 888873 h 888872"/>
                <a:gd name="connsiteX2" fmla="*/ 1012793 w 1578101"/>
                <a:gd name="connsiteY2" fmla="*/ 888873 h 888872"/>
                <a:gd name="connsiteX3" fmla="*/ 797909 w 1578101"/>
                <a:gd name="connsiteY3" fmla="*/ 887063 h 888872"/>
                <a:gd name="connsiteX4" fmla="*/ 797909 w 1578101"/>
                <a:gd name="connsiteY4" fmla="*/ 792004 h 888872"/>
                <a:gd name="connsiteX5" fmla="*/ 727900 w 1578101"/>
                <a:gd name="connsiteY5" fmla="*/ 721995 h 888872"/>
                <a:gd name="connsiteX6" fmla="*/ 398716 w 1578101"/>
                <a:gd name="connsiteY6" fmla="*/ 721995 h 888872"/>
                <a:gd name="connsiteX7" fmla="*/ 317945 w 1578101"/>
                <a:gd name="connsiteY7" fmla="*/ 647509 h 888872"/>
                <a:gd name="connsiteX8" fmla="*/ 248126 w 1578101"/>
                <a:gd name="connsiteY8" fmla="*/ 583120 h 888872"/>
                <a:gd name="connsiteX9" fmla="*/ 132683 w 1578101"/>
                <a:gd name="connsiteY9" fmla="*/ 583120 h 888872"/>
                <a:gd name="connsiteX10" fmla="*/ 83153 w 1578101"/>
                <a:gd name="connsiteY10" fmla="*/ 583120 h 888872"/>
                <a:gd name="connsiteX11" fmla="*/ 0 w 1578101"/>
                <a:gd name="connsiteY11" fmla="*/ 583120 h 888872"/>
                <a:gd name="connsiteX12" fmla="*/ 0 w 1578101"/>
                <a:gd name="connsiteY12" fmla="*/ 60484 h 888872"/>
                <a:gd name="connsiteX13" fmla="*/ 60484 w 1578101"/>
                <a:gd name="connsiteY13" fmla="*/ 0 h 888872"/>
                <a:gd name="connsiteX14" fmla="*/ 1420939 w 1578101"/>
                <a:gd name="connsiteY14" fmla="*/ 0 h 888872"/>
                <a:gd name="connsiteX15" fmla="*/ 1420939 w 1578101"/>
                <a:gd name="connsiteY15" fmla="*/ 338328 h 888872"/>
                <a:gd name="connsiteX16" fmla="*/ 1420939 w 1578101"/>
                <a:gd name="connsiteY16" fmla="*/ 390716 h 888872"/>
                <a:gd name="connsiteX17" fmla="*/ 1481423 w 1578101"/>
                <a:gd name="connsiteY17" fmla="*/ 451199 h 888872"/>
                <a:gd name="connsiteX18" fmla="*/ 1575721 w 1578101"/>
                <a:gd name="connsiteY18" fmla="*/ 451199 h 888872"/>
                <a:gd name="connsiteX19" fmla="*/ 1578102 w 1578101"/>
                <a:gd name="connsiteY19" fmla="*/ 729996 h 888872"/>
                <a:gd name="connsiteX20" fmla="*/ 1496282 w 1578101"/>
                <a:gd name="connsiteY20" fmla="*/ 729996 h 888872"/>
                <a:gd name="connsiteX21" fmla="*/ 1423797 w 1578101"/>
                <a:gd name="connsiteY21" fmla="*/ 797624 h 888872"/>
                <a:gd name="connsiteX22" fmla="*/ 1423702 w 1578101"/>
                <a:gd name="connsiteY22" fmla="*/ 828389 h 88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8101" h="888872">
                  <a:moveTo>
                    <a:pt x="1423702" y="828389"/>
                  </a:moveTo>
                  <a:cubicBezTo>
                    <a:pt x="1423511" y="861632"/>
                    <a:pt x="1396460" y="888873"/>
                    <a:pt x="1363218" y="888873"/>
                  </a:cubicBezTo>
                  <a:lnTo>
                    <a:pt x="1012793" y="888873"/>
                  </a:lnTo>
                  <a:lnTo>
                    <a:pt x="797909" y="887063"/>
                  </a:lnTo>
                  <a:lnTo>
                    <a:pt x="797909" y="792004"/>
                  </a:lnTo>
                  <a:cubicBezTo>
                    <a:pt x="797909" y="753523"/>
                    <a:pt x="766381" y="721995"/>
                    <a:pt x="727900" y="721995"/>
                  </a:cubicBezTo>
                  <a:lnTo>
                    <a:pt x="398716" y="721995"/>
                  </a:lnTo>
                  <a:cubicBezTo>
                    <a:pt x="356425" y="721995"/>
                    <a:pt x="321373" y="689705"/>
                    <a:pt x="317945" y="647509"/>
                  </a:cubicBezTo>
                  <a:cubicBezTo>
                    <a:pt x="315087" y="611600"/>
                    <a:pt x="284797" y="583120"/>
                    <a:pt x="248126" y="583120"/>
                  </a:cubicBezTo>
                  <a:lnTo>
                    <a:pt x="132683" y="583120"/>
                  </a:lnTo>
                  <a:lnTo>
                    <a:pt x="83153" y="583120"/>
                  </a:lnTo>
                  <a:lnTo>
                    <a:pt x="0" y="583120"/>
                  </a:lnTo>
                  <a:lnTo>
                    <a:pt x="0" y="60484"/>
                  </a:lnTo>
                  <a:cubicBezTo>
                    <a:pt x="0" y="27242"/>
                    <a:pt x="27241" y="0"/>
                    <a:pt x="60484" y="0"/>
                  </a:cubicBezTo>
                  <a:lnTo>
                    <a:pt x="1420939" y="0"/>
                  </a:lnTo>
                  <a:lnTo>
                    <a:pt x="1420939" y="338328"/>
                  </a:lnTo>
                  <a:lnTo>
                    <a:pt x="1420939" y="390716"/>
                  </a:lnTo>
                  <a:cubicBezTo>
                    <a:pt x="1420939" y="423958"/>
                    <a:pt x="1448181" y="451199"/>
                    <a:pt x="1481423" y="451199"/>
                  </a:cubicBezTo>
                  <a:lnTo>
                    <a:pt x="1575721" y="451199"/>
                  </a:lnTo>
                  <a:lnTo>
                    <a:pt x="1578102" y="729996"/>
                  </a:lnTo>
                  <a:lnTo>
                    <a:pt x="1496282" y="729996"/>
                  </a:lnTo>
                  <a:cubicBezTo>
                    <a:pt x="1457801" y="729996"/>
                    <a:pt x="1423988" y="759047"/>
                    <a:pt x="1423797" y="797624"/>
                  </a:cubicBezTo>
                  <a:lnTo>
                    <a:pt x="1423702" y="828389"/>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62" name="Freeform: Shape 61">
              <a:extLst>
                <a:ext uri="{FF2B5EF4-FFF2-40B4-BE49-F238E27FC236}">
                  <a16:creationId xmlns:a16="http://schemas.microsoft.com/office/drawing/2014/main" id="{97E700EE-8996-4E37-AAEB-1EB990B7019B}"/>
                </a:ext>
              </a:extLst>
            </p:cNvPr>
            <p:cNvSpPr/>
            <p:nvPr/>
          </p:nvSpPr>
          <p:spPr>
            <a:xfrm>
              <a:off x="2589388" y="2358278"/>
              <a:ext cx="1112234" cy="1175003"/>
            </a:xfrm>
            <a:custGeom>
              <a:avLst/>
              <a:gdLst>
                <a:gd name="connsiteX0" fmla="*/ 162115 w 1112234"/>
                <a:gd name="connsiteY0" fmla="*/ 371475 h 1175003"/>
                <a:gd name="connsiteX1" fmla="*/ 162115 w 1112234"/>
                <a:gd name="connsiteY1" fmla="*/ 164402 h 1175003"/>
                <a:gd name="connsiteX2" fmla="*/ 219837 w 1112234"/>
                <a:gd name="connsiteY2" fmla="*/ 164116 h 1175003"/>
                <a:gd name="connsiteX3" fmla="*/ 246412 w 1112234"/>
                <a:gd name="connsiteY3" fmla="*/ 164116 h 1175003"/>
                <a:gd name="connsiteX4" fmla="*/ 322802 w 1112234"/>
                <a:gd name="connsiteY4" fmla="*/ 87725 h 1175003"/>
                <a:gd name="connsiteX5" fmla="*/ 322802 w 1112234"/>
                <a:gd name="connsiteY5" fmla="*/ 69723 h 1175003"/>
                <a:gd name="connsiteX6" fmla="*/ 279844 w 1112234"/>
                <a:gd name="connsiteY6" fmla="*/ 1143 h 1175003"/>
                <a:gd name="connsiteX7" fmla="*/ 876872 w 1112234"/>
                <a:gd name="connsiteY7" fmla="*/ 0 h 1175003"/>
                <a:gd name="connsiteX8" fmla="*/ 948309 w 1112234"/>
                <a:gd name="connsiteY8" fmla="*/ 69723 h 1175003"/>
                <a:gd name="connsiteX9" fmla="*/ 948309 w 1112234"/>
                <a:gd name="connsiteY9" fmla="*/ 87725 h 1175003"/>
                <a:gd name="connsiteX10" fmla="*/ 1024699 w 1112234"/>
                <a:gd name="connsiteY10" fmla="*/ 164116 h 1175003"/>
                <a:gd name="connsiteX11" fmla="*/ 1051274 w 1112234"/>
                <a:gd name="connsiteY11" fmla="*/ 164116 h 1175003"/>
                <a:gd name="connsiteX12" fmla="*/ 1112234 w 1112234"/>
                <a:gd name="connsiteY12" fmla="*/ 133636 h 1175003"/>
                <a:gd name="connsiteX13" fmla="*/ 1112234 w 1112234"/>
                <a:gd name="connsiteY13" fmla="*/ 584263 h 1175003"/>
                <a:gd name="connsiteX14" fmla="*/ 861346 w 1112234"/>
                <a:gd name="connsiteY14" fmla="*/ 584263 h 1175003"/>
                <a:gd name="connsiteX15" fmla="*/ 791337 w 1112234"/>
                <a:gd name="connsiteY15" fmla="*/ 654272 h 1175003"/>
                <a:gd name="connsiteX16" fmla="*/ 791337 w 1112234"/>
                <a:gd name="connsiteY16" fmla="*/ 678656 h 1175003"/>
                <a:gd name="connsiteX17" fmla="*/ 861346 w 1112234"/>
                <a:gd name="connsiteY17" fmla="*/ 748665 h 1175003"/>
                <a:gd name="connsiteX18" fmla="*/ 865441 w 1112234"/>
                <a:gd name="connsiteY18" fmla="*/ 748665 h 1175003"/>
                <a:gd name="connsiteX19" fmla="*/ 946213 w 1112234"/>
                <a:gd name="connsiteY19" fmla="*/ 823150 h 1175003"/>
                <a:gd name="connsiteX20" fmla="*/ 1016032 w 1112234"/>
                <a:gd name="connsiteY20" fmla="*/ 887539 h 1175003"/>
                <a:gd name="connsiteX21" fmla="*/ 1032796 w 1112234"/>
                <a:gd name="connsiteY21" fmla="*/ 887539 h 1175003"/>
                <a:gd name="connsiteX22" fmla="*/ 1112234 w 1112234"/>
                <a:gd name="connsiteY22" fmla="*/ 952786 h 1175003"/>
                <a:gd name="connsiteX23" fmla="*/ 1112234 w 1112234"/>
                <a:gd name="connsiteY23" fmla="*/ 1103948 h 1175003"/>
                <a:gd name="connsiteX24" fmla="*/ 1042225 w 1112234"/>
                <a:gd name="connsiteY24" fmla="*/ 1173956 h 1175003"/>
                <a:gd name="connsiteX25" fmla="*/ 743236 w 1112234"/>
                <a:gd name="connsiteY25" fmla="*/ 1173956 h 1175003"/>
                <a:gd name="connsiteX26" fmla="*/ 735330 w 1112234"/>
                <a:gd name="connsiteY26" fmla="*/ 1174337 h 1175003"/>
                <a:gd name="connsiteX27" fmla="*/ 720757 w 1112234"/>
                <a:gd name="connsiteY27" fmla="*/ 1175004 h 1175003"/>
                <a:gd name="connsiteX28" fmla="*/ 162782 w 1112234"/>
                <a:gd name="connsiteY28" fmla="*/ 1175004 h 1175003"/>
                <a:gd name="connsiteX29" fmla="*/ 162782 w 1112234"/>
                <a:gd name="connsiteY29" fmla="*/ 1111853 h 1175003"/>
                <a:gd name="connsiteX30" fmla="*/ 81820 w 1112234"/>
                <a:gd name="connsiteY30" fmla="*/ 1030891 h 1175003"/>
                <a:gd name="connsiteX31" fmla="*/ 70009 w 1112234"/>
                <a:gd name="connsiteY31" fmla="*/ 1030891 h 1175003"/>
                <a:gd name="connsiteX32" fmla="*/ 0 w 1112234"/>
                <a:gd name="connsiteY32" fmla="*/ 960882 h 1175003"/>
                <a:gd name="connsiteX33" fmla="*/ 0 w 1112234"/>
                <a:gd name="connsiteY33" fmla="*/ 522446 h 1175003"/>
                <a:gd name="connsiteX34" fmla="*/ 70009 w 1112234"/>
                <a:gd name="connsiteY34" fmla="*/ 452438 h 1175003"/>
                <a:gd name="connsiteX35" fmla="*/ 81153 w 1112234"/>
                <a:gd name="connsiteY35" fmla="*/ 452438 h 1175003"/>
                <a:gd name="connsiteX36" fmla="*/ 162115 w 1112234"/>
                <a:gd name="connsiteY36" fmla="*/ 371475 h 1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12234" h="1175003">
                  <a:moveTo>
                    <a:pt x="162115" y="371475"/>
                  </a:moveTo>
                  <a:lnTo>
                    <a:pt x="162115" y="164402"/>
                  </a:lnTo>
                  <a:lnTo>
                    <a:pt x="219837" y="164116"/>
                  </a:lnTo>
                  <a:lnTo>
                    <a:pt x="246412" y="164116"/>
                  </a:lnTo>
                  <a:cubicBezTo>
                    <a:pt x="288417" y="164116"/>
                    <a:pt x="322802" y="129730"/>
                    <a:pt x="322802" y="87725"/>
                  </a:cubicBezTo>
                  <a:lnTo>
                    <a:pt x="322802" y="69723"/>
                  </a:lnTo>
                  <a:cubicBezTo>
                    <a:pt x="322802" y="39719"/>
                    <a:pt x="305181" y="13621"/>
                    <a:pt x="279844" y="1143"/>
                  </a:cubicBezTo>
                  <a:cubicBezTo>
                    <a:pt x="462439" y="1143"/>
                    <a:pt x="695897" y="0"/>
                    <a:pt x="876872" y="0"/>
                  </a:cubicBezTo>
                  <a:cubicBezTo>
                    <a:pt x="939736" y="1524"/>
                    <a:pt x="948309" y="38767"/>
                    <a:pt x="948309" y="69723"/>
                  </a:cubicBezTo>
                  <a:lnTo>
                    <a:pt x="948309" y="87725"/>
                  </a:lnTo>
                  <a:cubicBezTo>
                    <a:pt x="948309" y="129730"/>
                    <a:pt x="982694" y="164116"/>
                    <a:pt x="1024699" y="164116"/>
                  </a:cubicBezTo>
                  <a:lnTo>
                    <a:pt x="1051274" y="164116"/>
                  </a:lnTo>
                  <a:cubicBezTo>
                    <a:pt x="1076134" y="164116"/>
                    <a:pt x="1098232" y="152114"/>
                    <a:pt x="1112234" y="133636"/>
                  </a:cubicBezTo>
                  <a:lnTo>
                    <a:pt x="1112234" y="584263"/>
                  </a:lnTo>
                  <a:lnTo>
                    <a:pt x="861346" y="584263"/>
                  </a:lnTo>
                  <a:cubicBezTo>
                    <a:pt x="822865" y="584263"/>
                    <a:pt x="791337" y="615791"/>
                    <a:pt x="791337" y="654272"/>
                  </a:cubicBezTo>
                  <a:lnTo>
                    <a:pt x="791337" y="678656"/>
                  </a:lnTo>
                  <a:cubicBezTo>
                    <a:pt x="791337" y="717137"/>
                    <a:pt x="822865" y="748665"/>
                    <a:pt x="861346" y="748665"/>
                  </a:cubicBezTo>
                  <a:lnTo>
                    <a:pt x="865441" y="748665"/>
                  </a:lnTo>
                  <a:cubicBezTo>
                    <a:pt x="907828" y="748665"/>
                    <a:pt x="942784" y="780955"/>
                    <a:pt x="946213" y="823150"/>
                  </a:cubicBezTo>
                  <a:cubicBezTo>
                    <a:pt x="949071" y="859060"/>
                    <a:pt x="979360" y="887539"/>
                    <a:pt x="1016032" y="887539"/>
                  </a:cubicBezTo>
                  <a:lnTo>
                    <a:pt x="1032796" y="887539"/>
                  </a:lnTo>
                  <a:cubicBezTo>
                    <a:pt x="1072039" y="887539"/>
                    <a:pt x="1104900" y="915638"/>
                    <a:pt x="1112234" y="952786"/>
                  </a:cubicBezTo>
                  <a:lnTo>
                    <a:pt x="1112234" y="1103948"/>
                  </a:lnTo>
                  <a:cubicBezTo>
                    <a:pt x="1112234" y="1142429"/>
                    <a:pt x="1080706" y="1173956"/>
                    <a:pt x="1042225" y="1173956"/>
                  </a:cubicBezTo>
                  <a:lnTo>
                    <a:pt x="743236" y="1173956"/>
                  </a:lnTo>
                  <a:cubicBezTo>
                    <a:pt x="740473" y="1173956"/>
                    <a:pt x="738092" y="1174052"/>
                    <a:pt x="735330" y="1174337"/>
                  </a:cubicBezTo>
                  <a:cubicBezTo>
                    <a:pt x="730567" y="1174814"/>
                    <a:pt x="725710" y="1175004"/>
                    <a:pt x="720757" y="1175004"/>
                  </a:cubicBezTo>
                  <a:lnTo>
                    <a:pt x="162782" y="1175004"/>
                  </a:lnTo>
                  <a:lnTo>
                    <a:pt x="162782" y="1111853"/>
                  </a:lnTo>
                  <a:cubicBezTo>
                    <a:pt x="162782" y="1067276"/>
                    <a:pt x="126397" y="1030891"/>
                    <a:pt x="81820" y="1030891"/>
                  </a:cubicBezTo>
                  <a:lnTo>
                    <a:pt x="70009" y="1030891"/>
                  </a:lnTo>
                  <a:cubicBezTo>
                    <a:pt x="31528" y="1030891"/>
                    <a:pt x="0" y="999363"/>
                    <a:pt x="0" y="960882"/>
                  </a:cubicBezTo>
                  <a:lnTo>
                    <a:pt x="0" y="522446"/>
                  </a:lnTo>
                  <a:cubicBezTo>
                    <a:pt x="0" y="483965"/>
                    <a:pt x="31528" y="452438"/>
                    <a:pt x="70009" y="452438"/>
                  </a:cubicBezTo>
                  <a:lnTo>
                    <a:pt x="81153" y="452438"/>
                  </a:lnTo>
                  <a:cubicBezTo>
                    <a:pt x="125730" y="452438"/>
                    <a:pt x="162115" y="416052"/>
                    <a:pt x="162115" y="371475"/>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63" name="Freeform: Shape 62">
              <a:extLst>
                <a:ext uri="{FF2B5EF4-FFF2-40B4-BE49-F238E27FC236}">
                  <a16:creationId xmlns:a16="http://schemas.microsoft.com/office/drawing/2014/main" id="{6413D5FD-88A1-4E99-8BF3-01C6F0698E93}"/>
                </a:ext>
              </a:extLst>
            </p:cNvPr>
            <p:cNvSpPr/>
            <p:nvPr/>
          </p:nvSpPr>
          <p:spPr>
            <a:xfrm>
              <a:off x="2763124" y="1790874"/>
              <a:ext cx="304800" cy="536924"/>
            </a:xfrm>
            <a:custGeom>
              <a:avLst/>
              <a:gdLst>
                <a:gd name="connsiteX0" fmla="*/ 303657 w 304800"/>
                <a:gd name="connsiteY0" fmla="*/ 536639 h 536924"/>
                <a:gd name="connsiteX1" fmla="*/ 304800 w 304800"/>
                <a:gd name="connsiteY1" fmla="*/ 57626 h 536924"/>
                <a:gd name="connsiteX2" fmla="*/ 247174 w 304800"/>
                <a:gd name="connsiteY2" fmla="*/ 0 h 536924"/>
                <a:gd name="connsiteX3" fmla="*/ 227076 w 304800"/>
                <a:gd name="connsiteY3" fmla="*/ 0 h 536924"/>
                <a:gd name="connsiteX4" fmla="*/ 169450 w 304800"/>
                <a:gd name="connsiteY4" fmla="*/ 57626 h 536924"/>
                <a:gd name="connsiteX5" fmla="*/ 169450 w 304800"/>
                <a:gd name="connsiteY5" fmla="*/ 66866 h 536924"/>
                <a:gd name="connsiteX6" fmla="*/ 88487 w 304800"/>
                <a:gd name="connsiteY6" fmla="*/ 147828 h 536924"/>
                <a:gd name="connsiteX7" fmla="*/ 76390 w 304800"/>
                <a:gd name="connsiteY7" fmla="*/ 147828 h 536924"/>
                <a:gd name="connsiteX8" fmla="*/ 0 w 304800"/>
                <a:gd name="connsiteY8" fmla="*/ 224219 h 536924"/>
                <a:gd name="connsiteX9" fmla="*/ 0 w 304800"/>
                <a:gd name="connsiteY9" fmla="*/ 432340 h 536924"/>
                <a:gd name="connsiteX10" fmla="*/ 0 w 304800"/>
                <a:gd name="connsiteY10" fmla="*/ 434531 h 536924"/>
                <a:gd name="connsiteX11" fmla="*/ 0 w 304800"/>
                <a:gd name="connsiteY11" fmla="*/ 439579 h 536924"/>
                <a:gd name="connsiteX12" fmla="*/ 0 w 304800"/>
                <a:gd name="connsiteY12" fmla="*/ 441770 h 536924"/>
                <a:gd name="connsiteX13" fmla="*/ 0 w 304800"/>
                <a:gd name="connsiteY13" fmla="*/ 459772 h 536924"/>
                <a:gd name="connsiteX14" fmla="*/ 76390 w 304800"/>
                <a:gd name="connsiteY14" fmla="*/ 536162 h 536924"/>
                <a:gd name="connsiteX15" fmla="*/ 94107 w 304800"/>
                <a:gd name="connsiteY15" fmla="*/ 536162 h 536924"/>
                <a:gd name="connsiteX16" fmla="*/ 117824 w 304800"/>
                <a:gd name="connsiteY16" fmla="*/ 536924 h 536924"/>
                <a:gd name="connsiteX17" fmla="*/ 303657 w 304800"/>
                <a:gd name="connsiteY17" fmla="*/ 536639 h 53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536924">
                  <a:moveTo>
                    <a:pt x="303657" y="536639"/>
                  </a:moveTo>
                  <a:lnTo>
                    <a:pt x="304800" y="57626"/>
                  </a:lnTo>
                  <a:cubicBezTo>
                    <a:pt x="304800" y="25908"/>
                    <a:pt x="278892" y="0"/>
                    <a:pt x="247174" y="0"/>
                  </a:cubicBezTo>
                  <a:lnTo>
                    <a:pt x="227076" y="0"/>
                  </a:lnTo>
                  <a:cubicBezTo>
                    <a:pt x="195358" y="0"/>
                    <a:pt x="169450" y="25908"/>
                    <a:pt x="169450" y="57626"/>
                  </a:cubicBezTo>
                  <a:lnTo>
                    <a:pt x="169450" y="66866"/>
                  </a:lnTo>
                  <a:cubicBezTo>
                    <a:pt x="169450" y="111443"/>
                    <a:pt x="133064" y="147828"/>
                    <a:pt x="88487" y="147828"/>
                  </a:cubicBezTo>
                  <a:lnTo>
                    <a:pt x="76390" y="147828"/>
                  </a:lnTo>
                  <a:cubicBezTo>
                    <a:pt x="34385" y="147828"/>
                    <a:pt x="0" y="182213"/>
                    <a:pt x="0" y="224219"/>
                  </a:cubicBezTo>
                  <a:lnTo>
                    <a:pt x="0" y="432340"/>
                  </a:lnTo>
                  <a:cubicBezTo>
                    <a:pt x="0" y="433102"/>
                    <a:pt x="0" y="433864"/>
                    <a:pt x="0" y="434531"/>
                  </a:cubicBezTo>
                  <a:cubicBezTo>
                    <a:pt x="95" y="436340"/>
                    <a:pt x="95" y="437864"/>
                    <a:pt x="0" y="439579"/>
                  </a:cubicBezTo>
                  <a:cubicBezTo>
                    <a:pt x="0" y="440341"/>
                    <a:pt x="0" y="441008"/>
                    <a:pt x="0" y="441770"/>
                  </a:cubicBezTo>
                  <a:lnTo>
                    <a:pt x="0" y="459772"/>
                  </a:lnTo>
                  <a:cubicBezTo>
                    <a:pt x="0" y="501777"/>
                    <a:pt x="34385" y="536162"/>
                    <a:pt x="76390" y="536162"/>
                  </a:cubicBezTo>
                  <a:lnTo>
                    <a:pt x="94107" y="536162"/>
                  </a:lnTo>
                  <a:cubicBezTo>
                    <a:pt x="102775" y="536162"/>
                    <a:pt x="108871" y="536924"/>
                    <a:pt x="117824" y="536924"/>
                  </a:cubicBezTo>
                  <a:cubicBezTo>
                    <a:pt x="176022" y="536924"/>
                    <a:pt x="238982" y="536829"/>
                    <a:pt x="303657" y="53663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64" name="Freeform: Shape 63">
              <a:extLst>
                <a:ext uri="{FF2B5EF4-FFF2-40B4-BE49-F238E27FC236}">
                  <a16:creationId xmlns:a16="http://schemas.microsoft.com/office/drawing/2014/main" id="{D11FD7DF-3CC7-4E66-9DD8-A15D26C32876}"/>
                </a:ext>
              </a:extLst>
            </p:cNvPr>
            <p:cNvSpPr/>
            <p:nvPr/>
          </p:nvSpPr>
          <p:spPr>
            <a:xfrm>
              <a:off x="3109262" y="2015378"/>
              <a:ext cx="266318" cy="238580"/>
            </a:xfrm>
            <a:custGeom>
              <a:avLst/>
              <a:gdLst>
                <a:gd name="connsiteX0" fmla="*/ 208693 w 266318"/>
                <a:gd name="connsiteY0" fmla="*/ 71533 h 238580"/>
                <a:gd name="connsiteX1" fmla="*/ 188690 w 266318"/>
                <a:gd name="connsiteY1" fmla="*/ 71533 h 238580"/>
                <a:gd name="connsiteX2" fmla="*/ 183547 w 266318"/>
                <a:gd name="connsiteY2" fmla="*/ 71818 h 238580"/>
                <a:gd name="connsiteX3" fmla="*/ 183547 w 266318"/>
                <a:gd name="connsiteY3" fmla="*/ 15907 h 238580"/>
                <a:gd name="connsiteX4" fmla="*/ 148876 w 266318"/>
                <a:gd name="connsiteY4" fmla="*/ 286 h 238580"/>
                <a:gd name="connsiteX5" fmla="*/ 136779 w 266318"/>
                <a:gd name="connsiteY5" fmla="*/ 286 h 238580"/>
                <a:gd name="connsiteX6" fmla="*/ 46006 w 266318"/>
                <a:gd name="connsiteY6" fmla="*/ 0 h 238580"/>
                <a:gd name="connsiteX7" fmla="*/ 0 w 266318"/>
                <a:gd name="connsiteY7" fmla="*/ 46006 h 238580"/>
                <a:gd name="connsiteX8" fmla="*/ 0 w 266318"/>
                <a:gd name="connsiteY8" fmla="*/ 134969 h 238580"/>
                <a:gd name="connsiteX9" fmla="*/ 0 w 266318"/>
                <a:gd name="connsiteY9" fmla="*/ 174403 h 238580"/>
                <a:gd name="connsiteX10" fmla="*/ 0 w 266318"/>
                <a:gd name="connsiteY10" fmla="*/ 177451 h 238580"/>
                <a:gd name="connsiteX11" fmla="*/ 0 w 266318"/>
                <a:gd name="connsiteY11" fmla="*/ 178784 h 238580"/>
                <a:gd name="connsiteX12" fmla="*/ 0 w 266318"/>
                <a:gd name="connsiteY12" fmla="*/ 189643 h 238580"/>
                <a:gd name="connsiteX13" fmla="*/ 48768 w 266318"/>
                <a:gd name="connsiteY13" fmla="*/ 238411 h 238580"/>
                <a:gd name="connsiteX14" fmla="*/ 56674 w 266318"/>
                <a:gd name="connsiteY14" fmla="*/ 238411 h 238580"/>
                <a:gd name="connsiteX15" fmla="*/ 180213 w 266318"/>
                <a:gd name="connsiteY15" fmla="*/ 238411 h 238580"/>
                <a:gd name="connsiteX16" fmla="*/ 188690 w 266318"/>
                <a:gd name="connsiteY16" fmla="*/ 238411 h 238580"/>
                <a:gd name="connsiteX17" fmla="*/ 208693 w 266318"/>
                <a:gd name="connsiteY17" fmla="*/ 238411 h 238580"/>
                <a:gd name="connsiteX18" fmla="*/ 266319 w 266318"/>
                <a:gd name="connsiteY18" fmla="*/ 180784 h 238580"/>
                <a:gd name="connsiteX19" fmla="*/ 266319 w 266318"/>
                <a:gd name="connsiteY19" fmla="*/ 129159 h 238580"/>
                <a:gd name="connsiteX20" fmla="*/ 208693 w 266318"/>
                <a:gd name="connsiteY20" fmla="*/ 71533 h 2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318" h="238580">
                  <a:moveTo>
                    <a:pt x="208693" y="71533"/>
                  </a:moveTo>
                  <a:lnTo>
                    <a:pt x="188690" y="71533"/>
                  </a:lnTo>
                  <a:cubicBezTo>
                    <a:pt x="186976" y="71533"/>
                    <a:pt x="185261" y="71628"/>
                    <a:pt x="183547" y="71818"/>
                  </a:cubicBezTo>
                  <a:lnTo>
                    <a:pt x="183547" y="15907"/>
                  </a:lnTo>
                  <a:cubicBezTo>
                    <a:pt x="183547" y="-3143"/>
                    <a:pt x="167926" y="286"/>
                    <a:pt x="148876" y="286"/>
                  </a:cubicBezTo>
                  <a:lnTo>
                    <a:pt x="136779" y="286"/>
                  </a:lnTo>
                  <a:cubicBezTo>
                    <a:pt x="117729" y="286"/>
                    <a:pt x="46006" y="0"/>
                    <a:pt x="46006" y="0"/>
                  </a:cubicBezTo>
                  <a:cubicBezTo>
                    <a:pt x="20669" y="0"/>
                    <a:pt x="0" y="20669"/>
                    <a:pt x="0" y="46006"/>
                  </a:cubicBezTo>
                  <a:lnTo>
                    <a:pt x="0" y="134969"/>
                  </a:lnTo>
                  <a:cubicBezTo>
                    <a:pt x="0" y="135446"/>
                    <a:pt x="0" y="173926"/>
                    <a:pt x="0" y="174403"/>
                  </a:cubicBezTo>
                  <a:cubicBezTo>
                    <a:pt x="0" y="175450"/>
                    <a:pt x="0" y="176403"/>
                    <a:pt x="0" y="177451"/>
                  </a:cubicBezTo>
                  <a:cubicBezTo>
                    <a:pt x="0" y="177927"/>
                    <a:pt x="0" y="178308"/>
                    <a:pt x="0" y="178784"/>
                  </a:cubicBezTo>
                  <a:lnTo>
                    <a:pt x="0" y="189643"/>
                  </a:lnTo>
                  <a:cubicBezTo>
                    <a:pt x="0" y="216503"/>
                    <a:pt x="22003" y="238411"/>
                    <a:pt x="48768" y="238411"/>
                  </a:cubicBezTo>
                  <a:lnTo>
                    <a:pt x="56674" y="238411"/>
                  </a:lnTo>
                  <a:cubicBezTo>
                    <a:pt x="61913" y="238411"/>
                    <a:pt x="142494" y="238506"/>
                    <a:pt x="180213" y="238411"/>
                  </a:cubicBezTo>
                  <a:cubicBezTo>
                    <a:pt x="182975" y="238792"/>
                    <a:pt x="185833" y="238411"/>
                    <a:pt x="188690" y="238411"/>
                  </a:cubicBezTo>
                  <a:lnTo>
                    <a:pt x="208693" y="238411"/>
                  </a:lnTo>
                  <a:cubicBezTo>
                    <a:pt x="240411" y="238411"/>
                    <a:pt x="266319" y="212503"/>
                    <a:pt x="266319" y="180784"/>
                  </a:cubicBezTo>
                  <a:lnTo>
                    <a:pt x="266319" y="129159"/>
                  </a:lnTo>
                  <a:cubicBezTo>
                    <a:pt x="266319" y="97441"/>
                    <a:pt x="240411" y="71533"/>
                    <a:pt x="208693" y="71533"/>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65" name="Freeform: Shape 64">
              <a:extLst>
                <a:ext uri="{FF2B5EF4-FFF2-40B4-BE49-F238E27FC236}">
                  <a16:creationId xmlns:a16="http://schemas.microsoft.com/office/drawing/2014/main" id="{5533A543-785C-48BD-ADF0-7CBB79F446CD}"/>
                </a:ext>
              </a:extLst>
            </p:cNvPr>
            <p:cNvSpPr/>
            <p:nvPr/>
          </p:nvSpPr>
          <p:spPr>
            <a:xfrm>
              <a:off x="2926191" y="4271089"/>
              <a:ext cx="135255" cy="274415"/>
            </a:xfrm>
            <a:custGeom>
              <a:avLst/>
              <a:gdLst>
                <a:gd name="connsiteX0" fmla="*/ 57626 w 135255"/>
                <a:gd name="connsiteY0" fmla="*/ 274415 h 274415"/>
                <a:gd name="connsiteX1" fmla="*/ 77629 w 135255"/>
                <a:gd name="connsiteY1" fmla="*/ 274415 h 274415"/>
                <a:gd name="connsiteX2" fmla="*/ 135255 w 135255"/>
                <a:gd name="connsiteY2" fmla="*/ 216789 h 274415"/>
                <a:gd name="connsiteX3" fmla="*/ 135255 w 135255"/>
                <a:gd name="connsiteY3" fmla="*/ 57626 h 274415"/>
                <a:gd name="connsiteX4" fmla="*/ 77629 w 135255"/>
                <a:gd name="connsiteY4" fmla="*/ 0 h 274415"/>
                <a:gd name="connsiteX5" fmla="*/ 57626 w 135255"/>
                <a:gd name="connsiteY5" fmla="*/ 0 h 274415"/>
                <a:gd name="connsiteX6" fmla="*/ 0 w 135255"/>
                <a:gd name="connsiteY6" fmla="*/ 57626 h 274415"/>
                <a:gd name="connsiteX7" fmla="*/ 0 w 135255"/>
                <a:gd name="connsiteY7" fmla="*/ 216789 h 274415"/>
                <a:gd name="connsiteX8" fmla="*/ 57626 w 135255"/>
                <a:gd name="connsiteY8" fmla="*/ 274415 h 27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5" h="274415">
                  <a:moveTo>
                    <a:pt x="57626" y="274415"/>
                  </a:moveTo>
                  <a:lnTo>
                    <a:pt x="77629" y="274415"/>
                  </a:lnTo>
                  <a:cubicBezTo>
                    <a:pt x="109347" y="274415"/>
                    <a:pt x="135255" y="248507"/>
                    <a:pt x="135255" y="216789"/>
                  </a:cubicBezTo>
                  <a:lnTo>
                    <a:pt x="135255" y="57626"/>
                  </a:lnTo>
                  <a:cubicBezTo>
                    <a:pt x="135255" y="25908"/>
                    <a:pt x="109347" y="0"/>
                    <a:pt x="77629" y="0"/>
                  </a:cubicBezTo>
                  <a:lnTo>
                    <a:pt x="57626" y="0"/>
                  </a:lnTo>
                  <a:cubicBezTo>
                    <a:pt x="25908" y="0"/>
                    <a:pt x="0" y="25908"/>
                    <a:pt x="0" y="57626"/>
                  </a:cubicBezTo>
                  <a:lnTo>
                    <a:pt x="0" y="216789"/>
                  </a:lnTo>
                  <a:cubicBezTo>
                    <a:pt x="0" y="248412"/>
                    <a:pt x="25908" y="274415"/>
                    <a:pt x="57626" y="274415"/>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66" name="Freeform: Shape 65">
              <a:extLst>
                <a:ext uri="{FF2B5EF4-FFF2-40B4-BE49-F238E27FC236}">
                  <a16:creationId xmlns:a16="http://schemas.microsoft.com/office/drawing/2014/main" id="{DF251ECA-FFEA-4F2C-9464-2E5641CE9989}"/>
                </a:ext>
              </a:extLst>
            </p:cNvPr>
            <p:cNvSpPr/>
            <p:nvPr/>
          </p:nvSpPr>
          <p:spPr>
            <a:xfrm>
              <a:off x="2129520" y="2520773"/>
              <a:ext cx="621982" cy="435008"/>
            </a:xfrm>
            <a:custGeom>
              <a:avLst/>
              <a:gdLst>
                <a:gd name="connsiteX0" fmla="*/ 331280 w 621982"/>
                <a:gd name="connsiteY0" fmla="*/ 2 h 435008"/>
                <a:gd name="connsiteX1" fmla="*/ 247841 w 621982"/>
                <a:gd name="connsiteY1" fmla="*/ 83441 h 435008"/>
                <a:gd name="connsiteX2" fmla="*/ 247841 w 621982"/>
                <a:gd name="connsiteY2" fmla="*/ 146592 h 435008"/>
                <a:gd name="connsiteX3" fmla="*/ 83439 w 621982"/>
                <a:gd name="connsiteY3" fmla="*/ 146592 h 435008"/>
                <a:gd name="connsiteX4" fmla="*/ 0 w 621982"/>
                <a:gd name="connsiteY4" fmla="*/ 230030 h 435008"/>
                <a:gd name="connsiteX5" fmla="*/ 0 w 621982"/>
                <a:gd name="connsiteY5" fmla="*/ 283751 h 435008"/>
                <a:gd name="connsiteX6" fmla="*/ 232410 w 621982"/>
                <a:gd name="connsiteY6" fmla="*/ 283751 h 435008"/>
                <a:gd name="connsiteX7" fmla="*/ 315849 w 621982"/>
                <a:gd name="connsiteY7" fmla="*/ 367190 h 435008"/>
                <a:gd name="connsiteX8" fmla="*/ 393001 w 621982"/>
                <a:gd name="connsiteY8" fmla="*/ 435009 h 435008"/>
                <a:gd name="connsiteX9" fmla="*/ 459867 w 621982"/>
                <a:gd name="connsiteY9" fmla="*/ 434437 h 435008"/>
                <a:gd name="connsiteX10" fmla="*/ 459867 w 621982"/>
                <a:gd name="connsiteY10" fmla="*/ 360142 h 435008"/>
                <a:gd name="connsiteX11" fmla="*/ 529876 w 621982"/>
                <a:gd name="connsiteY11" fmla="*/ 290133 h 435008"/>
                <a:gd name="connsiteX12" fmla="*/ 541020 w 621982"/>
                <a:gd name="connsiteY12" fmla="*/ 290133 h 435008"/>
                <a:gd name="connsiteX13" fmla="*/ 621983 w 621982"/>
                <a:gd name="connsiteY13" fmla="*/ 209171 h 435008"/>
                <a:gd name="connsiteX14" fmla="*/ 621983 w 621982"/>
                <a:gd name="connsiteY14" fmla="*/ 2097 h 435008"/>
                <a:gd name="connsiteX15" fmla="*/ 331280 w 621982"/>
                <a:gd name="connsiteY15" fmla="*/ 2 h 43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1982" h="435008">
                  <a:moveTo>
                    <a:pt x="331280" y="2"/>
                  </a:moveTo>
                  <a:cubicBezTo>
                    <a:pt x="285369" y="-284"/>
                    <a:pt x="247841" y="37530"/>
                    <a:pt x="247841" y="83441"/>
                  </a:cubicBezTo>
                  <a:lnTo>
                    <a:pt x="247841" y="146592"/>
                  </a:lnTo>
                  <a:lnTo>
                    <a:pt x="83439" y="146592"/>
                  </a:lnTo>
                  <a:cubicBezTo>
                    <a:pt x="37529" y="146592"/>
                    <a:pt x="0" y="184120"/>
                    <a:pt x="0" y="230030"/>
                  </a:cubicBezTo>
                  <a:lnTo>
                    <a:pt x="0" y="283751"/>
                  </a:lnTo>
                  <a:lnTo>
                    <a:pt x="232410" y="283751"/>
                  </a:lnTo>
                  <a:cubicBezTo>
                    <a:pt x="278321" y="283751"/>
                    <a:pt x="315849" y="321280"/>
                    <a:pt x="315849" y="367190"/>
                  </a:cubicBezTo>
                  <a:cubicBezTo>
                    <a:pt x="312706" y="406052"/>
                    <a:pt x="339947" y="427103"/>
                    <a:pt x="393001" y="435009"/>
                  </a:cubicBezTo>
                  <a:lnTo>
                    <a:pt x="459867" y="434437"/>
                  </a:lnTo>
                  <a:lnTo>
                    <a:pt x="459867" y="360142"/>
                  </a:lnTo>
                  <a:cubicBezTo>
                    <a:pt x="459867" y="321661"/>
                    <a:pt x="491395" y="290133"/>
                    <a:pt x="529876" y="290133"/>
                  </a:cubicBezTo>
                  <a:lnTo>
                    <a:pt x="541020" y="290133"/>
                  </a:lnTo>
                  <a:cubicBezTo>
                    <a:pt x="585597" y="290133"/>
                    <a:pt x="621983" y="253748"/>
                    <a:pt x="621983" y="209171"/>
                  </a:cubicBezTo>
                  <a:lnTo>
                    <a:pt x="621983" y="2097"/>
                  </a:lnTo>
                  <a:lnTo>
                    <a:pt x="331280" y="2"/>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67" name="Freeform: Shape 66">
              <a:extLst>
                <a:ext uri="{FF2B5EF4-FFF2-40B4-BE49-F238E27FC236}">
                  <a16:creationId xmlns:a16="http://schemas.microsoft.com/office/drawing/2014/main" id="{18B987F5-EBC0-43E8-B606-0AC7F7AE8A40}"/>
                </a:ext>
              </a:extLst>
            </p:cNvPr>
            <p:cNvSpPr/>
            <p:nvPr/>
          </p:nvSpPr>
          <p:spPr>
            <a:xfrm>
              <a:off x="1962262" y="2804429"/>
              <a:ext cx="627126" cy="447484"/>
            </a:xfrm>
            <a:custGeom>
              <a:avLst/>
              <a:gdLst>
                <a:gd name="connsiteX0" fmla="*/ 627126 w 627126"/>
                <a:gd name="connsiteY0" fmla="*/ 447485 h 447484"/>
                <a:gd name="connsiteX1" fmla="*/ 627126 w 627126"/>
                <a:gd name="connsiteY1" fmla="*/ 150686 h 447484"/>
                <a:gd name="connsiteX2" fmla="*/ 560260 w 627126"/>
                <a:gd name="connsiteY2" fmla="*/ 151257 h 447484"/>
                <a:gd name="connsiteX3" fmla="*/ 483108 w 627126"/>
                <a:gd name="connsiteY3" fmla="*/ 83439 h 447484"/>
                <a:gd name="connsiteX4" fmla="*/ 399669 w 627126"/>
                <a:gd name="connsiteY4" fmla="*/ 0 h 447484"/>
                <a:gd name="connsiteX5" fmla="*/ 168212 w 627126"/>
                <a:gd name="connsiteY5" fmla="*/ 0 h 447484"/>
                <a:gd name="connsiteX6" fmla="*/ 168212 w 627126"/>
                <a:gd name="connsiteY6" fmla="*/ 69437 h 447484"/>
                <a:gd name="connsiteX7" fmla="*/ 84106 w 627126"/>
                <a:gd name="connsiteY7" fmla="*/ 158401 h 447484"/>
                <a:gd name="connsiteX8" fmla="*/ 0 w 627126"/>
                <a:gd name="connsiteY8" fmla="*/ 158401 h 447484"/>
                <a:gd name="connsiteX9" fmla="*/ 381 w 627126"/>
                <a:gd name="connsiteY9" fmla="*/ 212788 h 447484"/>
                <a:gd name="connsiteX10" fmla="*/ 83820 w 627126"/>
                <a:gd name="connsiteY10" fmla="*/ 296228 h 447484"/>
                <a:gd name="connsiteX11" fmla="*/ 225457 w 627126"/>
                <a:gd name="connsiteY11" fmla="*/ 296228 h 447484"/>
                <a:gd name="connsiteX12" fmla="*/ 318421 w 627126"/>
                <a:gd name="connsiteY12" fmla="*/ 364046 h 447484"/>
                <a:gd name="connsiteX13" fmla="*/ 401860 w 627126"/>
                <a:gd name="connsiteY13" fmla="*/ 447485 h 447484"/>
                <a:gd name="connsiteX14" fmla="*/ 627126 w 627126"/>
                <a:gd name="connsiteY14" fmla="*/ 447485 h 44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7126" h="447484">
                  <a:moveTo>
                    <a:pt x="627126" y="447485"/>
                  </a:moveTo>
                  <a:lnTo>
                    <a:pt x="627126" y="150686"/>
                  </a:lnTo>
                  <a:lnTo>
                    <a:pt x="560260" y="151257"/>
                  </a:lnTo>
                  <a:cubicBezTo>
                    <a:pt x="507301" y="143351"/>
                    <a:pt x="479965" y="122301"/>
                    <a:pt x="483108" y="83439"/>
                  </a:cubicBezTo>
                  <a:cubicBezTo>
                    <a:pt x="483108" y="37529"/>
                    <a:pt x="445580" y="0"/>
                    <a:pt x="399669" y="0"/>
                  </a:cubicBezTo>
                  <a:lnTo>
                    <a:pt x="168212" y="0"/>
                  </a:lnTo>
                  <a:lnTo>
                    <a:pt x="168212" y="69437"/>
                  </a:lnTo>
                  <a:cubicBezTo>
                    <a:pt x="168212" y="115348"/>
                    <a:pt x="130016" y="158401"/>
                    <a:pt x="84106" y="158401"/>
                  </a:cubicBezTo>
                  <a:lnTo>
                    <a:pt x="0" y="158401"/>
                  </a:lnTo>
                  <a:lnTo>
                    <a:pt x="381" y="212788"/>
                  </a:lnTo>
                  <a:cubicBezTo>
                    <a:pt x="667" y="258699"/>
                    <a:pt x="37909" y="296228"/>
                    <a:pt x="83820" y="296228"/>
                  </a:cubicBezTo>
                  <a:lnTo>
                    <a:pt x="225457" y="296228"/>
                  </a:lnTo>
                  <a:cubicBezTo>
                    <a:pt x="307753" y="293180"/>
                    <a:pt x="320326" y="324993"/>
                    <a:pt x="318421" y="364046"/>
                  </a:cubicBezTo>
                  <a:cubicBezTo>
                    <a:pt x="318421" y="409956"/>
                    <a:pt x="355949" y="447485"/>
                    <a:pt x="401860" y="447485"/>
                  </a:cubicBezTo>
                  <a:lnTo>
                    <a:pt x="627126" y="447485"/>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68" name="Freeform: Shape 67">
              <a:extLst>
                <a:ext uri="{FF2B5EF4-FFF2-40B4-BE49-F238E27FC236}">
                  <a16:creationId xmlns:a16="http://schemas.microsoft.com/office/drawing/2014/main" id="{4BAD3166-2690-4E5E-BEB1-1C4DA794B9C2}"/>
                </a:ext>
              </a:extLst>
            </p:cNvPr>
            <p:cNvSpPr/>
            <p:nvPr/>
          </p:nvSpPr>
          <p:spPr>
            <a:xfrm>
              <a:off x="2437369" y="3095990"/>
              <a:ext cx="152019" cy="156019"/>
            </a:xfrm>
            <a:custGeom>
              <a:avLst/>
              <a:gdLst>
                <a:gd name="connsiteX0" fmla="*/ 152019 w 152019"/>
                <a:gd name="connsiteY0" fmla="*/ 0 h 156019"/>
                <a:gd name="connsiteX1" fmla="*/ 57626 w 152019"/>
                <a:gd name="connsiteY1" fmla="*/ 0 h 156019"/>
                <a:gd name="connsiteX2" fmla="*/ 0 w 152019"/>
                <a:gd name="connsiteY2" fmla="*/ 57626 h 156019"/>
                <a:gd name="connsiteX3" fmla="*/ 0 w 152019"/>
                <a:gd name="connsiteY3" fmla="*/ 156019 h 156019"/>
                <a:gd name="connsiteX4" fmla="*/ 152019 w 152019"/>
                <a:gd name="connsiteY4" fmla="*/ 156019 h 156019"/>
                <a:gd name="connsiteX5" fmla="*/ 152019 w 152019"/>
                <a:gd name="connsiteY5" fmla="*/ 0 h 15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019" h="156019">
                  <a:moveTo>
                    <a:pt x="152019" y="0"/>
                  </a:moveTo>
                  <a:lnTo>
                    <a:pt x="57626" y="0"/>
                  </a:lnTo>
                  <a:cubicBezTo>
                    <a:pt x="25908" y="0"/>
                    <a:pt x="0" y="25908"/>
                    <a:pt x="0" y="57626"/>
                  </a:cubicBezTo>
                  <a:lnTo>
                    <a:pt x="0" y="156019"/>
                  </a:lnTo>
                  <a:lnTo>
                    <a:pt x="152019" y="156019"/>
                  </a:lnTo>
                  <a:lnTo>
                    <a:pt x="152019"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69" name="Freeform: Shape 68">
              <a:extLst>
                <a:ext uri="{FF2B5EF4-FFF2-40B4-BE49-F238E27FC236}">
                  <a16:creationId xmlns:a16="http://schemas.microsoft.com/office/drawing/2014/main" id="{3F5D6D0C-AA48-4000-8CF4-536B6532A88B}"/>
                </a:ext>
              </a:extLst>
            </p:cNvPr>
            <p:cNvSpPr/>
            <p:nvPr/>
          </p:nvSpPr>
          <p:spPr>
            <a:xfrm>
              <a:off x="866029" y="2961973"/>
              <a:ext cx="1885569" cy="1438655"/>
            </a:xfrm>
            <a:custGeom>
              <a:avLst/>
              <a:gdLst>
                <a:gd name="connsiteX0" fmla="*/ 945452 w 1885569"/>
                <a:gd name="connsiteY0" fmla="*/ 114776 h 1438655"/>
                <a:gd name="connsiteX1" fmla="*/ 945452 w 1885569"/>
                <a:gd name="connsiteY1" fmla="*/ 205835 h 1438655"/>
                <a:gd name="connsiteX2" fmla="*/ 864489 w 1885569"/>
                <a:gd name="connsiteY2" fmla="*/ 286798 h 1438655"/>
                <a:gd name="connsiteX3" fmla="*/ 558165 w 1885569"/>
                <a:gd name="connsiteY3" fmla="*/ 286798 h 1438655"/>
                <a:gd name="connsiteX4" fmla="*/ 475393 w 1885569"/>
                <a:gd name="connsiteY4" fmla="*/ 359759 h 1438655"/>
                <a:gd name="connsiteX5" fmla="*/ 395002 w 1885569"/>
                <a:gd name="connsiteY5" fmla="*/ 430530 h 1438655"/>
                <a:gd name="connsiteX6" fmla="*/ 57626 w 1885569"/>
                <a:gd name="connsiteY6" fmla="*/ 430530 h 1438655"/>
                <a:gd name="connsiteX7" fmla="*/ 0 w 1885569"/>
                <a:gd name="connsiteY7" fmla="*/ 488156 h 1438655"/>
                <a:gd name="connsiteX8" fmla="*/ 0 w 1885569"/>
                <a:gd name="connsiteY8" fmla="*/ 508159 h 1438655"/>
                <a:gd name="connsiteX9" fmla="*/ 57626 w 1885569"/>
                <a:gd name="connsiteY9" fmla="*/ 565785 h 1438655"/>
                <a:gd name="connsiteX10" fmla="*/ 222885 w 1885569"/>
                <a:gd name="connsiteY10" fmla="*/ 565785 h 1438655"/>
                <a:gd name="connsiteX11" fmla="*/ 303848 w 1885569"/>
                <a:gd name="connsiteY11" fmla="*/ 645890 h 1438655"/>
                <a:gd name="connsiteX12" fmla="*/ 361474 w 1885569"/>
                <a:gd name="connsiteY12" fmla="*/ 702850 h 1438655"/>
                <a:gd name="connsiteX13" fmla="*/ 550736 w 1885569"/>
                <a:gd name="connsiteY13" fmla="*/ 702850 h 1438655"/>
                <a:gd name="connsiteX14" fmla="*/ 631698 w 1885569"/>
                <a:gd name="connsiteY14" fmla="*/ 783812 h 1438655"/>
                <a:gd name="connsiteX15" fmla="*/ 631698 w 1885569"/>
                <a:gd name="connsiteY15" fmla="*/ 924687 h 1438655"/>
                <a:gd name="connsiteX16" fmla="*/ 550736 w 1885569"/>
                <a:gd name="connsiteY16" fmla="*/ 1005649 h 1438655"/>
                <a:gd name="connsiteX17" fmla="*/ 536257 w 1885569"/>
                <a:gd name="connsiteY17" fmla="*/ 1005649 h 1438655"/>
                <a:gd name="connsiteX18" fmla="*/ 478631 w 1885569"/>
                <a:gd name="connsiteY18" fmla="*/ 1063276 h 1438655"/>
                <a:gd name="connsiteX19" fmla="*/ 478631 w 1885569"/>
                <a:gd name="connsiteY19" fmla="*/ 1220914 h 1438655"/>
                <a:gd name="connsiteX20" fmla="*/ 397669 w 1885569"/>
                <a:gd name="connsiteY20" fmla="*/ 1301877 h 1438655"/>
                <a:gd name="connsiteX21" fmla="*/ 883634 w 1885569"/>
                <a:gd name="connsiteY21" fmla="*/ 1301877 h 1438655"/>
                <a:gd name="connsiteX22" fmla="*/ 941261 w 1885569"/>
                <a:gd name="connsiteY22" fmla="*/ 1359503 h 1438655"/>
                <a:gd name="connsiteX23" fmla="*/ 941261 w 1885569"/>
                <a:gd name="connsiteY23" fmla="*/ 1380363 h 1438655"/>
                <a:gd name="connsiteX24" fmla="*/ 941546 w 1885569"/>
                <a:gd name="connsiteY24" fmla="*/ 1380363 h 1438655"/>
                <a:gd name="connsiteX25" fmla="*/ 941546 w 1885569"/>
                <a:gd name="connsiteY25" fmla="*/ 1381030 h 1438655"/>
                <a:gd name="connsiteX26" fmla="*/ 999173 w 1885569"/>
                <a:gd name="connsiteY26" fmla="*/ 1438656 h 1438655"/>
                <a:gd name="connsiteX27" fmla="*/ 1261110 w 1885569"/>
                <a:gd name="connsiteY27" fmla="*/ 1438656 h 1438655"/>
                <a:gd name="connsiteX28" fmla="*/ 1261110 w 1885569"/>
                <a:gd name="connsiteY28" fmla="*/ 1362647 h 1438655"/>
                <a:gd name="connsiteX29" fmla="*/ 1318736 w 1885569"/>
                <a:gd name="connsiteY29" fmla="*/ 1305020 h 1438655"/>
                <a:gd name="connsiteX30" fmla="*/ 1765459 w 1885569"/>
                <a:gd name="connsiteY30" fmla="*/ 1305020 h 1438655"/>
                <a:gd name="connsiteX31" fmla="*/ 1785557 w 1885569"/>
                <a:gd name="connsiteY31" fmla="*/ 1304544 h 1438655"/>
                <a:gd name="connsiteX32" fmla="*/ 1827181 w 1885569"/>
                <a:gd name="connsiteY32" fmla="*/ 1303115 h 1438655"/>
                <a:gd name="connsiteX33" fmla="*/ 1884807 w 1885569"/>
                <a:gd name="connsiteY33" fmla="*/ 1245489 h 1438655"/>
                <a:gd name="connsiteX34" fmla="*/ 1885093 w 1885569"/>
                <a:gd name="connsiteY34" fmla="*/ 865251 h 1438655"/>
                <a:gd name="connsiteX35" fmla="*/ 1789367 w 1885569"/>
                <a:gd name="connsiteY35" fmla="*/ 865251 h 1438655"/>
                <a:gd name="connsiteX36" fmla="*/ 1731740 w 1885569"/>
                <a:gd name="connsiteY36" fmla="*/ 807625 h 1438655"/>
                <a:gd name="connsiteX37" fmla="*/ 1731740 w 1885569"/>
                <a:gd name="connsiteY37" fmla="*/ 629983 h 1438655"/>
                <a:gd name="connsiteX38" fmla="*/ 1789367 w 1885569"/>
                <a:gd name="connsiteY38" fmla="*/ 572357 h 1438655"/>
                <a:gd name="connsiteX39" fmla="*/ 1885474 w 1885569"/>
                <a:gd name="connsiteY39" fmla="*/ 572357 h 1438655"/>
                <a:gd name="connsiteX40" fmla="*/ 1885569 w 1885569"/>
                <a:gd name="connsiteY40" fmla="*/ 495967 h 1438655"/>
                <a:gd name="connsiteX41" fmla="*/ 1805464 w 1885569"/>
                <a:gd name="connsiteY41" fmla="*/ 427101 h 1438655"/>
                <a:gd name="connsiteX42" fmla="*/ 1793653 w 1885569"/>
                <a:gd name="connsiteY42" fmla="*/ 427101 h 1438655"/>
                <a:gd name="connsiteX43" fmla="*/ 1723644 w 1885569"/>
                <a:gd name="connsiteY43" fmla="*/ 357092 h 1438655"/>
                <a:gd name="connsiteX44" fmla="*/ 1723644 w 1885569"/>
                <a:gd name="connsiteY44" fmla="*/ 289750 h 1438655"/>
                <a:gd name="connsiteX45" fmla="*/ 1498378 w 1885569"/>
                <a:gd name="connsiteY45" fmla="*/ 289750 h 1438655"/>
                <a:gd name="connsiteX46" fmla="*/ 1417225 w 1885569"/>
                <a:gd name="connsiteY46" fmla="*/ 225742 h 1438655"/>
                <a:gd name="connsiteX47" fmla="*/ 1415034 w 1885569"/>
                <a:gd name="connsiteY47" fmla="*/ 204025 h 1438655"/>
                <a:gd name="connsiteX48" fmla="*/ 1323308 w 1885569"/>
                <a:gd name="connsiteY48" fmla="*/ 138398 h 1438655"/>
                <a:gd name="connsiteX49" fmla="*/ 1320641 w 1885569"/>
                <a:gd name="connsiteY49" fmla="*/ 138398 h 1438655"/>
                <a:gd name="connsiteX50" fmla="*/ 1180338 w 1885569"/>
                <a:gd name="connsiteY50" fmla="*/ 138398 h 1438655"/>
                <a:gd name="connsiteX51" fmla="*/ 1121950 w 1885569"/>
                <a:gd name="connsiteY51" fmla="*/ 114490 h 1438655"/>
                <a:gd name="connsiteX52" fmla="*/ 1121950 w 1885569"/>
                <a:gd name="connsiteY52" fmla="*/ 114490 h 1438655"/>
                <a:gd name="connsiteX53" fmla="*/ 1115092 w 1885569"/>
                <a:gd name="connsiteY53" fmla="*/ 106966 h 1438655"/>
                <a:gd name="connsiteX54" fmla="*/ 1114616 w 1885569"/>
                <a:gd name="connsiteY54" fmla="*/ 106299 h 1438655"/>
                <a:gd name="connsiteX55" fmla="*/ 1114520 w 1885569"/>
                <a:gd name="connsiteY55" fmla="*/ 106204 h 1438655"/>
                <a:gd name="connsiteX56" fmla="*/ 1114425 w 1885569"/>
                <a:gd name="connsiteY56" fmla="*/ 106108 h 1438655"/>
                <a:gd name="connsiteX57" fmla="*/ 1109853 w 1885569"/>
                <a:gd name="connsiteY57" fmla="*/ 99631 h 1438655"/>
                <a:gd name="connsiteX58" fmla="*/ 1109853 w 1885569"/>
                <a:gd name="connsiteY58" fmla="*/ 99631 h 1438655"/>
                <a:gd name="connsiteX59" fmla="*/ 1108805 w 1885569"/>
                <a:gd name="connsiteY59" fmla="*/ 97917 h 1438655"/>
                <a:gd name="connsiteX60" fmla="*/ 1108805 w 1885569"/>
                <a:gd name="connsiteY60" fmla="*/ 97822 h 1438655"/>
                <a:gd name="connsiteX61" fmla="*/ 1108424 w 1885569"/>
                <a:gd name="connsiteY61" fmla="*/ 97155 h 1438655"/>
                <a:gd name="connsiteX62" fmla="*/ 1108329 w 1885569"/>
                <a:gd name="connsiteY62" fmla="*/ 96964 h 1438655"/>
                <a:gd name="connsiteX63" fmla="*/ 1107853 w 1885569"/>
                <a:gd name="connsiteY63" fmla="*/ 96107 h 1438655"/>
                <a:gd name="connsiteX64" fmla="*/ 1107853 w 1885569"/>
                <a:gd name="connsiteY64" fmla="*/ 96107 h 1438655"/>
                <a:gd name="connsiteX65" fmla="*/ 1107377 w 1885569"/>
                <a:gd name="connsiteY65" fmla="*/ 95250 h 1438655"/>
                <a:gd name="connsiteX66" fmla="*/ 1107377 w 1885569"/>
                <a:gd name="connsiteY66" fmla="*/ 95250 h 1438655"/>
                <a:gd name="connsiteX67" fmla="*/ 1106996 w 1885569"/>
                <a:gd name="connsiteY67" fmla="*/ 94488 h 1438655"/>
                <a:gd name="connsiteX68" fmla="*/ 1106900 w 1885569"/>
                <a:gd name="connsiteY68" fmla="*/ 94393 h 1438655"/>
                <a:gd name="connsiteX69" fmla="*/ 1106424 w 1885569"/>
                <a:gd name="connsiteY69" fmla="*/ 93536 h 1438655"/>
                <a:gd name="connsiteX70" fmla="*/ 1106424 w 1885569"/>
                <a:gd name="connsiteY70" fmla="*/ 93440 h 1438655"/>
                <a:gd name="connsiteX71" fmla="*/ 1106329 w 1885569"/>
                <a:gd name="connsiteY71" fmla="*/ 93154 h 1438655"/>
                <a:gd name="connsiteX72" fmla="*/ 1105948 w 1885569"/>
                <a:gd name="connsiteY72" fmla="*/ 92392 h 1438655"/>
                <a:gd name="connsiteX73" fmla="*/ 1105567 w 1885569"/>
                <a:gd name="connsiteY73" fmla="*/ 91630 h 1438655"/>
                <a:gd name="connsiteX74" fmla="*/ 1105091 w 1885569"/>
                <a:gd name="connsiteY74" fmla="*/ 90678 h 1438655"/>
                <a:gd name="connsiteX75" fmla="*/ 1104995 w 1885569"/>
                <a:gd name="connsiteY75" fmla="*/ 90583 h 1438655"/>
                <a:gd name="connsiteX76" fmla="*/ 1104614 w 1885569"/>
                <a:gd name="connsiteY76" fmla="*/ 89821 h 1438655"/>
                <a:gd name="connsiteX77" fmla="*/ 1104614 w 1885569"/>
                <a:gd name="connsiteY77" fmla="*/ 89821 h 1438655"/>
                <a:gd name="connsiteX78" fmla="*/ 1104233 w 1885569"/>
                <a:gd name="connsiteY78" fmla="*/ 88963 h 1438655"/>
                <a:gd name="connsiteX79" fmla="*/ 1104233 w 1885569"/>
                <a:gd name="connsiteY79" fmla="*/ 88963 h 1438655"/>
                <a:gd name="connsiteX80" fmla="*/ 1103852 w 1885569"/>
                <a:gd name="connsiteY80" fmla="*/ 88011 h 1438655"/>
                <a:gd name="connsiteX81" fmla="*/ 1103662 w 1885569"/>
                <a:gd name="connsiteY81" fmla="*/ 87535 h 1438655"/>
                <a:gd name="connsiteX82" fmla="*/ 1103281 w 1885569"/>
                <a:gd name="connsiteY82" fmla="*/ 86582 h 1438655"/>
                <a:gd name="connsiteX83" fmla="*/ 1103186 w 1885569"/>
                <a:gd name="connsiteY83" fmla="*/ 86392 h 1438655"/>
                <a:gd name="connsiteX84" fmla="*/ 1102614 w 1885569"/>
                <a:gd name="connsiteY84" fmla="*/ 84963 h 1438655"/>
                <a:gd name="connsiteX85" fmla="*/ 1102424 w 1885569"/>
                <a:gd name="connsiteY85" fmla="*/ 84582 h 1438655"/>
                <a:gd name="connsiteX86" fmla="*/ 1097090 w 1885569"/>
                <a:gd name="connsiteY86" fmla="*/ 55245 h 1438655"/>
                <a:gd name="connsiteX87" fmla="*/ 1097090 w 1885569"/>
                <a:gd name="connsiteY87" fmla="*/ 0 h 1438655"/>
                <a:gd name="connsiteX88" fmla="*/ 1029367 w 1885569"/>
                <a:gd name="connsiteY88" fmla="*/ 0 h 1438655"/>
                <a:gd name="connsiteX89" fmla="*/ 945928 w 1885569"/>
                <a:gd name="connsiteY89" fmla="*/ 83439 h 1438655"/>
                <a:gd name="connsiteX90" fmla="*/ 945452 w 1885569"/>
                <a:gd name="connsiteY90" fmla="*/ 114776 h 1438655"/>
                <a:gd name="connsiteX91" fmla="*/ 945452 w 1885569"/>
                <a:gd name="connsiteY91" fmla="*/ 114776 h 143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885569" h="1438655">
                  <a:moveTo>
                    <a:pt x="945452" y="114776"/>
                  </a:moveTo>
                  <a:lnTo>
                    <a:pt x="945452" y="205835"/>
                  </a:lnTo>
                  <a:cubicBezTo>
                    <a:pt x="945452" y="250412"/>
                    <a:pt x="909066" y="286798"/>
                    <a:pt x="864489" y="286798"/>
                  </a:cubicBezTo>
                  <a:lnTo>
                    <a:pt x="558165" y="286798"/>
                  </a:lnTo>
                  <a:cubicBezTo>
                    <a:pt x="515874" y="286798"/>
                    <a:pt x="480632" y="318706"/>
                    <a:pt x="475393" y="359759"/>
                  </a:cubicBezTo>
                  <a:cubicBezTo>
                    <a:pt x="470249" y="400431"/>
                    <a:pt x="436055" y="430530"/>
                    <a:pt x="395002" y="430530"/>
                  </a:cubicBezTo>
                  <a:lnTo>
                    <a:pt x="57626" y="430530"/>
                  </a:lnTo>
                  <a:cubicBezTo>
                    <a:pt x="25908" y="430530"/>
                    <a:pt x="0" y="456438"/>
                    <a:pt x="0" y="488156"/>
                  </a:cubicBezTo>
                  <a:lnTo>
                    <a:pt x="0" y="508159"/>
                  </a:lnTo>
                  <a:cubicBezTo>
                    <a:pt x="0" y="539877"/>
                    <a:pt x="25908" y="565785"/>
                    <a:pt x="57626" y="565785"/>
                  </a:cubicBezTo>
                  <a:lnTo>
                    <a:pt x="222885" y="565785"/>
                  </a:lnTo>
                  <a:cubicBezTo>
                    <a:pt x="267176" y="565785"/>
                    <a:pt x="303371" y="601599"/>
                    <a:pt x="303848" y="645890"/>
                  </a:cubicBezTo>
                  <a:cubicBezTo>
                    <a:pt x="304229" y="677323"/>
                    <a:pt x="329946" y="702850"/>
                    <a:pt x="361474" y="702850"/>
                  </a:cubicBezTo>
                  <a:lnTo>
                    <a:pt x="550736" y="702850"/>
                  </a:lnTo>
                  <a:cubicBezTo>
                    <a:pt x="595313" y="702850"/>
                    <a:pt x="631698" y="739235"/>
                    <a:pt x="631698" y="783812"/>
                  </a:cubicBezTo>
                  <a:lnTo>
                    <a:pt x="631698" y="924687"/>
                  </a:lnTo>
                  <a:cubicBezTo>
                    <a:pt x="631698" y="969264"/>
                    <a:pt x="595313" y="1005649"/>
                    <a:pt x="550736" y="1005649"/>
                  </a:cubicBezTo>
                  <a:lnTo>
                    <a:pt x="536257" y="1005649"/>
                  </a:lnTo>
                  <a:cubicBezTo>
                    <a:pt x="504539" y="1005649"/>
                    <a:pt x="478631" y="1031557"/>
                    <a:pt x="478631" y="1063276"/>
                  </a:cubicBezTo>
                  <a:lnTo>
                    <a:pt x="478631" y="1220914"/>
                  </a:lnTo>
                  <a:cubicBezTo>
                    <a:pt x="478631" y="1265491"/>
                    <a:pt x="442246" y="1301877"/>
                    <a:pt x="397669" y="1301877"/>
                  </a:cubicBezTo>
                  <a:lnTo>
                    <a:pt x="883634" y="1301877"/>
                  </a:lnTo>
                  <a:cubicBezTo>
                    <a:pt x="915353" y="1301877"/>
                    <a:pt x="941261" y="1327785"/>
                    <a:pt x="941261" y="1359503"/>
                  </a:cubicBezTo>
                  <a:lnTo>
                    <a:pt x="941261" y="1380363"/>
                  </a:lnTo>
                  <a:lnTo>
                    <a:pt x="941546" y="1380363"/>
                  </a:lnTo>
                  <a:lnTo>
                    <a:pt x="941546" y="1381030"/>
                  </a:lnTo>
                  <a:cubicBezTo>
                    <a:pt x="941546" y="1412748"/>
                    <a:pt x="967454" y="1438656"/>
                    <a:pt x="999173" y="1438656"/>
                  </a:cubicBezTo>
                  <a:lnTo>
                    <a:pt x="1261110" y="1438656"/>
                  </a:lnTo>
                  <a:lnTo>
                    <a:pt x="1261110" y="1362647"/>
                  </a:lnTo>
                  <a:cubicBezTo>
                    <a:pt x="1261110" y="1330928"/>
                    <a:pt x="1287018" y="1305020"/>
                    <a:pt x="1318736" y="1305020"/>
                  </a:cubicBezTo>
                  <a:lnTo>
                    <a:pt x="1765459" y="1305020"/>
                  </a:lnTo>
                  <a:lnTo>
                    <a:pt x="1785557" y="1304544"/>
                  </a:lnTo>
                  <a:lnTo>
                    <a:pt x="1827181" y="1303115"/>
                  </a:lnTo>
                  <a:cubicBezTo>
                    <a:pt x="1858804" y="1302067"/>
                    <a:pt x="1884807" y="1277207"/>
                    <a:pt x="1884807" y="1245489"/>
                  </a:cubicBezTo>
                  <a:cubicBezTo>
                    <a:pt x="1884807" y="1118806"/>
                    <a:pt x="1884902" y="991933"/>
                    <a:pt x="1885093" y="865251"/>
                  </a:cubicBezTo>
                  <a:lnTo>
                    <a:pt x="1789367" y="865251"/>
                  </a:lnTo>
                  <a:cubicBezTo>
                    <a:pt x="1757648" y="865251"/>
                    <a:pt x="1731740" y="839343"/>
                    <a:pt x="1731740" y="807625"/>
                  </a:cubicBezTo>
                  <a:lnTo>
                    <a:pt x="1731740" y="629983"/>
                  </a:lnTo>
                  <a:cubicBezTo>
                    <a:pt x="1731740" y="598265"/>
                    <a:pt x="1757648" y="572357"/>
                    <a:pt x="1789367" y="572357"/>
                  </a:cubicBezTo>
                  <a:lnTo>
                    <a:pt x="1885474" y="572357"/>
                  </a:lnTo>
                  <a:lnTo>
                    <a:pt x="1885569" y="495967"/>
                  </a:lnTo>
                  <a:cubicBezTo>
                    <a:pt x="1879663" y="457009"/>
                    <a:pt x="1845945" y="427101"/>
                    <a:pt x="1805464" y="427101"/>
                  </a:cubicBezTo>
                  <a:lnTo>
                    <a:pt x="1793653" y="427101"/>
                  </a:lnTo>
                  <a:cubicBezTo>
                    <a:pt x="1755172" y="427101"/>
                    <a:pt x="1723644" y="395573"/>
                    <a:pt x="1723644" y="357092"/>
                  </a:cubicBezTo>
                  <a:lnTo>
                    <a:pt x="1723644" y="289750"/>
                  </a:lnTo>
                  <a:lnTo>
                    <a:pt x="1498378" y="289750"/>
                  </a:lnTo>
                  <a:cubicBezTo>
                    <a:pt x="1459135" y="289750"/>
                    <a:pt x="1426083" y="262318"/>
                    <a:pt x="1417225" y="225742"/>
                  </a:cubicBezTo>
                  <a:cubicBezTo>
                    <a:pt x="1415415" y="218313"/>
                    <a:pt x="1414748" y="211741"/>
                    <a:pt x="1415034" y="204025"/>
                  </a:cubicBezTo>
                  <a:cubicBezTo>
                    <a:pt x="1416272" y="166211"/>
                    <a:pt x="1402842" y="135826"/>
                    <a:pt x="1323308" y="138398"/>
                  </a:cubicBezTo>
                  <a:cubicBezTo>
                    <a:pt x="1322356" y="138398"/>
                    <a:pt x="1321594" y="138398"/>
                    <a:pt x="1320641" y="138398"/>
                  </a:cubicBezTo>
                  <a:lnTo>
                    <a:pt x="1180338" y="138398"/>
                  </a:lnTo>
                  <a:cubicBezTo>
                    <a:pt x="1157669" y="138398"/>
                    <a:pt x="1137095" y="129254"/>
                    <a:pt x="1121950" y="114490"/>
                  </a:cubicBezTo>
                  <a:lnTo>
                    <a:pt x="1121950" y="114490"/>
                  </a:lnTo>
                  <a:cubicBezTo>
                    <a:pt x="1119569" y="112109"/>
                    <a:pt x="1117283" y="109633"/>
                    <a:pt x="1115092" y="106966"/>
                  </a:cubicBezTo>
                  <a:lnTo>
                    <a:pt x="1114616" y="106299"/>
                  </a:lnTo>
                  <a:lnTo>
                    <a:pt x="1114520" y="106204"/>
                  </a:lnTo>
                  <a:lnTo>
                    <a:pt x="1114425" y="106108"/>
                  </a:lnTo>
                  <a:cubicBezTo>
                    <a:pt x="1112806" y="104013"/>
                    <a:pt x="1111282" y="101822"/>
                    <a:pt x="1109853" y="99631"/>
                  </a:cubicBezTo>
                  <a:lnTo>
                    <a:pt x="1109853" y="99631"/>
                  </a:lnTo>
                  <a:cubicBezTo>
                    <a:pt x="1109472" y="99060"/>
                    <a:pt x="1109186" y="98488"/>
                    <a:pt x="1108805" y="97917"/>
                  </a:cubicBezTo>
                  <a:lnTo>
                    <a:pt x="1108805" y="97822"/>
                  </a:lnTo>
                  <a:lnTo>
                    <a:pt x="1108424" y="97155"/>
                  </a:lnTo>
                  <a:lnTo>
                    <a:pt x="1108329" y="96964"/>
                  </a:lnTo>
                  <a:lnTo>
                    <a:pt x="1107853" y="96107"/>
                  </a:lnTo>
                  <a:lnTo>
                    <a:pt x="1107853" y="96107"/>
                  </a:lnTo>
                  <a:lnTo>
                    <a:pt x="1107377" y="95250"/>
                  </a:lnTo>
                  <a:lnTo>
                    <a:pt x="1107377" y="95250"/>
                  </a:lnTo>
                  <a:lnTo>
                    <a:pt x="1106996" y="94488"/>
                  </a:lnTo>
                  <a:lnTo>
                    <a:pt x="1106900" y="94393"/>
                  </a:lnTo>
                  <a:lnTo>
                    <a:pt x="1106424" y="93536"/>
                  </a:lnTo>
                  <a:lnTo>
                    <a:pt x="1106424" y="93440"/>
                  </a:lnTo>
                  <a:lnTo>
                    <a:pt x="1106329" y="93154"/>
                  </a:lnTo>
                  <a:lnTo>
                    <a:pt x="1105948" y="92392"/>
                  </a:lnTo>
                  <a:lnTo>
                    <a:pt x="1105567" y="91630"/>
                  </a:lnTo>
                  <a:lnTo>
                    <a:pt x="1105091" y="90678"/>
                  </a:lnTo>
                  <a:lnTo>
                    <a:pt x="1104995" y="90583"/>
                  </a:lnTo>
                  <a:lnTo>
                    <a:pt x="1104614" y="89821"/>
                  </a:lnTo>
                  <a:lnTo>
                    <a:pt x="1104614" y="89821"/>
                  </a:lnTo>
                  <a:lnTo>
                    <a:pt x="1104233" y="88963"/>
                  </a:lnTo>
                  <a:lnTo>
                    <a:pt x="1104233" y="88963"/>
                  </a:lnTo>
                  <a:lnTo>
                    <a:pt x="1103852" y="88011"/>
                  </a:lnTo>
                  <a:lnTo>
                    <a:pt x="1103662" y="87535"/>
                  </a:lnTo>
                  <a:lnTo>
                    <a:pt x="1103281" y="86582"/>
                  </a:lnTo>
                  <a:lnTo>
                    <a:pt x="1103186" y="86392"/>
                  </a:lnTo>
                  <a:lnTo>
                    <a:pt x="1102614" y="84963"/>
                  </a:lnTo>
                  <a:lnTo>
                    <a:pt x="1102424" y="84582"/>
                  </a:lnTo>
                  <a:cubicBezTo>
                    <a:pt x="1098995" y="75438"/>
                    <a:pt x="1097090" y="65532"/>
                    <a:pt x="1097090" y="55245"/>
                  </a:cubicBezTo>
                  <a:lnTo>
                    <a:pt x="1097090" y="0"/>
                  </a:lnTo>
                  <a:lnTo>
                    <a:pt x="1029367" y="0"/>
                  </a:lnTo>
                  <a:cubicBezTo>
                    <a:pt x="983456" y="0"/>
                    <a:pt x="945928" y="37529"/>
                    <a:pt x="945928" y="83439"/>
                  </a:cubicBezTo>
                  <a:lnTo>
                    <a:pt x="945452" y="114776"/>
                  </a:lnTo>
                  <a:lnTo>
                    <a:pt x="945452" y="114776"/>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70" name="Freeform: Shape 69">
              <a:extLst>
                <a:ext uri="{FF2B5EF4-FFF2-40B4-BE49-F238E27FC236}">
                  <a16:creationId xmlns:a16="http://schemas.microsoft.com/office/drawing/2014/main" id="{CE9D3C97-CCCA-4A9A-A7CB-D3860EDBD247}"/>
                </a:ext>
              </a:extLst>
            </p:cNvPr>
            <p:cNvSpPr/>
            <p:nvPr/>
          </p:nvSpPr>
          <p:spPr>
            <a:xfrm>
              <a:off x="1972549" y="4846494"/>
              <a:ext cx="135254" cy="128873"/>
            </a:xfrm>
            <a:custGeom>
              <a:avLst/>
              <a:gdLst>
                <a:gd name="connsiteX0" fmla="*/ 57626 w 135254"/>
                <a:gd name="connsiteY0" fmla="*/ 128874 h 128873"/>
                <a:gd name="connsiteX1" fmla="*/ 77629 w 135254"/>
                <a:gd name="connsiteY1" fmla="*/ 128874 h 128873"/>
                <a:gd name="connsiteX2" fmla="*/ 135255 w 135254"/>
                <a:gd name="connsiteY2" fmla="*/ 71247 h 128873"/>
                <a:gd name="connsiteX3" fmla="*/ 135255 w 135254"/>
                <a:gd name="connsiteY3" fmla="*/ 57626 h 128873"/>
                <a:gd name="connsiteX4" fmla="*/ 77629 w 135254"/>
                <a:gd name="connsiteY4" fmla="*/ 0 h 128873"/>
                <a:gd name="connsiteX5" fmla="*/ 57626 w 135254"/>
                <a:gd name="connsiteY5" fmla="*/ 0 h 128873"/>
                <a:gd name="connsiteX6" fmla="*/ 0 w 135254"/>
                <a:gd name="connsiteY6" fmla="*/ 57626 h 128873"/>
                <a:gd name="connsiteX7" fmla="*/ 0 w 135254"/>
                <a:gd name="connsiteY7" fmla="*/ 71247 h 128873"/>
                <a:gd name="connsiteX8" fmla="*/ 57626 w 135254"/>
                <a:gd name="connsiteY8" fmla="*/ 128874 h 12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4" h="128873">
                  <a:moveTo>
                    <a:pt x="57626" y="128874"/>
                  </a:moveTo>
                  <a:lnTo>
                    <a:pt x="77629" y="128874"/>
                  </a:lnTo>
                  <a:cubicBezTo>
                    <a:pt x="109347" y="128874"/>
                    <a:pt x="135255" y="102965"/>
                    <a:pt x="135255" y="71247"/>
                  </a:cubicBezTo>
                  <a:lnTo>
                    <a:pt x="135255" y="57626"/>
                  </a:lnTo>
                  <a:cubicBezTo>
                    <a:pt x="135255" y="25908"/>
                    <a:pt x="109347" y="0"/>
                    <a:pt x="77629" y="0"/>
                  </a:cubicBezTo>
                  <a:lnTo>
                    <a:pt x="57626" y="0"/>
                  </a:lnTo>
                  <a:cubicBezTo>
                    <a:pt x="25908" y="0"/>
                    <a:pt x="0" y="25908"/>
                    <a:pt x="0" y="57626"/>
                  </a:cubicBezTo>
                  <a:lnTo>
                    <a:pt x="0" y="71247"/>
                  </a:lnTo>
                  <a:cubicBezTo>
                    <a:pt x="0" y="102965"/>
                    <a:pt x="25908" y="128874"/>
                    <a:pt x="57626" y="128874"/>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71" name="Freeform: Shape 70">
              <a:extLst>
                <a:ext uri="{FF2B5EF4-FFF2-40B4-BE49-F238E27FC236}">
                  <a16:creationId xmlns:a16="http://schemas.microsoft.com/office/drawing/2014/main" id="{EB67E3B8-E59E-4483-8281-B69EA50C41F3}"/>
                </a:ext>
              </a:extLst>
            </p:cNvPr>
            <p:cNvSpPr/>
            <p:nvPr/>
          </p:nvSpPr>
          <p:spPr>
            <a:xfrm>
              <a:off x="2926191" y="4710763"/>
              <a:ext cx="299656" cy="417766"/>
            </a:xfrm>
            <a:custGeom>
              <a:avLst/>
              <a:gdLst>
                <a:gd name="connsiteX0" fmla="*/ 57626 w 299656"/>
                <a:gd name="connsiteY0" fmla="*/ 417767 h 417766"/>
                <a:gd name="connsiteX1" fmla="*/ 77629 w 299656"/>
                <a:gd name="connsiteY1" fmla="*/ 417767 h 417766"/>
                <a:gd name="connsiteX2" fmla="*/ 135255 w 299656"/>
                <a:gd name="connsiteY2" fmla="*/ 360140 h 417766"/>
                <a:gd name="connsiteX3" fmla="*/ 135255 w 299656"/>
                <a:gd name="connsiteY3" fmla="*/ 216217 h 417766"/>
                <a:gd name="connsiteX4" fmla="*/ 216218 w 299656"/>
                <a:gd name="connsiteY4" fmla="*/ 135255 h 417766"/>
                <a:gd name="connsiteX5" fmla="*/ 242030 w 299656"/>
                <a:gd name="connsiteY5" fmla="*/ 135255 h 417766"/>
                <a:gd name="connsiteX6" fmla="*/ 299656 w 299656"/>
                <a:gd name="connsiteY6" fmla="*/ 77629 h 417766"/>
                <a:gd name="connsiteX7" fmla="*/ 299656 w 299656"/>
                <a:gd name="connsiteY7" fmla="*/ 57626 h 417766"/>
                <a:gd name="connsiteX8" fmla="*/ 242030 w 299656"/>
                <a:gd name="connsiteY8" fmla="*/ 0 h 417766"/>
                <a:gd name="connsiteX9" fmla="*/ 77629 w 299656"/>
                <a:gd name="connsiteY9" fmla="*/ 0 h 417766"/>
                <a:gd name="connsiteX10" fmla="*/ 57626 w 299656"/>
                <a:gd name="connsiteY10" fmla="*/ 0 h 417766"/>
                <a:gd name="connsiteX11" fmla="*/ 56197 w 299656"/>
                <a:gd name="connsiteY11" fmla="*/ 0 h 417766"/>
                <a:gd name="connsiteX12" fmla="*/ 56197 w 299656"/>
                <a:gd name="connsiteY12" fmla="*/ 0 h 417766"/>
                <a:gd name="connsiteX13" fmla="*/ 54769 w 299656"/>
                <a:gd name="connsiteY13" fmla="*/ 95 h 417766"/>
                <a:gd name="connsiteX14" fmla="*/ 54769 w 299656"/>
                <a:gd name="connsiteY14" fmla="*/ 95 h 417766"/>
                <a:gd name="connsiteX15" fmla="*/ 53340 w 299656"/>
                <a:gd name="connsiteY15" fmla="*/ 190 h 417766"/>
                <a:gd name="connsiteX16" fmla="*/ 53340 w 299656"/>
                <a:gd name="connsiteY16" fmla="*/ 190 h 417766"/>
                <a:gd name="connsiteX17" fmla="*/ 51911 w 299656"/>
                <a:gd name="connsiteY17" fmla="*/ 286 h 417766"/>
                <a:gd name="connsiteX18" fmla="*/ 51911 w 299656"/>
                <a:gd name="connsiteY18" fmla="*/ 286 h 417766"/>
                <a:gd name="connsiteX19" fmla="*/ 50482 w 299656"/>
                <a:gd name="connsiteY19" fmla="*/ 476 h 417766"/>
                <a:gd name="connsiteX20" fmla="*/ 50482 w 299656"/>
                <a:gd name="connsiteY20" fmla="*/ 476 h 417766"/>
                <a:gd name="connsiteX21" fmla="*/ 49054 w 299656"/>
                <a:gd name="connsiteY21" fmla="*/ 667 h 417766"/>
                <a:gd name="connsiteX22" fmla="*/ 49054 w 299656"/>
                <a:gd name="connsiteY22" fmla="*/ 667 h 417766"/>
                <a:gd name="connsiteX23" fmla="*/ 47625 w 299656"/>
                <a:gd name="connsiteY23" fmla="*/ 857 h 417766"/>
                <a:gd name="connsiteX24" fmla="*/ 47625 w 299656"/>
                <a:gd name="connsiteY24" fmla="*/ 857 h 417766"/>
                <a:gd name="connsiteX25" fmla="*/ 46196 w 299656"/>
                <a:gd name="connsiteY25" fmla="*/ 1143 h 417766"/>
                <a:gd name="connsiteX26" fmla="*/ 46196 w 299656"/>
                <a:gd name="connsiteY26" fmla="*/ 1143 h 417766"/>
                <a:gd name="connsiteX27" fmla="*/ 44768 w 299656"/>
                <a:gd name="connsiteY27" fmla="*/ 1429 h 417766"/>
                <a:gd name="connsiteX28" fmla="*/ 44768 w 299656"/>
                <a:gd name="connsiteY28" fmla="*/ 1429 h 417766"/>
                <a:gd name="connsiteX29" fmla="*/ 43339 w 299656"/>
                <a:gd name="connsiteY29" fmla="*/ 1809 h 417766"/>
                <a:gd name="connsiteX30" fmla="*/ 43339 w 299656"/>
                <a:gd name="connsiteY30" fmla="*/ 1809 h 417766"/>
                <a:gd name="connsiteX31" fmla="*/ 42005 w 299656"/>
                <a:gd name="connsiteY31" fmla="*/ 2191 h 417766"/>
                <a:gd name="connsiteX32" fmla="*/ 42005 w 299656"/>
                <a:gd name="connsiteY32" fmla="*/ 2191 h 417766"/>
                <a:gd name="connsiteX33" fmla="*/ 40672 w 299656"/>
                <a:gd name="connsiteY33" fmla="*/ 2572 h 417766"/>
                <a:gd name="connsiteX34" fmla="*/ 40672 w 299656"/>
                <a:gd name="connsiteY34" fmla="*/ 2572 h 417766"/>
                <a:gd name="connsiteX35" fmla="*/ 39338 w 299656"/>
                <a:gd name="connsiteY35" fmla="*/ 3048 h 417766"/>
                <a:gd name="connsiteX36" fmla="*/ 39338 w 299656"/>
                <a:gd name="connsiteY36" fmla="*/ 3048 h 417766"/>
                <a:gd name="connsiteX37" fmla="*/ 38005 w 299656"/>
                <a:gd name="connsiteY37" fmla="*/ 3524 h 417766"/>
                <a:gd name="connsiteX38" fmla="*/ 38005 w 299656"/>
                <a:gd name="connsiteY38" fmla="*/ 3524 h 417766"/>
                <a:gd name="connsiteX39" fmla="*/ 36671 w 299656"/>
                <a:gd name="connsiteY39" fmla="*/ 4000 h 417766"/>
                <a:gd name="connsiteX40" fmla="*/ 36671 w 299656"/>
                <a:gd name="connsiteY40" fmla="*/ 4000 h 417766"/>
                <a:gd name="connsiteX41" fmla="*/ 35338 w 299656"/>
                <a:gd name="connsiteY41" fmla="*/ 4572 h 417766"/>
                <a:gd name="connsiteX42" fmla="*/ 35338 w 299656"/>
                <a:gd name="connsiteY42" fmla="*/ 4572 h 417766"/>
                <a:gd name="connsiteX43" fmla="*/ 34099 w 299656"/>
                <a:gd name="connsiteY43" fmla="*/ 5143 h 417766"/>
                <a:gd name="connsiteX44" fmla="*/ 34099 w 299656"/>
                <a:gd name="connsiteY44" fmla="*/ 5143 h 417766"/>
                <a:gd name="connsiteX45" fmla="*/ 32861 w 299656"/>
                <a:gd name="connsiteY45" fmla="*/ 5715 h 417766"/>
                <a:gd name="connsiteX46" fmla="*/ 32861 w 299656"/>
                <a:gd name="connsiteY46" fmla="*/ 5715 h 417766"/>
                <a:gd name="connsiteX47" fmla="*/ 31623 w 299656"/>
                <a:gd name="connsiteY47" fmla="*/ 6382 h 417766"/>
                <a:gd name="connsiteX48" fmla="*/ 31623 w 299656"/>
                <a:gd name="connsiteY48" fmla="*/ 6382 h 417766"/>
                <a:gd name="connsiteX49" fmla="*/ 30385 w 299656"/>
                <a:gd name="connsiteY49" fmla="*/ 7048 h 417766"/>
                <a:gd name="connsiteX50" fmla="*/ 30385 w 299656"/>
                <a:gd name="connsiteY50" fmla="*/ 7048 h 417766"/>
                <a:gd name="connsiteX51" fmla="*/ 29146 w 299656"/>
                <a:gd name="connsiteY51" fmla="*/ 7715 h 417766"/>
                <a:gd name="connsiteX52" fmla="*/ 29146 w 299656"/>
                <a:gd name="connsiteY52" fmla="*/ 7715 h 417766"/>
                <a:gd name="connsiteX53" fmla="*/ 27908 w 299656"/>
                <a:gd name="connsiteY53" fmla="*/ 8382 h 417766"/>
                <a:gd name="connsiteX54" fmla="*/ 27908 w 299656"/>
                <a:gd name="connsiteY54" fmla="*/ 8382 h 417766"/>
                <a:gd name="connsiteX55" fmla="*/ 26765 w 299656"/>
                <a:gd name="connsiteY55" fmla="*/ 9144 h 417766"/>
                <a:gd name="connsiteX56" fmla="*/ 26765 w 299656"/>
                <a:gd name="connsiteY56" fmla="*/ 9144 h 417766"/>
                <a:gd name="connsiteX57" fmla="*/ 25622 w 299656"/>
                <a:gd name="connsiteY57" fmla="*/ 9906 h 417766"/>
                <a:gd name="connsiteX58" fmla="*/ 25622 w 299656"/>
                <a:gd name="connsiteY58" fmla="*/ 9906 h 417766"/>
                <a:gd name="connsiteX59" fmla="*/ 24479 w 299656"/>
                <a:gd name="connsiteY59" fmla="*/ 10668 h 417766"/>
                <a:gd name="connsiteX60" fmla="*/ 24479 w 299656"/>
                <a:gd name="connsiteY60" fmla="*/ 10668 h 417766"/>
                <a:gd name="connsiteX61" fmla="*/ 23336 w 299656"/>
                <a:gd name="connsiteY61" fmla="*/ 11525 h 417766"/>
                <a:gd name="connsiteX62" fmla="*/ 23336 w 299656"/>
                <a:gd name="connsiteY62" fmla="*/ 11525 h 417766"/>
                <a:gd name="connsiteX63" fmla="*/ 22193 w 299656"/>
                <a:gd name="connsiteY63" fmla="*/ 12382 h 417766"/>
                <a:gd name="connsiteX64" fmla="*/ 22193 w 299656"/>
                <a:gd name="connsiteY64" fmla="*/ 12382 h 417766"/>
                <a:gd name="connsiteX65" fmla="*/ 21146 w 299656"/>
                <a:gd name="connsiteY65" fmla="*/ 13240 h 417766"/>
                <a:gd name="connsiteX66" fmla="*/ 21146 w 299656"/>
                <a:gd name="connsiteY66" fmla="*/ 13240 h 417766"/>
                <a:gd name="connsiteX67" fmla="*/ 20098 w 299656"/>
                <a:gd name="connsiteY67" fmla="*/ 14097 h 417766"/>
                <a:gd name="connsiteX68" fmla="*/ 20098 w 299656"/>
                <a:gd name="connsiteY68" fmla="*/ 14097 h 417766"/>
                <a:gd name="connsiteX69" fmla="*/ 19050 w 299656"/>
                <a:gd name="connsiteY69" fmla="*/ 15049 h 417766"/>
                <a:gd name="connsiteX70" fmla="*/ 19050 w 299656"/>
                <a:gd name="connsiteY70" fmla="*/ 15049 h 417766"/>
                <a:gd name="connsiteX71" fmla="*/ 18002 w 299656"/>
                <a:gd name="connsiteY71" fmla="*/ 16002 h 417766"/>
                <a:gd name="connsiteX72" fmla="*/ 18002 w 299656"/>
                <a:gd name="connsiteY72" fmla="*/ 16002 h 417766"/>
                <a:gd name="connsiteX73" fmla="*/ 17050 w 299656"/>
                <a:gd name="connsiteY73" fmla="*/ 16954 h 417766"/>
                <a:gd name="connsiteX74" fmla="*/ 17050 w 299656"/>
                <a:gd name="connsiteY74" fmla="*/ 16954 h 417766"/>
                <a:gd name="connsiteX75" fmla="*/ 16097 w 299656"/>
                <a:gd name="connsiteY75" fmla="*/ 17907 h 417766"/>
                <a:gd name="connsiteX76" fmla="*/ 16097 w 299656"/>
                <a:gd name="connsiteY76" fmla="*/ 17907 h 417766"/>
                <a:gd name="connsiteX77" fmla="*/ 15145 w 299656"/>
                <a:gd name="connsiteY77" fmla="*/ 18955 h 417766"/>
                <a:gd name="connsiteX78" fmla="*/ 15145 w 299656"/>
                <a:gd name="connsiteY78" fmla="*/ 18955 h 417766"/>
                <a:gd name="connsiteX79" fmla="*/ 14192 w 299656"/>
                <a:gd name="connsiteY79" fmla="*/ 20002 h 417766"/>
                <a:gd name="connsiteX80" fmla="*/ 14192 w 299656"/>
                <a:gd name="connsiteY80" fmla="*/ 20002 h 417766"/>
                <a:gd name="connsiteX81" fmla="*/ 13335 w 299656"/>
                <a:gd name="connsiteY81" fmla="*/ 21050 h 417766"/>
                <a:gd name="connsiteX82" fmla="*/ 13335 w 299656"/>
                <a:gd name="connsiteY82" fmla="*/ 21050 h 417766"/>
                <a:gd name="connsiteX83" fmla="*/ 12478 w 299656"/>
                <a:gd name="connsiteY83" fmla="*/ 22098 h 417766"/>
                <a:gd name="connsiteX84" fmla="*/ 12478 w 299656"/>
                <a:gd name="connsiteY84" fmla="*/ 22098 h 417766"/>
                <a:gd name="connsiteX85" fmla="*/ 11621 w 299656"/>
                <a:gd name="connsiteY85" fmla="*/ 23146 h 417766"/>
                <a:gd name="connsiteX86" fmla="*/ 11621 w 299656"/>
                <a:gd name="connsiteY86" fmla="*/ 23146 h 417766"/>
                <a:gd name="connsiteX87" fmla="*/ 10763 w 299656"/>
                <a:gd name="connsiteY87" fmla="*/ 24289 h 417766"/>
                <a:gd name="connsiteX88" fmla="*/ 10763 w 299656"/>
                <a:gd name="connsiteY88" fmla="*/ 24289 h 417766"/>
                <a:gd name="connsiteX89" fmla="*/ 10001 w 299656"/>
                <a:gd name="connsiteY89" fmla="*/ 25432 h 417766"/>
                <a:gd name="connsiteX90" fmla="*/ 10001 w 299656"/>
                <a:gd name="connsiteY90" fmla="*/ 25432 h 417766"/>
                <a:gd name="connsiteX91" fmla="*/ 9239 w 299656"/>
                <a:gd name="connsiteY91" fmla="*/ 26575 h 417766"/>
                <a:gd name="connsiteX92" fmla="*/ 9239 w 299656"/>
                <a:gd name="connsiteY92" fmla="*/ 26575 h 417766"/>
                <a:gd name="connsiteX93" fmla="*/ 8477 w 299656"/>
                <a:gd name="connsiteY93" fmla="*/ 27717 h 417766"/>
                <a:gd name="connsiteX94" fmla="*/ 8477 w 299656"/>
                <a:gd name="connsiteY94" fmla="*/ 27717 h 417766"/>
                <a:gd name="connsiteX95" fmla="*/ 7811 w 299656"/>
                <a:gd name="connsiteY95" fmla="*/ 28956 h 417766"/>
                <a:gd name="connsiteX96" fmla="*/ 7811 w 299656"/>
                <a:gd name="connsiteY96" fmla="*/ 28956 h 417766"/>
                <a:gd name="connsiteX97" fmla="*/ 7144 w 299656"/>
                <a:gd name="connsiteY97" fmla="*/ 30194 h 417766"/>
                <a:gd name="connsiteX98" fmla="*/ 7144 w 299656"/>
                <a:gd name="connsiteY98" fmla="*/ 30194 h 417766"/>
                <a:gd name="connsiteX99" fmla="*/ 6477 w 299656"/>
                <a:gd name="connsiteY99" fmla="*/ 31432 h 417766"/>
                <a:gd name="connsiteX100" fmla="*/ 6477 w 299656"/>
                <a:gd name="connsiteY100" fmla="*/ 31432 h 417766"/>
                <a:gd name="connsiteX101" fmla="*/ 5810 w 299656"/>
                <a:gd name="connsiteY101" fmla="*/ 32671 h 417766"/>
                <a:gd name="connsiteX102" fmla="*/ 5810 w 299656"/>
                <a:gd name="connsiteY102" fmla="*/ 32671 h 417766"/>
                <a:gd name="connsiteX103" fmla="*/ 5239 w 299656"/>
                <a:gd name="connsiteY103" fmla="*/ 33909 h 417766"/>
                <a:gd name="connsiteX104" fmla="*/ 5239 w 299656"/>
                <a:gd name="connsiteY104" fmla="*/ 33909 h 417766"/>
                <a:gd name="connsiteX105" fmla="*/ 4667 w 299656"/>
                <a:gd name="connsiteY105" fmla="*/ 35147 h 417766"/>
                <a:gd name="connsiteX106" fmla="*/ 4667 w 299656"/>
                <a:gd name="connsiteY106" fmla="*/ 35147 h 417766"/>
                <a:gd name="connsiteX107" fmla="*/ 4096 w 299656"/>
                <a:gd name="connsiteY107" fmla="*/ 36481 h 417766"/>
                <a:gd name="connsiteX108" fmla="*/ 4096 w 299656"/>
                <a:gd name="connsiteY108" fmla="*/ 36481 h 417766"/>
                <a:gd name="connsiteX109" fmla="*/ 3620 w 299656"/>
                <a:gd name="connsiteY109" fmla="*/ 37814 h 417766"/>
                <a:gd name="connsiteX110" fmla="*/ 3620 w 299656"/>
                <a:gd name="connsiteY110" fmla="*/ 37814 h 417766"/>
                <a:gd name="connsiteX111" fmla="*/ 3143 w 299656"/>
                <a:gd name="connsiteY111" fmla="*/ 39148 h 417766"/>
                <a:gd name="connsiteX112" fmla="*/ 3143 w 299656"/>
                <a:gd name="connsiteY112" fmla="*/ 39148 h 417766"/>
                <a:gd name="connsiteX113" fmla="*/ 2667 w 299656"/>
                <a:gd name="connsiteY113" fmla="*/ 40481 h 417766"/>
                <a:gd name="connsiteX114" fmla="*/ 2667 w 299656"/>
                <a:gd name="connsiteY114" fmla="*/ 40481 h 417766"/>
                <a:gd name="connsiteX115" fmla="*/ 2286 w 299656"/>
                <a:gd name="connsiteY115" fmla="*/ 41815 h 417766"/>
                <a:gd name="connsiteX116" fmla="*/ 2286 w 299656"/>
                <a:gd name="connsiteY116" fmla="*/ 41815 h 417766"/>
                <a:gd name="connsiteX117" fmla="*/ 1905 w 299656"/>
                <a:gd name="connsiteY117" fmla="*/ 43148 h 417766"/>
                <a:gd name="connsiteX118" fmla="*/ 1905 w 299656"/>
                <a:gd name="connsiteY118" fmla="*/ 43148 h 417766"/>
                <a:gd name="connsiteX119" fmla="*/ 1524 w 299656"/>
                <a:gd name="connsiteY119" fmla="*/ 44482 h 417766"/>
                <a:gd name="connsiteX120" fmla="*/ 1524 w 299656"/>
                <a:gd name="connsiteY120" fmla="*/ 44482 h 417766"/>
                <a:gd name="connsiteX121" fmla="*/ 1238 w 299656"/>
                <a:gd name="connsiteY121" fmla="*/ 45910 h 417766"/>
                <a:gd name="connsiteX122" fmla="*/ 1238 w 299656"/>
                <a:gd name="connsiteY122" fmla="*/ 45910 h 417766"/>
                <a:gd name="connsiteX123" fmla="*/ 953 w 299656"/>
                <a:gd name="connsiteY123" fmla="*/ 47339 h 417766"/>
                <a:gd name="connsiteX124" fmla="*/ 953 w 299656"/>
                <a:gd name="connsiteY124" fmla="*/ 47339 h 417766"/>
                <a:gd name="connsiteX125" fmla="*/ 667 w 299656"/>
                <a:gd name="connsiteY125" fmla="*/ 48768 h 417766"/>
                <a:gd name="connsiteX126" fmla="*/ 667 w 299656"/>
                <a:gd name="connsiteY126" fmla="*/ 48768 h 417766"/>
                <a:gd name="connsiteX127" fmla="*/ 476 w 299656"/>
                <a:gd name="connsiteY127" fmla="*/ 50197 h 417766"/>
                <a:gd name="connsiteX128" fmla="*/ 476 w 299656"/>
                <a:gd name="connsiteY128" fmla="*/ 50197 h 417766"/>
                <a:gd name="connsiteX129" fmla="*/ 286 w 299656"/>
                <a:gd name="connsiteY129" fmla="*/ 51625 h 417766"/>
                <a:gd name="connsiteX130" fmla="*/ 286 w 299656"/>
                <a:gd name="connsiteY130" fmla="*/ 51625 h 417766"/>
                <a:gd name="connsiteX131" fmla="*/ 190 w 299656"/>
                <a:gd name="connsiteY131" fmla="*/ 53054 h 417766"/>
                <a:gd name="connsiteX132" fmla="*/ 190 w 299656"/>
                <a:gd name="connsiteY132" fmla="*/ 53054 h 417766"/>
                <a:gd name="connsiteX133" fmla="*/ 95 w 299656"/>
                <a:gd name="connsiteY133" fmla="*/ 54483 h 417766"/>
                <a:gd name="connsiteX134" fmla="*/ 95 w 299656"/>
                <a:gd name="connsiteY134" fmla="*/ 54483 h 417766"/>
                <a:gd name="connsiteX135" fmla="*/ 95 w 299656"/>
                <a:gd name="connsiteY135" fmla="*/ 54959 h 417766"/>
                <a:gd name="connsiteX136" fmla="*/ 0 w 299656"/>
                <a:gd name="connsiteY136" fmla="*/ 56864 h 417766"/>
                <a:gd name="connsiteX137" fmla="*/ 0 w 299656"/>
                <a:gd name="connsiteY137" fmla="*/ 57340 h 417766"/>
                <a:gd name="connsiteX138" fmla="*/ 0 w 299656"/>
                <a:gd name="connsiteY138" fmla="*/ 57340 h 417766"/>
                <a:gd name="connsiteX139" fmla="*/ 0 w 299656"/>
                <a:gd name="connsiteY139" fmla="*/ 77343 h 417766"/>
                <a:gd name="connsiteX140" fmla="*/ 0 w 299656"/>
                <a:gd name="connsiteY140" fmla="*/ 359855 h 417766"/>
                <a:gd name="connsiteX141" fmla="*/ 57626 w 299656"/>
                <a:gd name="connsiteY141" fmla="*/ 417767 h 417766"/>
                <a:gd name="connsiteX142" fmla="*/ 57626 w 299656"/>
                <a:gd name="connsiteY142" fmla="*/ 417767 h 417766"/>
                <a:gd name="connsiteX143" fmla="*/ 57626 w 299656"/>
                <a:gd name="connsiteY143" fmla="*/ 0 h 417766"/>
                <a:gd name="connsiteX144" fmla="*/ 57626 w 299656"/>
                <a:gd name="connsiteY144" fmla="*/ 0 h 417766"/>
                <a:gd name="connsiteX145" fmla="*/ 57626 w 299656"/>
                <a:gd name="connsiteY145" fmla="*/ 0 h 41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299656" h="417766">
                  <a:moveTo>
                    <a:pt x="57626" y="417767"/>
                  </a:moveTo>
                  <a:lnTo>
                    <a:pt x="77629" y="417767"/>
                  </a:lnTo>
                  <a:cubicBezTo>
                    <a:pt x="109347" y="417767"/>
                    <a:pt x="135255" y="391858"/>
                    <a:pt x="135255" y="360140"/>
                  </a:cubicBezTo>
                  <a:lnTo>
                    <a:pt x="135255" y="216217"/>
                  </a:lnTo>
                  <a:cubicBezTo>
                    <a:pt x="135255" y="171640"/>
                    <a:pt x="171640" y="135255"/>
                    <a:pt x="216218" y="135255"/>
                  </a:cubicBezTo>
                  <a:lnTo>
                    <a:pt x="242030" y="135255"/>
                  </a:lnTo>
                  <a:cubicBezTo>
                    <a:pt x="273748" y="135255"/>
                    <a:pt x="299656" y="109347"/>
                    <a:pt x="299656" y="77629"/>
                  </a:cubicBezTo>
                  <a:lnTo>
                    <a:pt x="299656" y="57626"/>
                  </a:lnTo>
                  <a:cubicBezTo>
                    <a:pt x="299656" y="25908"/>
                    <a:pt x="273748" y="0"/>
                    <a:pt x="242030" y="0"/>
                  </a:cubicBezTo>
                  <a:lnTo>
                    <a:pt x="77629" y="0"/>
                  </a:lnTo>
                  <a:lnTo>
                    <a:pt x="57626" y="0"/>
                  </a:lnTo>
                  <a:lnTo>
                    <a:pt x="56197" y="0"/>
                  </a:lnTo>
                  <a:lnTo>
                    <a:pt x="56197" y="0"/>
                  </a:lnTo>
                  <a:lnTo>
                    <a:pt x="54769" y="95"/>
                  </a:lnTo>
                  <a:lnTo>
                    <a:pt x="54769" y="95"/>
                  </a:lnTo>
                  <a:lnTo>
                    <a:pt x="53340" y="190"/>
                  </a:lnTo>
                  <a:lnTo>
                    <a:pt x="53340" y="190"/>
                  </a:lnTo>
                  <a:lnTo>
                    <a:pt x="51911" y="286"/>
                  </a:lnTo>
                  <a:lnTo>
                    <a:pt x="51911" y="286"/>
                  </a:lnTo>
                  <a:lnTo>
                    <a:pt x="50482" y="476"/>
                  </a:lnTo>
                  <a:lnTo>
                    <a:pt x="50482" y="476"/>
                  </a:lnTo>
                  <a:lnTo>
                    <a:pt x="49054" y="667"/>
                  </a:lnTo>
                  <a:lnTo>
                    <a:pt x="49054" y="667"/>
                  </a:lnTo>
                  <a:lnTo>
                    <a:pt x="47625" y="857"/>
                  </a:lnTo>
                  <a:lnTo>
                    <a:pt x="47625" y="857"/>
                  </a:lnTo>
                  <a:cubicBezTo>
                    <a:pt x="47149" y="952"/>
                    <a:pt x="46672" y="1048"/>
                    <a:pt x="46196" y="1143"/>
                  </a:cubicBezTo>
                  <a:lnTo>
                    <a:pt x="46196" y="1143"/>
                  </a:lnTo>
                  <a:lnTo>
                    <a:pt x="44768" y="1429"/>
                  </a:lnTo>
                  <a:lnTo>
                    <a:pt x="44768" y="1429"/>
                  </a:lnTo>
                  <a:lnTo>
                    <a:pt x="43339" y="1809"/>
                  </a:lnTo>
                  <a:lnTo>
                    <a:pt x="43339" y="1809"/>
                  </a:lnTo>
                  <a:lnTo>
                    <a:pt x="42005" y="2191"/>
                  </a:lnTo>
                  <a:lnTo>
                    <a:pt x="42005" y="2191"/>
                  </a:lnTo>
                  <a:lnTo>
                    <a:pt x="40672" y="2572"/>
                  </a:lnTo>
                  <a:lnTo>
                    <a:pt x="40672" y="2572"/>
                  </a:lnTo>
                  <a:lnTo>
                    <a:pt x="39338" y="3048"/>
                  </a:lnTo>
                  <a:lnTo>
                    <a:pt x="39338" y="3048"/>
                  </a:lnTo>
                  <a:lnTo>
                    <a:pt x="38005" y="3524"/>
                  </a:lnTo>
                  <a:lnTo>
                    <a:pt x="38005" y="3524"/>
                  </a:lnTo>
                  <a:lnTo>
                    <a:pt x="36671" y="4000"/>
                  </a:lnTo>
                  <a:lnTo>
                    <a:pt x="36671" y="4000"/>
                  </a:lnTo>
                  <a:lnTo>
                    <a:pt x="35338" y="4572"/>
                  </a:lnTo>
                  <a:lnTo>
                    <a:pt x="35338" y="4572"/>
                  </a:lnTo>
                  <a:lnTo>
                    <a:pt x="34099" y="5143"/>
                  </a:lnTo>
                  <a:lnTo>
                    <a:pt x="34099" y="5143"/>
                  </a:lnTo>
                  <a:lnTo>
                    <a:pt x="32861" y="5715"/>
                  </a:lnTo>
                  <a:lnTo>
                    <a:pt x="32861" y="5715"/>
                  </a:lnTo>
                  <a:lnTo>
                    <a:pt x="31623" y="6382"/>
                  </a:lnTo>
                  <a:lnTo>
                    <a:pt x="31623" y="6382"/>
                  </a:lnTo>
                  <a:cubicBezTo>
                    <a:pt x="31242" y="6572"/>
                    <a:pt x="30766" y="6763"/>
                    <a:pt x="30385" y="7048"/>
                  </a:cubicBezTo>
                  <a:lnTo>
                    <a:pt x="30385" y="7048"/>
                  </a:lnTo>
                  <a:lnTo>
                    <a:pt x="29146" y="7715"/>
                  </a:lnTo>
                  <a:lnTo>
                    <a:pt x="29146" y="7715"/>
                  </a:lnTo>
                  <a:cubicBezTo>
                    <a:pt x="28765" y="7906"/>
                    <a:pt x="28385" y="8191"/>
                    <a:pt x="27908" y="8382"/>
                  </a:cubicBezTo>
                  <a:lnTo>
                    <a:pt x="27908" y="8382"/>
                  </a:lnTo>
                  <a:lnTo>
                    <a:pt x="26765" y="9144"/>
                  </a:lnTo>
                  <a:lnTo>
                    <a:pt x="26765" y="9144"/>
                  </a:lnTo>
                  <a:lnTo>
                    <a:pt x="25622" y="9906"/>
                  </a:lnTo>
                  <a:lnTo>
                    <a:pt x="25622" y="9906"/>
                  </a:lnTo>
                  <a:lnTo>
                    <a:pt x="24479" y="10668"/>
                  </a:lnTo>
                  <a:lnTo>
                    <a:pt x="24479" y="10668"/>
                  </a:lnTo>
                  <a:lnTo>
                    <a:pt x="23336" y="11525"/>
                  </a:lnTo>
                  <a:lnTo>
                    <a:pt x="23336" y="11525"/>
                  </a:lnTo>
                  <a:lnTo>
                    <a:pt x="22193" y="12382"/>
                  </a:lnTo>
                  <a:lnTo>
                    <a:pt x="22193" y="12382"/>
                  </a:lnTo>
                  <a:cubicBezTo>
                    <a:pt x="21812" y="12668"/>
                    <a:pt x="21431" y="12954"/>
                    <a:pt x="21146" y="13240"/>
                  </a:cubicBezTo>
                  <a:lnTo>
                    <a:pt x="21146" y="13240"/>
                  </a:lnTo>
                  <a:lnTo>
                    <a:pt x="20098" y="14097"/>
                  </a:lnTo>
                  <a:lnTo>
                    <a:pt x="20098" y="14097"/>
                  </a:lnTo>
                  <a:lnTo>
                    <a:pt x="19050" y="15049"/>
                  </a:lnTo>
                  <a:lnTo>
                    <a:pt x="19050" y="15049"/>
                  </a:lnTo>
                  <a:lnTo>
                    <a:pt x="18002" y="16002"/>
                  </a:lnTo>
                  <a:lnTo>
                    <a:pt x="18002" y="16002"/>
                  </a:lnTo>
                  <a:lnTo>
                    <a:pt x="17050" y="16954"/>
                  </a:lnTo>
                  <a:lnTo>
                    <a:pt x="17050" y="16954"/>
                  </a:lnTo>
                  <a:lnTo>
                    <a:pt x="16097" y="17907"/>
                  </a:lnTo>
                  <a:lnTo>
                    <a:pt x="16097" y="17907"/>
                  </a:lnTo>
                  <a:lnTo>
                    <a:pt x="15145" y="18955"/>
                  </a:lnTo>
                  <a:lnTo>
                    <a:pt x="15145" y="18955"/>
                  </a:lnTo>
                  <a:lnTo>
                    <a:pt x="14192" y="20002"/>
                  </a:lnTo>
                  <a:lnTo>
                    <a:pt x="14192" y="20002"/>
                  </a:lnTo>
                  <a:lnTo>
                    <a:pt x="13335" y="21050"/>
                  </a:lnTo>
                  <a:lnTo>
                    <a:pt x="13335" y="21050"/>
                  </a:lnTo>
                  <a:cubicBezTo>
                    <a:pt x="13049" y="21431"/>
                    <a:pt x="12763" y="21812"/>
                    <a:pt x="12478" y="22098"/>
                  </a:cubicBezTo>
                  <a:lnTo>
                    <a:pt x="12478" y="22098"/>
                  </a:lnTo>
                  <a:cubicBezTo>
                    <a:pt x="12192" y="22479"/>
                    <a:pt x="11906" y="22860"/>
                    <a:pt x="11621" y="23146"/>
                  </a:cubicBezTo>
                  <a:lnTo>
                    <a:pt x="11621" y="23146"/>
                  </a:lnTo>
                  <a:lnTo>
                    <a:pt x="10763" y="24289"/>
                  </a:lnTo>
                  <a:lnTo>
                    <a:pt x="10763" y="24289"/>
                  </a:lnTo>
                  <a:lnTo>
                    <a:pt x="10001" y="25432"/>
                  </a:lnTo>
                  <a:lnTo>
                    <a:pt x="10001" y="25432"/>
                  </a:lnTo>
                  <a:lnTo>
                    <a:pt x="9239" y="26575"/>
                  </a:lnTo>
                  <a:lnTo>
                    <a:pt x="9239" y="26575"/>
                  </a:lnTo>
                  <a:lnTo>
                    <a:pt x="8477" y="27717"/>
                  </a:lnTo>
                  <a:lnTo>
                    <a:pt x="8477" y="27717"/>
                  </a:lnTo>
                  <a:lnTo>
                    <a:pt x="7811" y="28956"/>
                  </a:lnTo>
                  <a:lnTo>
                    <a:pt x="7811" y="28956"/>
                  </a:lnTo>
                  <a:lnTo>
                    <a:pt x="7144" y="30194"/>
                  </a:lnTo>
                  <a:lnTo>
                    <a:pt x="7144" y="30194"/>
                  </a:lnTo>
                  <a:lnTo>
                    <a:pt x="6477" y="31432"/>
                  </a:lnTo>
                  <a:lnTo>
                    <a:pt x="6477" y="31432"/>
                  </a:lnTo>
                  <a:lnTo>
                    <a:pt x="5810" y="32671"/>
                  </a:lnTo>
                  <a:lnTo>
                    <a:pt x="5810" y="32671"/>
                  </a:lnTo>
                  <a:lnTo>
                    <a:pt x="5239" y="33909"/>
                  </a:lnTo>
                  <a:lnTo>
                    <a:pt x="5239" y="33909"/>
                  </a:lnTo>
                  <a:cubicBezTo>
                    <a:pt x="5048" y="34290"/>
                    <a:pt x="4858" y="34766"/>
                    <a:pt x="4667" y="35147"/>
                  </a:cubicBezTo>
                  <a:lnTo>
                    <a:pt x="4667" y="35147"/>
                  </a:lnTo>
                  <a:lnTo>
                    <a:pt x="4096" y="36481"/>
                  </a:lnTo>
                  <a:lnTo>
                    <a:pt x="4096" y="36481"/>
                  </a:lnTo>
                  <a:lnTo>
                    <a:pt x="3620" y="37814"/>
                  </a:lnTo>
                  <a:lnTo>
                    <a:pt x="3620" y="37814"/>
                  </a:lnTo>
                  <a:lnTo>
                    <a:pt x="3143" y="39148"/>
                  </a:lnTo>
                  <a:lnTo>
                    <a:pt x="3143" y="39148"/>
                  </a:lnTo>
                  <a:lnTo>
                    <a:pt x="2667" y="40481"/>
                  </a:lnTo>
                  <a:lnTo>
                    <a:pt x="2667" y="40481"/>
                  </a:lnTo>
                  <a:lnTo>
                    <a:pt x="2286" y="41815"/>
                  </a:lnTo>
                  <a:lnTo>
                    <a:pt x="2286" y="41815"/>
                  </a:lnTo>
                  <a:lnTo>
                    <a:pt x="1905" y="43148"/>
                  </a:lnTo>
                  <a:lnTo>
                    <a:pt x="1905" y="43148"/>
                  </a:lnTo>
                  <a:lnTo>
                    <a:pt x="1524" y="44482"/>
                  </a:lnTo>
                  <a:lnTo>
                    <a:pt x="1524" y="44482"/>
                  </a:lnTo>
                  <a:lnTo>
                    <a:pt x="1238" y="45910"/>
                  </a:lnTo>
                  <a:lnTo>
                    <a:pt x="1238" y="45910"/>
                  </a:lnTo>
                  <a:cubicBezTo>
                    <a:pt x="1143" y="46387"/>
                    <a:pt x="1048" y="46863"/>
                    <a:pt x="953" y="47339"/>
                  </a:cubicBezTo>
                  <a:lnTo>
                    <a:pt x="953" y="47339"/>
                  </a:lnTo>
                  <a:lnTo>
                    <a:pt x="667" y="48768"/>
                  </a:lnTo>
                  <a:lnTo>
                    <a:pt x="667" y="48768"/>
                  </a:lnTo>
                  <a:lnTo>
                    <a:pt x="476" y="50197"/>
                  </a:lnTo>
                  <a:lnTo>
                    <a:pt x="476" y="50197"/>
                  </a:lnTo>
                  <a:lnTo>
                    <a:pt x="286" y="51625"/>
                  </a:lnTo>
                  <a:lnTo>
                    <a:pt x="286" y="51625"/>
                  </a:lnTo>
                  <a:lnTo>
                    <a:pt x="190" y="53054"/>
                  </a:lnTo>
                  <a:lnTo>
                    <a:pt x="190" y="53054"/>
                  </a:lnTo>
                  <a:lnTo>
                    <a:pt x="95" y="54483"/>
                  </a:lnTo>
                  <a:lnTo>
                    <a:pt x="95" y="54483"/>
                  </a:lnTo>
                  <a:lnTo>
                    <a:pt x="95" y="54959"/>
                  </a:lnTo>
                  <a:cubicBezTo>
                    <a:pt x="95" y="55626"/>
                    <a:pt x="95" y="56197"/>
                    <a:pt x="0" y="56864"/>
                  </a:cubicBezTo>
                  <a:lnTo>
                    <a:pt x="0" y="57340"/>
                  </a:lnTo>
                  <a:lnTo>
                    <a:pt x="0" y="57340"/>
                  </a:lnTo>
                  <a:lnTo>
                    <a:pt x="0" y="77343"/>
                  </a:lnTo>
                  <a:lnTo>
                    <a:pt x="0" y="359855"/>
                  </a:lnTo>
                  <a:cubicBezTo>
                    <a:pt x="0" y="391858"/>
                    <a:pt x="25908" y="417767"/>
                    <a:pt x="57626" y="417767"/>
                  </a:cubicBezTo>
                  <a:lnTo>
                    <a:pt x="57626" y="417767"/>
                  </a:lnTo>
                  <a:close/>
                  <a:moveTo>
                    <a:pt x="57626" y="0"/>
                  </a:moveTo>
                  <a:lnTo>
                    <a:pt x="57626" y="0"/>
                  </a:lnTo>
                  <a:lnTo>
                    <a:pt x="57626"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72" name="Freeform: Shape 71">
              <a:extLst>
                <a:ext uri="{FF2B5EF4-FFF2-40B4-BE49-F238E27FC236}">
                  <a16:creationId xmlns:a16="http://schemas.microsoft.com/office/drawing/2014/main" id="{8A3E5852-F6AA-45E3-A2C0-3E71F79A6554}"/>
                </a:ext>
              </a:extLst>
            </p:cNvPr>
            <p:cNvSpPr/>
            <p:nvPr/>
          </p:nvSpPr>
          <p:spPr>
            <a:xfrm>
              <a:off x="75454" y="4553410"/>
              <a:ext cx="628078" cy="867822"/>
            </a:xfrm>
            <a:custGeom>
              <a:avLst/>
              <a:gdLst>
                <a:gd name="connsiteX0" fmla="*/ 550069 w 628078"/>
                <a:gd name="connsiteY0" fmla="*/ 300609 h 867822"/>
                <a:gd name="connsiteX1" fmla="*/ 570452 w 628078"/>
                <a:gd name="connsiteY1" fmla="*/ 300609 h 867822"/>
                <a:gd name="connsiteX2" fmla="*/ 628079 w 628078"/>
                <a:gd name="connsiteY2" fmla="*/ 242983 h 867822"/>
                <a:gd name="connsiteX3" fmla="*/ 628079 w 628078"/>
                <a:gd name="connsiteY3" fmla="*/ 57626 h 867822"/>
                <a:gd name="connsiteX4" fmla="*/ 570452 w 628078"/>
                <a:gd name="connsiteY4" fmla="*/ 0 h 867822"/>
                <a:gd name="connsiteX5" fmla="*/ 216599 w 628078"/>
                <a:gd name="connsiteY5" fmla="*/ 0 h 867822"/>
                <a:gd name="connsiteX6" fmla="*/ 158972 w 628078"/>
                <a:gd name="connsiteY6" fmla="*/ 857 h 867822"/>
                <a:gd name="connsiteX7" fmla="*/ 158972 w 628078"/>
                <a:gd name="connsiteY7" fmla="*/ 212884 h 867822"/>
                <a:gd name="connsiteX8" fmla="*/ 78010 w 628078"/>
                <a:gd name="connsiteY8" fmla="*/ 293846 h 867822"/>
                <a:gd name="connsiteX9" fmla="*/ 57626 w 628078"/>
                <a:gd name="connsiteY9" fmla="*/ 293846 h 867822"/>
                <a:gd name="connsiteX10" fmla="*/ 0 w 628078"/>
                <a:gd name="connsiteY10" fmla="*/ 352901 h 867822"/>
                <a:gd name="connsiteX11" fmla="*/ 0 w 628078"/>
                <a:gd name="connsiteY11" fmla="*/ 464153 h 867822"/>
                <a:gd name="connsiteX12" fmla="*/ 0 w 628078"/>
                <a:gd name="connsiteY12" fmla="*/ 520351 h 867822"/>
                <a:gd name="connsiteX13" fmla="*/ 0 w 628078"/>
                <a:gd name="connsiteY13" fmla="*/ 810197 h 867822"/>
                <a:gd name="connsiteX14" fmla="*/ 57626 w 628078"/>
                <a:gd name="connsiteY14" fmla="*/ 867823 h 867822"/>
                <a:gd name="connsiteX15" fmla="*/ 252413 w 628078"/>
                <a:gd name="connsiteY15" fmla="*/ 867823 h 867822"/>
                <a:gd name="connsiteX16" fmla="*/ 310039 w 628078"/>
                <a:gd name="connsiteY16" fmla="*/ 866965 h 867822"/>
                <a:gd name="connsiteX17" fmla="*/ 310039 w 628078"/>
                <a:gd name="connsiteY17" fmla="*/ 660559 h 867822"/>
                <a:gd name="connsiteX18" fmla="*/ 391001 w 628078"/>
                <a:gd name="connsiteY18" fmla="*/ 579596 h 867822"/>
                <a:gd name="connsiteX19" fmla="*/ 411385 w 628078"/>
                <a:gd name="connsiteY19" fmla="*/ 579596 h 867822"/>
                <a:gd name="connsiteX20" fmla="*/ 469011 w 628078"/>
                <a:gd name="connsiteY20" fmla="*/ 520541 h 867822"/>
                <a:gd name="connsiteX21" fmla="*/ 469011 w 628078"/>
                <a:gd name="connsiteY21" fmla="*/ 381667 h 867822"/>
                <a:gd name="connsiteX22" fmla="*/ 550069 w 628078"/>
                <a:gd name="connsiteY22" fmla="*/ 300609 h 867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8078" h="867822">
                  <a:moveTo>
                    <a:pt x="550069" y="300609"/>
                  </a:moveTo>
                  <a:lnTo>
                    <a:pt x="570452" y="300609"/>
                  </a:lnTo>
                  <a:cubicBezTo>
                    <a:pt x="602171" y="300609"/>
                    <a:pt x="628079" y="274701"/>
                    <a:pt x="628079" y="242983"/>
                  </a:cubicBezTo>
                  <a:lnTo>
                    <a:pt x="628079" y="57626"/>
                  </a:lnTo>
                  <a:cubicBezTo>
                    <a:pt x="628079" y="25908"/>
                    <a:pt x="602171" y="0"/>
                    <a:pt x="570452" y="0"/>
                  </a:cubicBezTo>
                  <a:lnTo>
                    <a:pt x="216599" y="0"/>
                  </a:lnTo>
                  <a:lnTo>
                    <a:pt x="158972" y="857"/>
                  </a:lnTo>
                  <a:lnTo>
                    <a:pt x="158972" y="212884"/>
                  </a:lnTo>
                  <a:cubicBezTo>
                    <a:pt x="158972" y="257461"/>
                    <a:pt x="122587" y="293846"/>
                    <a:pt x="78010" y="293846"/>
                  </a:cubicBezTo>
                  <a:lnTo>
                    <a:pt x="57626" y="293846"/>
                  </a:lnTo>
                  <a:cubicBezTo>
                    <a:pt x="25908" y="293846"/>
                    <a:pt x="0" y="320421"/>
                    <a:pt x="0" y="352901"/>
                  </a:cubicBezTo>
                  <a:lnTo>
                    <a:pt x="0" y="464153"/>
                  </a:lnTo>
                  <a:lnTo>
                    <a:pt x="0" y="520351"/>
                  </a:lnTo>
                  <a:lnTo>
                    <a:pt x="0" y="810197"/>
                  </a:lnTo>
                  <a:cubicBezTo>
                    <a:pt x="0" y="841915"/>
                    <a:pt x="25908" y="867823"/>
                    <a:pt x="57626" y="867823"/>
                  </a:cubicBezTo>
                  <a:lnTo>
                    <a:pt x="252413" y="867823"/>
                  </a:lnTo>
                  <a:lnTo>
                    <a:pt x="310039" y="866965"/>
                  </a:lnTo>
                  <a:lnTo>
                    <a:pt x="310039" y="660559"/>
                  </a:lnTo>
                  <a:cubicBezTo>
                    <a:pt x="310039" y="615982"/>
                    <a:pt x="346424" y="579596"/>
                    <a:pt x="391001" y="579596"/>
                  </a:cubicBezTo>
                  <a:lnTo>
                    <a:pt x="411385" y="579596"/>
                  </a:lnTo>
                  <a:cubicBezTo>
                    <a:pt x="443103" y="579596"/>
                    <a:pt x="469011" y="553022"/>
                    <a:pt x="469011" y="520541"/>
                  </a:cubicBezTo>
                  <a:lnTo>
                    <a:pt x="469011" y="381667"/>
                  </a:lnTo>
                  <a:cubicBezTo>
                    <a:pt x="469011" y="336995"/>
                    <a:pt x="505397" y="300609"/>
                    <a:pt x="550069" y="30060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73" name="Freeform: Shape 72">
              <a:extLst>
                <a:ext uri="{FF2B5EF4-FFF2-40B4-BE49-F238E27FC236}">
                  <a16:creationId xmlns:a16="http://schemas.microsoft.com/office/drawing/2014/main" id="{AF4DA893-5D5A-4489-A2A8-083227624CFF}"/>
                </a:ext>
              </a:extLst>
            </p:cNvPr>
            <p:cNvSpPr/>
            <p:nvPr/>
          </p:nvSpPr>
          <p:spPr>
            <a:xfrm>
              <a:off x="234712" y="4126976"/>
              <a:ext cx="1892046" cy="1432274"/>
            </a:xfrm>
            <a:custGeom>
              <a:avLst/>
              <a:gdLst>
                <a:gd name="connsiteX0" fmla="*/ 388906 w 1892046"/>
                <a:gd name="connsiteY0" fmla="*/ 1432274 h 1432274"/>
                <a:gd name="connsiteX1" fmla="*/ 542068 w 1892046"/>
                <a:gd name="connsiteY1" fmla="*/ 1432274 h 1432274"/>
                <a:gd name="connsiteX2" fmla="*/ 624364 w 1892046"/>
                <a:gd name="connsiteY2" fmla="*/ 1362266 h 1432274"/>
                <a:gd name="connsiteX3" fmla="*/ 704279 w 1892046"/>
                <a:gd name="connsiteY3" fmla="*/ 1294352 h 1432274"/>
                <a:gd name="connsiteX4" fmla="*/ 1017461 w 1892046"/>
                <a:gd name="connsiteY4" fmla="*/ 1294352 h 1432274"/>
                <a:gd name="connsiteX5" fmla="*/ 1100042 w 1892046"/>
                <a:gd name="connsiteY5" fmla="*/ 1222724 h 1432274"/>
                <a:gd name="connsiteX6" fmla="*/ 1177576 w 1892046"/>
                <a:gd name="connsiteY6" fmla="*/ 1153287 h 1432274"/>
                <a:gd name="connsiteX7" fmla="*/ 1258253 w 1892046"/>
                <a:gd name="connsiteY7" fmla="*/ 1069943 h 1432274"/>
                <a:gd name="connsiteX8" fmla="*/ 1258253 w 1892046"/>
                <a:gd name="connsiteY8" fmla="*/ 796194 h 1432274"/>
                <a:gd name="connsiteX9" fmla="*/ 1337405 w 1892046"/>
                <a:gd name="connsiteY9" fmla="*/ 715232 h 1432274"/>
                <a:gd name="connsiteX10" fmla="*/ 1417701 w 1892046"/>
                <a:gd name="connsiteY10" fmla="*/ 645605 h 1432274"/>
                <a:gd name="connsiteX11" fmla="*/ 1495235 w 1892046"/>
                <a:gd name="connsiteY11" fmla="*/ 578072 h 1432274"/>
                <a:gd name="connsiteX12" fmla="*/ 1576292 w 1892046"/>
                <a:gd name="connsiteY12" fmla="*/ 495681 h 1432274"/>
                <a:gd name="connsiteX13" fmla="*/ 1657255 w 1892046"/>
                <a:gd name="connsiteY13" fmla="*/ 415671 h 1432274"/>
                <a:gd name="connsiteX14" fmla="*/ 1833658 w 1892046"/>
                <a:gd name="connsiteY14" fmla="*/ 415671 h 1432274"/>
                <a:gd name="connsiteX15" fmla="*/ 1892046 w 1892046"/>
                <a:gd name="connsiteY15" fmla="*/ 363188 h 1432274"/>
                <a:gd name="connsiteX16" fmla="*/ 1891951 w 1892046"/>
                <a:gd name="connsiteY16" fmla="*/ 273177 h 1432274"/>
                <a:gd name="connsiteX17" fmla="*/ 1630299 w 1892046"/>
                <a:gd name="connsiteY17" fmla="*/ 273844 h 1432274"/>
                <a:gd name="connsiteX18" fmla="*/ 1572673 w 1892046"/>
                <a:gd name="connsiteY18" fmla="*/ 216217 h 1432274"/>
                <a:gd name="connsiteX19" fmla="*/ 1572673 w 1892046"/>
                <a:gd name="connsiteY19" fmla="*/ 215551 h 1432274"/>
                <a:gd name="connsiteX20" fmla="*/ 1572387 w 1892046"/>
                <a:gd name="connsiteY20" fmla="*/ 215551 h 1432274"/>
                <a:gd name="connsiteX21" fmla="*/ 1572387 w 1892046"/>
                <a:gd name="connsiteY21" fmla="*/ 194691 h 1432274"/>
                <a:gd name="connsiteX22" fmla="*/ 1514761 w 1892046"/>
                <a:gd name="connsiteY22" fmla="*/ 137065 h 1432274"/>
                <a:gd name="connsiteX23" fmla="*/ 1028795 w 1892046"/>
                <a:gd name="connsiteY23" fmla="*/ 137065 h 1432274"/>
                <a:gd name="connsiteX24" fmla="*/ 1028986 w 1892046"/>
                <a:gd name="connsiteY24" fmla="*/ 137065 h 1432274"/>
                <a:gd name="connsiteX25" fmla="*/ 852869 w 1892046"/>
                <a:gd name="connsiteY25" fmla="*/ 137065 h 1432274"/>
                <a:gd name="connsiteX26" fmla="*/ 771906 w 1892046"/>
                <a:gd name="connsiteY26" fmla="*/ 56959 h 1432274"/>
                <a:gd name="connsiteX27" fmla="*/ 714280 w 1892046"/>
                <a:gd name="connsiteY27" fmla="*/ 0 h 1432274"/>
                <a:gd name="connsiteX28" fmla="*/ 57626 w 1892046"/>
                <a:gd name="connsiteY28" fmla="*/ 0 h 1432274"/>
                <a:gd name="connsiteX29" fmla="*/ 0 w 1892046"/>
                <a:gd name="connsiteY29" fmla="*/ 57626 h 1432274"/>
                <a:gd name="connsiteX30" fmla="*/ 0 w 1892046"/>
                <a:gd name="connsiteY30" fmla="*/ 288798 h 1432274"/>
                <a:gd name="connsiteX31" fmla="*/ 95 w 1892046"/>
                <a:gd name="connsiteY31" fmla="*/ 291655 h 1432274"/>
                <a:gd name="connsiteX32" fmla="*/ 95 w 1892046"/>
                <a:gd name="connsiteY32" fmla="*/ 299656 h 1432274"/>
                <a:gd name="connsiteX33" fmla="*/ 0 w 1892046"/>
                <a:gd name="connsiteY33" fmla="*/ 303466 h 1432274"/>
                <a:gd name="connsiteX34" fmla="*/ 0 w 1892046"/>
                <a:gd name="connsiteY34" fmla="*/ 427387 h 1432274"/>
                <a:gd name="connsiteX35" fmla="*/ 57341 w 1892046"/>
                <a:gd name="connsiteY35" fmla="*/ 426530 h 1432274"/>
                <a:gd name="connsiteX36" fmla="*/ 411099 w 1892046"/>
                <a:gd name="connsiteY36" fmla="*/ 426530 h 1432274"/>
                <a:gd name="connsiteX37" fmla="*/ 468725 w 1892046"/>
                <a:gd name="connsiteY37" fmla="*/ 484156 h 1432274"/>
                <a:gd name="connsiteX38" fmla="*/ 468725 w 1892046"/>
                <a:gd name="connsiteY38" fmla="*/ 669512 h 1432274"/>
                <a:gd name="connsiteX39" fmla="*/ 411099 w 1892046"/>
                <a:gd name="connsiteY39" fmla="*/ 727138 h 1432274"/>
                <a:gd name="connsiteX40" fmla="*/ 390716 w 1892046"/>
                <a:gd name="connsiteY40" fmla="*/ 727138 h 1432274"/>
                <a:gd name="connsiteX41" fmla="*/ 309753 w 1892046"/>
                <a:gd name="connsiteY41" fmla="*/ 808101 h 1432274"/>
                <a:gd name="connsiteX42" fmla="*/ 309753 w 1892046"/>
                <a:gd name="connsiteY42" fmla="*/ 946975 h 1432274"/>
                <a:gd name="connsiteX43" fmla="*/ 252127 w 1892046"/>
                <a:gd name="connsiteY43" fmla="*/ 1006030 h 1432274"/>
                <a:gd name="connsiteX44" fmla="*/ 231743 w 1892046"/>
                <a:gd name="connsiteY44" fmla="*/ 1006030 h 1432274"/>
                <a:gd name="connsiteX45" fmla="*/ 150781 w 1892046"/>
                <a:gd name="connsiteY45" fmla="*/ 1086993 h 1432274"/>
                <a:gd name="connsiteX46" fmla="*/ 150781 w 1892046"/>
                <a:gd name="connsiteY46" fmla="*/ 1293495 h 1432274"/>
                <a:gd name="connsiteX47" fmla="*/ 107347 w 1892046"/>
                <a:gd name="connsiteY47" fmla="*/ 1294162 h 1432274"/>
                <a:gd name="connsiteX48" fmla="*/ 113348 w 1892046"/>
                <a:gd name="connsiteY48" fmla="*/ 1294352 h 1432274"/>
                <a:gd name="connsiteX49" fmla="*/ 226600 w 1892046"/>
                <a:gd name="connsiteY49" fmla="*/ 1294352 h 1432274"/>
                <a:gd name="connsiteX50" fmla="*/ 306515 w 1892046"/>
                <a:gd name="connsiteY50" fmla="*/ 1362266 h 1432274"/>
                <a:gd name="connsiteX51" fmla="*/ 388906 w 1892046"/>
                <a:gd name="connsiteY51" fmla="*/ 1432274 h 143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92046" h="1432274">
                  <a:moveTo>
                    <a:pt x="388906" y="1432274"/>
                  </a:moveTo>
                  <a:lnTo>
                    <a:pt x="542068" y="1432274"/>
                  </a:lnTo>
                  <a:cubicBezTo>
                    <a:pt x="583406" y="1432274"/>
                    <a:pt x="617982" y="1401794"/>
                    <a:pt x="624364" y="1362266"/>
                  </a:cubicBezTo>
                  <a:cubicBezTo>
                    <a:pt x="630841" y="1322737"/>
                    <a:pt x="664274" y="1294352"/>
                    <a:pt x="704279" y="1294352"/>
                  </a:cubicBezTo>
                  <a:lnTo>
                    <a:pt x="1017461" y="1294352"/>
                  </a:lnTo>
                  <a:cubicBezTo>
                    <a:pt x="1059371" y="1294352"/>
                    <a:pt x="1094232" y="1263110"/>
                    <a:pt x="1100042" y="1222724"/>
                  </a:cubicBezTo>
                  <a:cubicBezTo>
                    <a:pt x="1105662" y="1183481"/>
                    <a:pt x="1137952" y="1154526"/>
                    <a:pt x="1177576" y="1153287"/>
                  </a:cubicBezTo>
                  <a:cubicBezTo>
                    <a:pt x="1222248" y="1151858"/>
                    <a:pt x="1258253" y="1114901"/>
                    <a:pt x="1258253" y="1069943"/>
                  </a:cubicBezTo>
                  <a:lnTo>
                    <a:pt x="1258253" y="796194"/>
                  </a:lnTo>
                  <a:cubicBezTo>
                    <a:pt x="1258253" y="752284"/>
                    <a:pt x="1293400" y="716280"/>
                    <a:pt x="1337405" y="715232"/>
                  </a:cubicBezTo>
                  <a:cubicBezTo>
                    <a:pt x="1377696" y="714280"/>
                    <a:pt x="1411224" y="684371"/>
                    <a:pt x="1417701" y="645605"/>
                  </a:cubicBezTo>
                  <a:cubicBezTo>
                    <a:pt x="1424178" y="607123"/>
                    <a:pt x="1456182" y="579215"/>
                    <a:pt x="1495235" y="578072"/>
                  </a:cubicBezTo>
                  <a:cubicBezTo>
                    <a:pt x="1539716" y="576834"/>
                    <a:pt x="1575721" y="540353"/>
                    <a:pt x="1576292" y="495681"/>
                  </a:cubicBezTo>
                  <a:cubicBezTo>
                    <a:pt x="1576864" y="451390"/>
                    <a:pt x="1613059" y="415671"/>
                    <a:pt x="1657255" y="415671"/>
                  </a:cubicBezTo>
                  <a:lnTo>
                    <a:pt x="1833658" y="415671"/>
                  </a:lnTo>
                  <a:cubicBezTo>
                    <a:pt x="1865376" y="415671"/>
                    <a:pt x="1892141" y="395002"/>
                    <a:pt x="1892046" y="363188"/>
                  </a:cubicBezTo>
                  <a:lnTo>
                    <a:pt x="1891951" y="273177"/>
                  </a:lnTo>
                  <a:cubicBezTo>
                    <a:pt x="1804130" y="273177"/>
                    <a:pt x="1718215" y="273844"/>
                    <a:pt x="1630299" y="273844"/>
                  </a:cubicBezTo>
                  <a:cubicBezTo>
                    <a:pt x="1598581" y="273844"/>
                    <a:pt x="1572673" y="247936"/>
                    <a:pt x="1572673" y="216217"/>
                  </a:cubicBezTo>
                  <a:lnTo>
                    <a:pt x="1572673" y="215551"/>
                  </a:lnTo>
                  <a:lnTo>
                    <a:pt x="1572387" y="215551"/>
                  </a:lnTo>
                  <a:lnTo>
                    <a:pt x="1572387" y="194691"/>
                  </a:lnTo>
                  <a:cubicBezTo>
                    <a:pt x="1572387" y="162973"/>
                    <a:pt x="1546479" y="137065"/>
                    <a:pt x="1514761" y="137065"/>
                  </a:cubicBezTo>
                  <a:lnTo>
                    <a:pt x="1028795" y="137065"/>
                  </a:lnTo>
                  <a:lnTo>
                    <a:pt x="1028986" y="137065"/>
                  </a:lnTo>
                  <a:lnTo>
                    <a:pt x="852869" y="137065"/>
                  </a:lnTo>
                  <a:cubicBezTo>
                    <a:pt x="808577" y="137065"/>
                    <a:pt x="772382" y="101251"/>
                    <a:pt x="771906" y="56959"/>
                  </a:cubicBezTo>
                  <a:cubicBezTo>
                    <a:pt x="771525" y="25622"/>
                    <a:pt x="745712" y="0"/>
                    <a:pt x="714280" y="0"/>
                  </a:cubicBezTo>
                  <a:lnTo>
                    <a:pt x="57626" y="0"/>
                  </a:lnTo>
                  <a:cubicBezTo>
                    <a:pt x="25908" y="0"/>
                    <a:pt x="0" y="25908"/>
                    <a:pt x="0" y="57626"/>
                  </a:cubicBezTo>
                  <a:lnTo>
                    <a:pt x="0" y="288798"/>
                  </a:lnTo>
                  <a:cubicBezTo>
                    <a:pt x="0" y="289750"/>
                    <a:pt x="0" y="290703"/>
                    <a:pt x="95" y="291655"/>
                  </a:cubicBezTo>
                  <a:cubicBezTo>
                    <a:pt x="286" y="294418"/>
                    <a:pt x="286" y="296799"/>
                    <a:pt x="95" y="299656"/>
                  </a:cubicBezTo>
                  <a:cubicBezTo>
                    <a:pt x="0" y="300895"/>
                    <a:pt x="0" y="302228"/>
                    <a:pt x="0" y="303466"/>
                  </a:cubicBezTo>
                  <a:lnTo>
                    <a:pt x="0" y="427387"/>
                  </a:lnTo>
                  <a:lnTo>
                    <a:pt x="57341" y="426530"/>
                  </a:lnTo>
                  <a:lnTo>
                    <a:pt x="411099" y="426530"/>
                  </a:lnTo>
                  <a:cubicBezTo>
                    <a:pt x="442817" y="426530"/>
                    <a:pt x="468725" y="452438"/>
                    <a:pt x="468725" y="484156"/>
                  </a:cubicBezTo>
                  <a:lnTo>
                    <a:pt x="468725" y="669512"/>
                  </a:lnTo>
                  <a:cubicBezTo>
                    <a:pt x="468725" y="701230"/>
                    <a:pt x="442817" y="727138"/>
                    <a:pt x="411099" y="727138"/>
                  </a:cubicBezTo>
                  <a:lnTo>
                    <a:pt x="390716" y="727138"/>
                  </a:lnTo>
                  <a:cubicBezTo>
                    <a:pt x="346139" y="727138"/>
                    <a:pt x="309753" y="763524"/>
                    <a:pt x="309753" y="808101"/>
                  </a:cubicBezTo>
                  <a:lnTo>
                    <a:pt x="309753" y="946975"/>
                  </a:lnTo>
                  <a:cubicBezTo>
                    <a:pt x="309753" y="979456"/>
                    <a:pt x="283845" y="1006030"/>
                    <a:pt x="252127" y="1006030"/>
                  </a:cubicBezTo>
                  <a:lnTo>
                    <a:pt x="231743" y="1006030"/>
                  </a:lnTo>
                  <a:cubicBezTo>
                    <a:pt x="187166" y="1006030"/>
                    <a:pt x="150781" y="1042416"/>
                    <a:pt x="150781" y="1086993"/>
                  </a:cubicBezTo>
                  <a:lnTo>
                    <a:pt x="150781" y="1293495"/>
                  </a:lnTo>
                  <a:lnTo>
                    <a:pt x="107347" y="1294162"/>
                  </a:lnTo>
                  <a:cubicBezTo>
                    <a:pt x="109347" y="1294352"/>
                    <a:pt x="111347" y="1294352"/>
                    <a:pt x="113348" y="1294352"/>
                  </a:cubicBezTo>
                  <a:lnTo>
                    <a:pt x="226600" y="1294352"/>
                  </a:lnTo>
                  <a:cubicBezTo>
                    <a:pt x="266605" y="1294352"/>
                    <a:pt x="300038" y="1322832"/>
                    <a:pt x="306515" y="1362266"/>
                  </a:cubicBezTo>
                  <a:cubicBezTo>
                    <a:pt x="312992" y="1401889"/>
                    <a:pt x="347567" y="1432274"/>
                    <a:pt x="388906" y="1432274"/>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74" name="Freeform: Shape 73">
              <a:extLst>
                <a:ext uri="{FF2B5EF4-FFF2-40B4-BE49-F238E27FC236}">
                  <a16:creationId xmlns:a16="http://schemas.microsoft.com/office/drawing/2014/main" id="{4B519E33-07A0-4069-ACAA-B67B710CD6A1}"/>
                </a:ext>
              </a:extLst>
            </p:cNvPr>
            <p:cNvSpPr/>
            <p:nvPr/>
          </p:nvSpPr>
          <p:spPr>
            <a:xfrm>
              <a:off x="3572367" y="5286168"/>
              <a:ext cx="417766" cy="299656"/>
            </a:xfrm>
            <a:custGeom>
              <a:avLst/>
              <a:gdLst>
                <a:gd name="connsiteX0" fmla="*/ 0 w 417766"/>
                <a:gd name="connsiteY0" fmla="*/ 57626 h 299656"/>
                <a:gd name="connsiteX1" fmla="*/ 0 w 417766"/>
                <a:gd name="connsiteY1" fmla="*/ 77628 h 299656"/>
                <a:gd name="connsiteX2" fmla="*/ 57626 w 417766"/>
                <a:gd name="connsiteY2" fmla="*/ 135255 h 299656"/>
                <a:gd name="connsiteX3" fmla="*/ 201549 w 417766"/>
                <a:gd name="connsiteY3" fmla="*/ 135255 h 299656"/>
                <a:gd name="connsiteX4" fmla="*/ 282512 w 417766"/>
                <a:gd name="connsiteY4" fmla="*/ 216218 h 299656"/>
                <a:gd name="connsiteX5" fmla="*/ 282512 w 417766"/>
                <a:gd name="connsiteY5" fmla="*/ 242030 h 299656"/>
                <a:gd name="connsiteX6" fmla="*/ 340138 w 417766"/>
                <a:gd name="connsiteY6" fmla="*/ 299656 h 299656"/>
                <a:gd name="connsiteX7" fmla="*/ 360140 w 417766"/>
                <a:gd name="connsiteY7" fmla="*/ 299656 h 299656"/>
                <a:gd name="connsiteX8" fmla="*/ 417767 w 417766"/>
                <a:gd name="connsiteY8" fmla="*/ 242030 h 299656"/>
                <a:gd name="connsiteX9" fmla="*/ 417767 w 417766"/>
                <a:gd name="connsiteY9" fmla="*/ 77628 h 299656"/>
                <a:gd name="connsiteX10" fmla="*/ 417767 w 417766"/>
                <a:gd name="connsiteY10" fmla="*/ 57626 h 299656"/>
                <a:gd name="connsiteX11" fmla="*/ 417767 w 417766"/>
                <a:gd name="connsiteY11" fmla="*/ 56102 h 299656"/>
                <a:gd name="connsiteX12" fmla="*/ 417767 w 417766"/>
                <a:gd name="connsiteY12" fmla="*/ 56102 h 299656"/>
                <a:gd name="connsiteX13" fmla="*/ 417671 w 417766"/>
                <a:gd name="connsiteY13" fmla="*/ 54673 h 299656"/>
                <a:gd name="connsiteX14" fmla="*/ 417671 w 417766"/>
                <a:gd name="connsiteY14" fmla="*/ 54673 h 299656"/>
                <a:gd name="connsiteX15" fmla="*/ 417576 w 417766"/>
                <a:gd name="connsiteY15" fmla="*/ 53244 h 299656"/>
                <a:gd name="connsiteX16" fmla="*/ 417576 w 417766"/>
                <a:gd name="connsiteY16" fmla="*/ 53244 h 299656"/>
                <a:gd name="connsiteX17" fmla="*/ 417481 w 417766"/>
                <a:gd name="connsiteY17" fmla="*/ 51816 h 299656"/>
                <a:gd name="connsiteX18" fmla="*/ 417481 w 417766"/>
                <a:gd name="connsiteY18" fmla="*/ 51816 h 299656"/>
                <a:gd name="connsiteX19" fmla="*/ 417290 w 417766"/>
                <a:gd name="connsiteY19" fmla="*/ 50387 h 299656"/>
                <a:gd name="connsiteX20" fmla="*/ 417290 w 417766"/>
                <a:gd name="connsiteY20" fmla="*/ 50387 h 299656"/>
                <a:gd name="connsiteX21" fmla="*/ 417100 w 417766"/>
                <a:gd name="connsiteY21" fmla="*/ 48958 h 299656"/>
                <a:gd name="connsiteX22" fmla="*/ 417100 w 417766"/>
                <a:gd name="connsiteY22" fmla="*/ 48958 h 299656"/>
                <a:gd name="connsiteX23" fmla="*/ 416909 w 417766"/>
                <a:gd name="connsiteY23" fmla="*/ 47530 h 299656"/>
                <a:gd name="connsiteX24" fmla="*/ 416909 w 417766"/>
                <a:gd name="connsiteY24" fmla="*/ 47530 h 299656"/>
                <a:gd name="connsiteX25" fmla="*/ 416623 w 417766"/>
                <a:gd name="connsiteY25" fmla="*/ 46101 h 299656"/>
                <a:gd name="connsiteX26" fmla="*/ 416623 w 417766"/>
                <a:gd name="connsiteY26" fmla="*/ 46101 h 299656"/>
                <a:gd name="connsiteX27" fmla="*/ 416338 w 417766"/>
                <a:gd name="connsiteY27" fmla="*/ 44672 h 299656"/>
                <a:gd name="connsiteX28" fmla="*/ 416338 w 417766"/>
                <a:gd name="connsiteY28" fmla="*/ 44672 h 299656"/>
                <a:gd name="connsiteX29" fmla="*/ 415957 w 417766"/>
                <a:gd name="connsiteY29" fmla="*/ 43243 h 299656"/>
                <a:gd name="connsiteX30" fmla="*/ 415957 w 417766"/>
                <a:gd name="connsiteY30" fmla="*/ 43243 h 299656"/>
                <a:gd name="connsiteX31" fmla="*/ 415576 w 417766"/>
                <a:gd name="connsiteY31" fmla="*/ 41910 h 299656"/>
                <a:gd name="connsiteX32" fmla="*/ 415576 w 417766"/>
                <a:gd name="connsiteY32" fmla="*/ 41910 h 299656"/>
                <a:gd name="connsiteX33" fmla="*/ 415195 w 417766"/>
                <a:gd name="connsiteY33" fmla="*/ 40577 h 299656"/>
                <a:gd name="connsiteX34" fmla="*/ 415195 w 417766"/>
                <a:gd name="connsiteY34" fmla="*/ 40577 h 299656"/>
                <a:gd name="connsiteX35" fmla="*/ 414719 w 417766"/>
                <a:gd name="connsiteY35" fmla="*/ 39243 h 299656"/>
                <a:gd name="connsiteX36" fmla="*/ 414719 w 417766"/>
                <a:gd name="connsiteY36" fmla="*/ 39243 h 299656"/>
                <a:gd name="connsiteX37" fmla="*/ 414242 w 417766"/>
                <a:gd name="connsiteY37" fmla="*/ 37909 h 299656"/>
                <a:gd name="connsiteX38" fmla="*/ 414242 w 417766"/>
                <a:gd name="connsiteY38" fmla="*/ 37909 h 299656"/>
                <a:gd name="connsiteX39" fmla="*/ 413766 w 417766"/>
                <a:gd name="connsiteY39" fmla="*/ 36576 h 299656"/>
                <a:gd name="connsiteX40" fmla="*/ 413766 w 417766"/>
                <a:gd name="connsiteY40" fmla="*/ 36576 h 299656"/>
                <a:gd name="connsiteX41" fmla="*/ 413195 w 417766"/>
                <a:gd name="connsiteY41" fmla="*/ 35243 h 299656"/>
                <a:gd name="connsiteX42" fmla="*/ 413195 w 417766"/>
                <a:gd name="connsiteY42" fmla="*/ 35243 h 299656"/>
                <a:gd name="connsiteX43" fmla="*/ 412623 w 417766"/>
                <a:gd name="connsiteY43" fmla="*/ 34004 h 299656"/>
                <a:gd name="connsiteX44" fmla="*/ 412623 w 417766"/>
                <a:gd name="connsiteY44" fmla="*/ 34004 h 299656"/>
                <a:gd name="connsiteX45" fmla="*/ 412052 w 417766"/>
                <a:gd name="connsiteY45" fmla="*/ 32766 h 299656"/>
                <a:gd name="connsiteX46" fmla="*/ 412052 w 417766"/>
                <a:gd name="connsiteY46" fmla="*/ 32766 h 299656"/>
                <a:gd name="connsiteX47" fmla="*/ 411385 w 417766"/>
                <a:gd name="connsiteY47" fmla="*/ 31528 h 299656"/>
                <a:gd name="connsiteX48" fmla="*/ 411385 w 417766"/>
                <a:gd name="connsiteY48" fmla="*/ 31528 h 299656"/>
                <a:gd name="connsiteX49" fmla="*/ 410718 w 417766"/>
                <a:gd name="connsiteY49" fmla="*/ 30289 h 299656"/>
                <a:gd name="connsiteX50" fmla="*/ 410718 w 417766"/>
                <a:gd name="connsiteY50" fmla="*/ 30289 h 299656"/>
                <a:gd name="connsiteX51" fmla="*/ 410051 w 417766"/>
                <a:gd name="connsiteY51" fmla="*/ 29051 h 299656"/>
                <a:gd name="connsiteX52" fmla="*/ 410051 w 417766"/>
                <a:gd name="connsiteY52" fmla="*/ 29051 h 299656"/>
                <a:gd name="connsiteX53" fmla="*/ 409385 w 417766"/>
                <a:gd name="connsiteY53" fmla="*/ 27813 h 299656"/>
                <a:gd name="connsiteX54" fmla="*/ 409385 w 417766"/>
                <a:gd name="connsiteY54" fmla="*/ 27813 h 299656"/>
                <a:gd name="connsiteX55" fmla="*/ 408622 w 417766"/>
                <a:gd name="connsiteY55" fmla="*/ 26670 h 299656"/>
                <a:gd name="connsiteX56" fmla="*/ 408622 w 417766"/>
                <a:gd name="connsiteY56" fmla="*/ 26670 h 299656"/>
                <a:gd name="connsiteX57" fmla="*/ 407861 w 417766"/>
                <a:gd name="connsiteY57" fmla="*/ 25527 h 299656"/>
                <a:gd name="connsiteX58" fmla="*/ 407861 w 417766"/>
                <a:gd name="connsiteY58" fmla="*/ 25527 h 299656"/>
                <a:gd name="connsiteX59" fmla="*/ 407098 w 417766"/>
                <a:gd name="connsiteY59" fmla="*/ 24384 h 299656"/>
                <a:gd name="connsiteX60" fmla="*/ 407098 w 417766"/>
                <a:gd name="connsiteY60" fmla="*/ 24384 h 299656"/>
                <a:gd name="connsiteX61" fmla="*/ 406241 w 417766"/>
                <a:gd name="connsiteY61" fmla="*/ 23241 h 299656"/>
                <a:gd name="connsiteX62" fmla="*/ 406241 w 417766"/>
                <a:gd name="connsiteY62" fmla="*/ 23241 h 299656"/>
                <a:gd name="connsiteX63" fmla="*/ 405384 w 417766"/>
                <a:gd name="connsiteY63" fmla="*/ 22193 h 299656"/>
                <a:gd name="connsiteX64" fmla="*/ 405384 w 417766"/>
                <a:gd name="connsiteY64" fmla="*/ 22193 h 299656"/>
                <a:gd name="connsiteX65" fmla="*/ 404527 w 417766"/>
                <a:gd name="connsiteY65" fmla="*/ 21145 h 299656"/>
                <a:gd name="connsiteX66" fmla="*/ 404527 w 417766"/>
                <a:gd name="connsiteY66" fmla="*/ 21145 h 299656"/>
                <a:gd name="connsiteX67" fmla="*/ 403670 w 417766"/>
                <a:gd name="connsiteY67" fmla="*/ 20098 h 299656"/>
                <a:gd name="connsiteX68" fmla="*/ 403670 w 417766"/>
                <a:gd name="connsiteY68" fmla="*/ 20098 h 299656"/>
                <a:gd name="connsiteX69" fmla="*/ 402717 w 417766"/>
                <a:gd name="connsiteY69" fmla="*/ 19050 h 299656"/>
                <a:gd name="connsiteX70" fmla="*/ 402717 w 417766"/>
                <a:gd name="connsiteY70" fmla="*/ 19050 h 299656"/>
                <a:gd name="connsiteX71" fmla="*/ 401764 w 417766"/>
                <a:gd name="connsiteY71" fmla="*/ 18002 h 299656"/>
                <a:gd name="connsiteX72" fmla="*/ 401764 w 417766"/>
                <a:gd name="connsiteY72" fmla="*/ 18002 h 299656"/>
                <a:gd name="connsiteX73" fmla="*/ 400812 w 417766"/>
                <a:gd name="connsiteY73" fmla="*/ 17050 h 299656"/>
                <a:gd name="connsiteX74" fmla="*/ 400812 w 417766"/>
                <a:gd name="connsiteY74" fmla="*/ 17050 h 299656"/>
                <a:gd name="connsiteX75" fmla="*/ 399860 w 417766"/>
                <a:gd name="connsiteY75" fmla="*/ 16097 h 299656"/>
                <a:gd name="connsiteX76" fmla="*/ 399860 w 417766"/>
                <a:gd name="connsiteY76" fmla="*/ 16097 h 299656"/>
                <a:gd name="connsiteX77" fmla="*/ 398812 w 417766"/>
                <a:gd name="connsiteY77" fmla="*/ 15144 h 299656"/>
                <a:gd name="connsiteX78" fmla="*/ 398812 w 417766"/>
                <a:gd name="connsiteY78" fmla="*/ 15144 h 299656"/>
                <a:gd name="connsiteX79" fmla="*/ 397764 w 417766"/>
                <a:gd name="connsiteY79" fmla="*/ 14192 h 299656"/>
                <a:gd name="connsiteX80" fmla="*/ 397764 w 417766"/>
                <a:gd name="connsiteY80" fmla="*/ 14192 h 299656"/>
                <a:gd name="connsiteX81" fmla="*/ 396716 w 417766"/>
                <a:gd name="connsiteY81" fmla="*/ 13335 h 299656"/>
                <a:gd name="connsiteX82" fmla="*/ 396716 w 417766"/>
                <a:gd name="connsiteY82" fmla="*/ 13335 h 299656"/>
                <a:gd name="connsiteX83" fmla="*/ 395669 w 417766"/>
                <a:gd name="connsiteY83" fmla="*/ 12478 h 299656"/>
                <a:gd name="connsiteX84" fmla="*/ 395669 w 417766"/>
                <a:gd name="connsiteY84" fmla="*/ 12478 h 299656"/>
                <a:gd name="connsiteX85" fmla="*/ 394621 w 417766"/>
                <a:gd name="connsiteY85" fmla="*/ 11620 h 299656"/>
                <a:gd name="connsiteX86" fmla="*/ 394621 w 417766"/>
                <a:gd name="connsiteY86" fmla="*/ 11620 h 299656"/>
                <a:gd name="connsiteX87" fmla="*/ 393478 w 417766"/>
                <a:gd name="connsiteY87" fmla="*/ 10763 h 299656"/>
                <a:gd name="connsiteX88" fmla="*/ 393478 w 417766"/>
                <a:gd name="connsiteY88" fmla="*/ 10763 h 299656"/>
                <a:gd name="connsiteX89" fmla="*/ 392335 w 417766"/>
                <a:gd name="connsiteY89" fmla="*/ 10001 h 299656"/>
                <a:gd name="connsiteX90" fmla="*/ 392335 w 417766"/>
                <a:gd name="connsiteY90" fmla="*/ 10001 h 299656"/>
                <a:gd name="connsiteX91" fmla="*/ 391192 w 417766"/>
                <a:gd name="connsiteY91" fmla="*/ 9239 h 299656"/>
                <a:gd name="connsiteX92" fmla="*/ 391192 w 417766"/>
                <a:gd name="connsiteY92" fmla="*/ 9239 h 299656"/>
                <a:gd name="connsiteX93" fmla="*/ 390049 w 417766"/>
                <a:gd name="connsiteY93" fmla="*/ 8477 h 299656"/>
                <a:gd name="connsiteX94" fmla="*/ 390049 w 417766"/>
                <a:gd name="connsiteY94" fmla="*/ 8477 h 299656"/>
                <a:gd name="connsiteX95" fmla="*/ 388811 w 417766"/>
                <a:gd name="connsiteY95" fmla="*/ 7811 h 299656"/>
                <a:gd name="connsiteX96" fmla="*/ 388811 w 417766"/>
                <a:gd name="connsiteY96" fmla="*/ 7811 h 299656"/>
                <a:gd name="connsiteX97" fmla="*/ 387572 w 417766"/>
                <a:gd name="connsiteY97" fmla="*/ 7144 h 299656"/>
                <a:gd name="connsiteX98" fmla="*/ 387572 w 417766"/>
                <a:gd name="connsiteY98" fmla="*/ 7144 h 299656"/>
                <a:gd name="connsiteX99" fmla="*/ 386334 w 417766"/>
                <a:gd name="connsiteY99" fmla="*/ 6477 h 299656"/>
                <a:gd name="connsiteX100" fmla="*/ 386334 w 417766"/>
                <a:gd name="connsiteY100" fmla="*/ 6477 h 299656"/>
                <a:gd name="connsiteX101" fmla="*/ 385096 w 417766"/>
                <a:gd name="connsiteY101" fmla="*/ 5810 h 299656"/>
                <a:gd name="connsiteX102" fmla="*/ 385096 w 417766"/>
                <a:gd name="connsiteY102" fmla="*/ 5810 h 299656"/>
                <a:gd name="connsiteX103" fmla="*/ 383858 w 417766"/>
                <a:gd name="connsiteY103" fmla="*/ 5239 h 299656"/>
                <a:gd name="connsiteX104" fmla="*/ 383858 w 417766"/>
                <a:gd name="connsiteY104" fmla="*/ 5239 h 299656"/>
                <a:gd name="connsiteX105" fmla="*/ 382619 w 417766"/>
                <a:gd name="connsiteY105" fmla="*/ 4667 h 299656"/>
                <a:gd name="connsiteX106" fmla="*/ 382619 w 417766"/>
                <a:gd name="connsiteY106" fmla="*/ 4667 h 299656"/>
                <a:gd name="connsiteX107" fmla="*/ 381286 w 417766"/>
                <a:gd name="connsiteY107" fmla="*/ 4096 h 299656"/>
                <a:gd name="connsiteX108" fmla="*/ 381286 w 417766"/>
                <a:gd name="connsiteY108" fmla="*/ 4096 h 299656"/>
                <a:gd name="connsiteX109" fmla="*/ 379952 w 417766"/>
                <a:gd name="connsiteY109" fmla="*/ 3620 h 299656"/>
                <a:gd name="connsiteX110" fmla="*/ 379952 w 417766"/>
                <a:gd name="connsiteY110" fmla="*/ 3620 h 299656"/>
                <a:gd name="connsiteX111" fmla="*/ 378619 w 417766"/>
                <a:gd name="connsiteY111" fmla="*/ 3143 h 299656"/>
                <a:gd name="connsiteX112" fmla="*/ 378619 w 417766"/>
                <a:gd name="connsiteY112" fmla="*/ 3143 h 299656"/>
                <a:gd name="connsiteX113" fmla="*/ 377285 w 417766"/>
                <a:gd name="connsiteY113" fmla="*/ 2667 h 299656"/>
                <a:gd name="connsiteX114" fmla="*/ 377285 w 417766"/>
                <a:gd name="connsiteY114" fmla="*/ 2667 h 299656"/>
                <a:gd name="connsiteX115" fmla="*/ 375952 w 417766"/>
                <a:gd name="connsiteY115" fmla="*/ 2286 h 299656"/>
                <a:gd name="connsiteX116" fmla="*/ 375952 w 417766"/>
                <a:gd name="connsiteY116" fmla="*/ 2286 h 299656"/>
                <a:gd name="connsiteX117" fmla="*/ 374618 w 417766"/>
                <a:gd name="connsiteY117" fmla="*/ 1905 h 299656"/>
                <a:gd name="connsiteX118" fmla="*/ 374618 w 417766"/>
                <a:gd name="connsiteY118" fmla="*/ 1905 h 299656"/>
                <a:gd name="connsiteX119" fmla="*/ 373285 w 417766"/>
                <a:gd name="connsiteY119" fmla="*/ 1524 h 299656"/>
                <a:gd name="connsiteX120" fmla="*/ 373285 w 417766"/>
                <a:gd name="connsiteY120" fmla="*/ 1524 h 299656"/>
                <a:gd name="connsiteX121" fmla="*/ 371856 w 417766"/>
                <a:gd name="connsiteY121" fmla="*/ 1238 h 299656"/>
                <a:gd name="connsiteX122" fmla="*/ 371856 w 417766"/>
                <a:gd name="connsiteY122" fmla="*/ 1238 h 299656"/>
                <a:gd name="connsiteX123" fmla="*/ 370427 w 417766"/>
                <a:gd name="connsiteY123" fmla="*/ 952 h 299656"/>
                <a:gd name="connsiteX124" fmla="*/ 370427 w 417766"/>
                <a:gd name="connsiteY124" fmla="*/ 952 h 299656"/>
                <a:gd name="connsiteX125" fmla="*/ 368998 w 417766"/>
                <a:gd name="connsiteY125" fmla="*/ 667 h 299656"/>
                <a:gd name="connsiteX126" fmla="*/ 368998 w 417766"/>
                <a:gd name="connsiteY126" fmla="*/ 667 h 299656"/>
                <a:gd name="connsiteX127" fmla="*/ 367570 w 417766"/>
                <a:gd name="connsiteY127" fmla="*/ 476 h 299656"/>
                <a:gd name="connsiteX128" fmla="*/ 367570 w 417766"/>
                <a:gd name="connsiteY128" fmla="*/ 476 h 299656"/>
                <a:gd name="connsiteX129" fmla="*/ 366141 w 417766"/>
                <a:gd name="connsiteY129" fmla="*/ 285 h 299656"/>
                <a:gd name="connsiteX130" fmla="*/ 366141 w 417766"/>
                <a:gd name="connsiteY130" fmla="*/ 285 h 299656"/>
                <a:gd name="connsiteX131" fmla="*/ 364712 w 417766"/>
                <a:gd name="connsiteY131" fmla="*/ 190 h 299656"/>
                <a:gd name="connsiteX132" fmla="*/ 364712 w 417766"/>
                <a:gd name="connsiteY132" fmla="*/ 190 h 299656"/>
                <a:gd name="connsiteX133" fmla="*/ 363284 w 417766"/>
                <a:gd name="connsiteY133" fmla="*/ 95 h 299656"/>
                <a:gd name="connsiteX134" fmla="*/ 363284 w 417766"/>
                <a:gd name="connsiteY134" fmla="*/ 95 h 299656"/>
                <a:gd name="connsiteX135" fmla="*/ 362807 w 417766"/>
                <a:gd name="connsiteY135" fmla="*/ 95 h 299656"/>
                <a:gd name="connsiteX136" fmla="*/ 360902 w 417766"/>
                <a:gd name="connsiteY136" fmla="*/ 0 h 299656"/>
                <a:gd name="connsiteX137" fmla="*/ 360426 w 417766"/>
                <a:gd name="connsiteY137" fmla="*/ 0 h 299656"/>
                <a:gd name="connsiteX138" fmla="*/ 360426 w 417766"/>
                <a:gd name="connsiteY138" fmla="*/ 0 h 299656"/>
                <a:gd name="connsiteX139" fmla="*/ 340423 w 417766"/>
                <a:gd name="connsiteY139" fmla="*/ 0 h 299656"/>
                <a:gd name="connsiteX140" fmla="*/ 57912 w 417766"/>
                <a:gd name="connsiteY140" fmla="*/ 0 h 299656"/>
                <a:gd name="connsiteX141" fmla="*/ 0 w 417766"/>
                <a:gd name="connsiteY141" fmla="*/ 57626 h 299656"/>
                <a:gd name="connsiteX142" fmla="*/ 0 w 417766"/>
                <a:gd name="connsiteY142" fmla="*/ 57626 h 299656"/>
                <a:gd name="connsiteX143" fmla="*/ 417767 w 417766"/>
                <a:gd name="connsiteY143" fmla="*/ 57626 h 299656"/>
                <a:gd name="connsiteX144" fmla="*/ 417767 w 417766"/>
                <a:gd name="connsiteY144" fmla="*/ 57626 h 299656"/>
                <a:gd name="connsiteX145" fmla="*/ 417767 w 417766"/>
                <a:gd name="connsiteY145" fmla="*/ 57626 h 29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17766" h="299656">
                  <a:moveTo>
                    <a:pt x="0" y="57626"/>
                  </a:moveTo>
                  <a:lnTo>
                    <a:pt x="0" y="77628"/>
                  </a:lnTo>
                  <a:cubicBezTo>
                    <a:pt x="0" y="109347"/>
                    <a:pt x="25908" y="135255"/>
                    <a:pt x="57626" y="135255"/>
                  </a:cubicBezTo>
                  <a:lnTo>
                    <a:pt x="201549" y="135255"/>
                  </a:lnTo>
                  <a:cubicBezTo>
                    <a:pt x="246126" y="135255"/>
                    <a:pt x="282512" y="171640"/>
                    <a:pt x="282512" y="216218"/>
                  </a:cubicBezTo>
                  <a:lnTo>
                    <a:pt x="282512" y="242030"/>
                  </a:lnTo>
                  <a:cubicBezTo>
                    <a:pt x="282512" y="273748"/>
                    <a:pt x="308420" y="299656"/>
                    <a:pt x="340138" y="299656"/>
                  </a:cubicBezTo>
                  <a:lnTo>
                    <a:pt x="360140" y="299656"/>
                  </a:lnTo>
                  <a:cubicBezTo>
                    <a:pt x="391859" y="299656"/>
                    <a:pt x="417767" y="273748"/>
                    <a:pt x="417767" y="242030"/>
                  </a:cubicBezTo>
                  <a:lnTo>
                    <a:pt x="417767" y="77628"/>
                  </a:lnTo>
                  <a:lnTo>
                    <a:pt x="417767" y="57626"/>
                  </a:lnTo>
                  <a:lnTo>
                    <a:pt x="417767" y="56102"/>
                  </a:lnTo>
                  <a:lnTo>
                    <a:pt x="417767" y="56102"/>
                  </a:lnTo>
                  <a:lnTo>
                    <a:pt x="417671" y="54673"/>
                  </a:lnTo>
                  <a:lnTo>
                    <a:pt x="417671" y="54673"/>
                  </a:lnTo>
                  <a:lnTo>
                    <a:pt x="417576" y="53244"/>
                  </a:lnTo>
                  <a:lnTo>
                    <a:pt x="417576" y="53244"/>
                  </a:lnTo>
                  <a:lnTo>
                    <a:pt x="417481" y="51816"/>
                  </a:lnTo>
                  <a:lnTo>
                    <a:pt x="417481" y="51816"/>
                  </a:lnTo>
                  <a:lnTo>
                    <a:pt x="417290" y="50387"/>
                  </a:lnTo>
                  <a:lnTo>
                    <a:pt x="417290" y="50387"/>
                  </a:lnTo>
                  <a:lnTo>
                    <a:pt x="417100" y="48958"/>
                  </a:lnTo>
                  <a:lnTo>
                    <a:pt x="417100" y="48958"/>
                  </a:lnTo>
                  <a:lnTo>
                    <a:pt x="416909" y="47530"/>
                  </a:lnTo>
                  <a:lnTo>
                    <a:pt x="416909" y="47530"/>
                  </a:lnTo>
                  <a:cubicBezTo>
                    <a:pt x="416814" y="47054"/>
                    <a:pt x="416719" y="46577"/>
                    <a:pt x="416623" y="46101"/>
                  </a:cubicBezTo>
                  <a:lnTo>
                    <a:pt x="416623" y="46101"/>
                  </a:lnTo>
                  <a:lnTo>
                    <a:pt x="416338" y="44672"/>
                  </a:lnTo>
                  <a:lnTo>
                    <a:pt x="416338" y="44672"/>
                  </a:lnTo>
                  <a:lnTo>
                    <a:pt x="415957" y="43243"/>
                  </a:lnTo>
                  <a:lnTo>
                    <a:pt x="415957" y="43243"/>
                  </a:lnTo>
                  <a:lnTo>
                    <a:pt x="415576" y="41910"/>
                  </a:lnTo>
                  <a:lnTo>
                    <a:pt x="415576" y="41910"/>
                  </a:lnTo>
                  <a:lnTo>
                    <a:pt x="415195" y="40577"/>
                  </a:lnTo>
                  <a:lnTo>
                    <a:pt x="415195" y="40577"/>
                  </a:lnTo>
                  <a:lnTo>
                    <a:pt x="414719" y="39243"/>
                  </a:lnTo>
                  <a:lnTo>
                    <a:pt x="414719" y="39243"/>
                  </a:lnTo>
                  <a:lnTo>
                    <a:pt x="414242" y="37909"/>
                  </a:lnTo>
                  <a:lnTo>
                    <a:pt x="414242" y="37909"/>
                  </a:lnTo>
                  <a:lnTo>
                    <a:pt x="413766" y="36576"/>
                  </a:lnTo>
                  <a:lnTo>
                    <a:pt x="413766" y="36576"/>
                  </a:lnTo>
                  <a:lnTo>
                    <a:pt x="413195" y="35243"/>
                  </a:lnTo>
                  <a:lnTo>
                    <a:pt x="413195" y="35243"/>
                  </a:lnTo>
                  <a:lnTo>
                    <a:pt x="412623" y="34004"/>
                  </a:lnTo>
                  <a:lnTo>
                    <a:pt x="412623" y="34004"/>
                  </a:lnTo>
                  <a:lnTo>
                    <a:pt x="412052" y="32766"/>
                  </a:lnTo>
                  <a:lnTo>
                    <a:pt x="412052" y="32766"/>
                  </a:lnTo>
                  <a:lnTo>
                    <a:pt x="411385" y="31528"/>
                  </a:lnTo>
                  <a:lnTo>
                    <a:pt x="411385" y="31528"/>
                  </a:lnTo>
                  <a:cubicBezTo>
                    <a:pt x="411194" y="31146"/>
                    <a:pt x="411004" y="30670"/>
                    <a:pt x="410718" y="30289"/>
                  </a:cubicBezTo>
                  <a:lnTo>
                    <a:pt x="410718" y="30289"/>
                  </a:lnTo>
                  <a:lnTo>
                    <a:pt x="410051" y="29051"/>
                  </a:lnTo>
                  <a:lnTo>
                    <a:pt x="410051" y="29051"/>
                  </a:lnTo>
                  <a:cubicBezTo>
                    <a:pt x="409861" y="28670"/>
                    <a:pt x="409575" y="28289"/>
                    <a:pt x="409385" y="27813"/>
                  </a:cubicBezTo>
                  <a:lnTo>
                    <a:pt x="409385" y="27813"/>
                  </a:lnTo>
                  <a:lnTo>
                    <a:pt x="408622" y="26670"/>
                  </a:lnTo>
                  <a:lnTo>
                    <a:pt x="408622" y="26670"/>
                  </a:lnTo>
                  <a:lnTo>
                    <a:pt x="407861" y="25527"/>
                  </a:lnTo>
                  <a:lnTo>
                    <a:pt x="407861" y="25527"/>
                  </a:lnTo>
                  <a:lnTo>
                    <a:pt x="407098" y="24384"/>
                  </a:lnTo>
                  <a:lnTo>
                    <a:pt x="407098" y="24384"/>
                  </a:lnTo>
                  <a:lnTo>
                    <a:pt x="406241" y="23241"/>
                  </a:lnTo>
                  <a:lnTo>
                    <a:pt x="406241" y="23241"/>
                  </a:lnTo>
                  <a:lnTo>
                    <a:pt x="405384" y="22193"/>
                  </a:lnTo>
                  <a:lnTo>
                    <a:pt x="405384" y="22193"/>
                  </a:lnTo>
                  <a:cubicBezTo>
                    <a:pt x="405098" y="21812"/>
                    <a:pt x="404813" y="21431"/>
                    <a:pt x="404527" y="21145"/>
                  </a:cubicBezTo>
                  <a:lnTo>
                    <a:pt x="404527" y="21145"/>
                  </a:lnTo>
                  <a:lnTo>
                    <a:pt x="403670" y="20098"/>
                  </a:lnTo>
                  <a:lnTo>
                    <a:pt x="403670" y="20098"/>
                  </a:lnTo>
                  <a:lnTo>
                    <a:pt x="402717" y="19050"/>
                  </a:lnTo>
                  <a:lnTo>
                    <a:pt x="402717" y="19050"/>
                  </a:lnTo>
                  <a:lnTo>
                    <a:pt x="401764" y="18002"/>
                  </a:lnTo>
                  <a:lnTo>
                    <a:pt x="401764" y="18002"/>
                  </a:lnTo>
                  <a:lnTo>
                    <a:pt x="400812" y="17050"/>
                  </a:lnTo>
                  <a:lnTo>
                    <a:pt x="400812" y="17050"/>
                  </a:lnTo>
                  <a:lnTo>
                    <a:pt x="399860" y="16097"/>
                  </a:lnTo>
                  <a:lnTo>
                    <a:pt x="399860" y="16097"/>
                  </a:lnTo>
                  <a:lnTo>
                    <a:pt x="398812" y="15144"/>
                  </a:lnTo>
                  <a:lnTo>
                    <a:pt x="398812" y="15144"/>
                  </a:lnTo>
                  <a:lnTo>
                    <a:pt x="397764" y="14192"/>
                  </a:lnTo>
                  <a:lnTo>
                    <a:pt x="397764" y="14192"/>
                  </a:lnTo>
                  <a:lnTo>
                    <a:pt x="396716" y="13335"/>
                  </a:lnTo>
                  <a:lnTo>
                    <a:pt x="396716" y="13335"/>
                  </a:lnTo>
                  <a:cubicBezTo>
                    <a:pt x="396335" y="13049"/>
                    <a:pt x="395954" y="12763"/>
                    <a:pt x="395669" y="12478"/>
                  </a:cubicBezTo>
                  <a:lnTo>
                    <a:pt x="395669" y="12478"/>
                  </a:lnTo>
                  <a:cubicBezTo>
                    <a:pt x="395288" y="12192"/>
                    <a:pt x="394906" y="11906"/>
                    <a:pt x="394621" y="11620"/>
                  </a:cubicBezTo>
                  <a:lnTo>
                    <a:pt x="394621" y="11620"/>
                  </a:lnTo>
                  <a:lnTo>
                    <a:pt x="393478" y="10763"/>
                  </a:lnTo>
                  <a:lnTo>
                    <a:pt x="393478" y="10763"/>
                  </a:lnTo>
                  <a:lnTo>
                    <a:pt x="392335" y="10001"/>
                  </a:lnTo>
                  <a:lnTo>
                    <a:pt x="392335" y="10001"/>
                  </a:lnTo>
                  <a:lnTo>
                    <a:pt x="391192" y="9239"/>
                  </a:lnTo>
                  <a:lnTo>
                    <a:pt x="391192" y="9239"/>
                  </a:lnTo>
                  <a:lnTo>
                    <a:pt x="390049" y="8477"/>
                  </a:lnTo>
                  <a:lnTo>
                    <a:pt x="390049" y="8477"/>
                  </a:lnTo>
                  <a:lnTo>
                    <a:pt x="388811" y="7811"/>
                  </a:lnTo>
                  <a:lnTo>
                    <a:pt x="388811" y="7811"/>
                  </a:lnTo>
                  <a:lnTo>
                    <a:pt x="387572" y="7144"/>
                  </a:lnTo>
                  <a:lnTo>
                    <a:pt x="387572" y="7144"/>
                  </a:lnTo>
                  <a:lnTo>
                    <a:pt x="386334" y="6477"/>
                  </a:lnTo>
                  <a:lnTo>
                    <a:pt x="386334" y="6477"/>
                  </a:lnTo>
                  <a:lnTo>
                    <a:pt x="385096" y="5810"/>
                  </a:lnTo>
                  <a:lnTo>
                    <a:pt x="385096" y="5810"/>
                  </a:lnTo>
                  <a:lnTo>
                    <a:pt x="383858" y="5239"/>
                  </a:lnTo>
                  <a:lnTo>
                    <a:pt x="383858" y="5239"/>
                  </a:lnTo>
                  <a:cubicBezTo>
                    <a:pt x="383477" y="5048"/>
                    <a:pt x="383000" y="4858"/>
                    <a:pt x="382619" y="4667"/>
                  </a:cubicBezTo>
                  <a:lnTo>
                    <a:pt x="382619" y="4667"/>
                  </a:lnTo>
                  <a:lnTo>
                    <a:pt x="381286" y="4096"/>
                  </a:lnTo>
                  <a:lnTo>
                    <a:pt x="381286" y="4096"/>
                  </a:lnTo>
                  <a:lnTo>
                    <a:pt x="379952" y="3620"/>
                  </a:lnTo>
                  <a:lnTo>
                    <a:pt x="379952" y="3620"/>
                  </a:lnTo>
                  <a:lnTo>
                    <a:pt x="378619" y="3143"/>
                  </a:lnTo>
                  <a:lnTo>
                    <a:pt x="378619" y="3143"/>
                  </a:lnTo>
                  <a:lnTo>
                    <a:pt x="377285" y="2667"/>
                  </a:lnTo>
                  <a:lnTo>
                    <a:pt x="377285" y="2667"/>
                  </a:lnTo>
                  <a:lnTo>
                    <a:pt x="375952" y="2286"/>
                  </a:lnTo>
                  <a:lnTo>
                    <a:pt x="375952" y="2286"/>
                  </a:lnTo>
                  <a:lnTo>
                    <a:pt x="374618" y="1905"/>
                  </a:lnTo>
                  <a:lnTo>
                    <a:pt x="374618" y="1905"/>
                  </a:lnTo>
                  <a:lnTo>
                    <a:pt x="373285" y="1524"/>
                  </a:lnTo>
                  <a:lnTo>
                    <a:pt x="373285" y="1524"/>
                  </a:lnTo>
                  <a:lnTo>
                    <a:pt x="371856" y="1238"/>
                  </a:lnTo>
                  <a:lnTo>
                    <a:pt x="371856" y="1238"/>
                  </a:lnTo>
                  <a:cubicBezTo>
                    <a:pt x="371380" y="1143"/>
                    <a:pt x="370904" y="1048"/>
                    <a:pt x="370427" y="952"/>
                  </a:cubicBezTo>
                  <a:lnTo>
                    <a:pt x="370427" y="952"/>
                  </a:lnTo>
                  <a:lnTo>
                    <a:pt x="368998" y="667"/>
                  </a:lnTo>
                  <a:lnTo>
                    <a:pt x="368998" y="667"/>
                  </a:lnTo>
                  <a:lnTo>
                    <a:pt x="367570" y="476"/>
                  </a:lnTo>
                  <a:lnTo>
                    <a:pt x="367570" y="476"/>
                  </a:lnTo>
                  <a:lnTo>
                    <a:pt x="366141" y="285"/>
                  </a:lnTo>
                  <a:lnTo>
                    <a:pt x="366141" y="285"/>
                  </a:lnTo>
                  <a:lnTo>
                    <a:pt x="364712" y="190"/>
                  </a:lnTo>
                  <a:lnTo>
                    <a:pt x="364712" y="190"/>
                  </a:lnTo>
                  <a:lnTo>
                    <a:pt x="363284" y="95"/>
                  </a:lnTo>
                  <a:lnTo>
                    <a:pt x="363284" y="95"/>
                  </a:lnTo>
                  <a:lnTo>
                    <a:pt x="362807" y="95"/>
                  </a:lnTo>
                  <a:cubicBezTo>
                    <a:pt x="362141" y="95"/>
                    <a:pt x="361569" y="95"/>
                    <a:pt x="360902" y="0"/>
                  </a:cubicBezTo>
                  <a:lnTo>
                    <a:pt x="360426" y="0"/>
                  </a:lnTo>
                  <a:lnTo>
                    <a:pt x="360426" y="0"/>
                  </a:lnTo>
                  <a:lnTo>
                    <a:pt x="340423" y="0"/>
                  </a:lnTo>
                  <a:lnTo>
                    <a:pt x="57912" y="0"/>
                  </a:lnTo>
                  <a:cubicBezTo>
                    <a:pt x="25908" y="0"/>
                    <a:pt x="0" y="25908"/>
                    <a:pt x="0" y="57626"/>
                  </a:cubicBezTo>
                  <a:lnTo>
                    <a:pt x="0" y="57626"/>
                  </a:lnTo>
                  <a:close/>
                  <a:moveTo>
                    <a:pt x="417767" y="57626"/>
                  </a:moveTo>
                  <a:lnTo>
                    <a:pt x="417767" y="57626"/>
                  </a:lnTo>
                  <a:lnTo>
                    <a:pt x="417767" y="5762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75" name="Freeform: Shape 74">
              <a:extLst>
                <a:ext uri="{FF2B5EF4-FFF2-40B4-BE49-F238E27FC236}">
                  <a16:creationId xmlns:a16="http://schemas.microsoft.com/office/drawing/2014/main" id="{81C386AB-91B8-4AAD-8BEE-4DEC5D3BFA02}"/>
                </a:ext>
              </a:extLst>
            </p:cNvPr>
            <p:cNvSpPr/>
            <p:nvPr/>
          </p:nvSpPr>
          <p:spPr>
            <a:xfrm>
              <a:off x="2750550" y="3676824"/>
              <a:ext cx="1739455" cy="1600200"/>
            </a:xfrm>
            <a:custGeom>
              <a:avLst/>
              <a:gdLst>
                <a:gd name="connsiteX0" fmla="*/ 476 w 1739455"/>
                <a:gd name="connsiteY0" fmla="*/ 514921 h 1600200"/>
                <a:gd name="connsiteX1" fmla="*/ 48006 w 1739455"/>
                <a:gd name="connsiteY1" fmla="*/ 442722 h 1600200"/>
                <a:gd name="connsiteX2" fmla="*/ 234791 w 1739455"/>
                <a:gd name="connsiteY2" fmla="*/ 442722 h 1600200"/>
                <a:gd name="connsiteX3" fmla="*/ 319373 w 1739455"/>
                <a:gd name="connsiteY3" fmla="*/ 508063 h 1600200"/>
                <a:gd name="connsiteX4" fmla="*/ 319373 w 1739455"/>
                <a:gd name="connsiteY4" fmla="*/ 527018 h 1600200"/>
                <a:gd name="connsiteX5" fmla="*/ 377000 w 1739455"/>
                <a:gd name="connsiteY5" fmla="*/ 584645 h 1600200"/>
                <a:gd name="connsiteX6" fmla="*/ 405098 w 1739455"/>
                <a:gd name="connsiteY6" fmla="*/ 584645 h 1600200"/>
                <a:gd name="connsiteX7" fmla="*/ 486061 w 1739455"/>
                <a:gd name="connsiteY7" fmla="*/ 665607 h 1600200"/>
                <a:gd name="connsiteX8" fmla="*/ 486061 w 1739455"/>
                <a:gd name="connsiteY8" fmla="*/ 672751 h 1600200"/>
                <a:gd name="connsiteX9" fmla="*/ 486061 w 1739455"/>
                <a:gd name="connsiteY9" fmla="*/ 674275 h 1600200"/>
                <a:gd name="connsiteX10" fmla="*/ 486061 w 1739455"/>
                <a:gd name="connsiteY10" fmla="*/ 674275 h 1600200"/>
                <a:gd name="connsiteX11" fmla="*/ 486156 w 1739455"/>
                <a:gd name="connsiteY11" fmla="*/ 675704 h 1600200"/>
                <a:gd name="connsiteX12" fmla="*/ 486156 w 1739455"/>
                <a:gd name="connsiteY12" fmla="*/ 675704 h 1600200"/>
                <a:gd name="connsiteX13" fmla="*/ 486251 w 1739455"/>
                <a:gd name="connsiteY13" fmla="*/ 677132 h 1600200"/>
                <a:gd name="connsiteX14" fmla="*/ 486251 w 1739455"/>
                <a:gd name="connsiteY14" fmla="*/ 677132 h 1600200"/>
                <a:gd name="connsiteX15" fmla="*/ 486346 w 1739455"/>
                <a:gd name="connsiteY15" fmla="*/ 678561 h 1600200"/>
                <a:gd name="connsiteX16" fmla="*/ 486346 w 1739455"/>
                <a:gd name="connsiteY16" fmla="*/ 678561 h 1600200"/>
                <a:gd name="connsiteX17" fmla="*/ 486537 w 1739455"/>
                <a:gd name="connsiteY17" fmla="*/ 679990 h 1600200"/>
                <a:gd name="connsiteX18" fmla="*/ 486537 w 1739455"/>
                <a:gd name="connsiteY18" fmla="*/ 679990 h 1600200"/>
                <a:gd name="connsiteX19" fmla="*/ 486728 w 1739455"/>
                <a:gd name="connsiteY19" fmla="*/ 681419 h 1600200"/>
                <a:gd name="connsiteX20" fmla="*/ 486728 w 1739455"/>
                <a:gd name="connsiteY20" fmla="*/ 681419 h 1600200"/>
                <a:gd name="connsiteX21" fmla="*/ 486918 w 1739455"/>
                <a:gd name="connsiteY21" fmla="*/ 682847 h 1600200"/>
                <a:gd name="connsiteX22" fmla="*/ 486918 w 1739455"/>
                <a:gd name="connsiteY22" fmla="*/ 682847 h 1600200"/>
                <a:gd name="connsiteX23" fmla="*/ 509206 w 1739455"/>
                <a:gd name="connsiteY23" fmla="*/ 718852 h 1600200"/>
                <a:gd name="connsiteX24" fmla="*/ 509206 w 1739455"/>
                <a:gd name="connsiteY24" fmla="*/ 718852 h 1600200"/>
                <a:gd name="connsiteX25" fmla="*/ 510350 w 1739455"/>
                <a:gd name="connsiteY25" fmla="*/ 719709 h 1600200"/>
                <a:gd name="connsiteX26" fmla="*/ 510350 w 1739455"/>
                <a:gd name="connsiteY26" fmla="*/ 719709 h 1600200"/>
                <a:gd name="connsiteX27" fmla="*/ 511493 w 1739455"/>
                <a:gd name="connsiteY27" fmla="*/ 720471 h 1600200"/>
                <a:gd name="connsiteX28" fmla="*/ 511493 w 1739455"/>
                <a:gd name="connsiteY28" fmla="*/ 720471 h 1600200"/>
                <a:gd name="connsiteX29" fmla="*/ 512636 w 1739455"/>
                <a:gd name="connsiteY29" fmla="*/ 721233 h 1600200"/>
                <a:gd name="connsiteX30" fmla="*/ 512636 w 1739455"/>
                <a:gd name="connsiteY30" fmla="*/ 721233 h 1600200"/>
                <a:gd name="connsiteX31" fmla="*/ 513779 w 1739455"/>
                <a:gd name="connsiteY31" fmla="*/ 721995 h 1600200"/>
                <a:gd name="connsiteX32" fmla="*/ 513779 w 1739455"/>
                <a:gd name="connsiteY32" fmla="*/ 721995 h 1600200"/>
                <a:gd name="connsiteX33" fmla="*/ 514350 w 1739455"/>
                <a:gd name="connsiteY33" fmla="*/ 722281 h 1600200"/>
                <a:gd name="connsiteX34" fmla="*/ 515684 w 1739455"/>
                <a:gd name="connsiteY34" fmla="*/ 723043 h 1600200"/>
                <a:gd name="connsiteX35" fmla="*/ 516255 w 1739455"/>
                <a:gd name="connsiteY35" fmla="*/ 723329 h 1600200"/>
                <a:gd name="connsiteX36" fmla="*/ 516255 w 1739455"/>
                <a:gd name="connsiteY36" fmla="*/ 723329 h 1600200"/>
                <a:gd name="connsiteX37" fmla="*/ 517493 w 1739455"/>
                <a:gd name="connsiteY37" fmla="*/ 723995 h 1600200"/>
                <a:gd name="connsiteX38" fmla="*/ 517493 w 1739455"/>
                <a:gd name="connsiteY38" fmla="*/ 723995 h 1600200"/>
                <a:gd name="connsiteX39" fmla="*/ 518731 w 1739455"/>
                <a:gd name="connsiteY39" fmla="*/ 724662 h 1600200"/>
                <a:gd name="connsiteX40" fmla="*/ 518731 w 1739455"/>
                <a:gd name="connsiteY40" fmla="*/ 724662 h 1600200"/>
                <a:gd name="connsiteX41" fmla="*/ 519970 w 1739455"/>
                <a:gd name="connsiteY41" fmla="*/ 725234 h 1600200"/>
                <a:gd name="connsiteX42" fmla="*/ 519970 w 1739455"/>
                <a:gd name="connsiteY42" fmla="*/ 725234 h 1600200"/>
                <a:gd name="connsiteX43" fmla="*/ 521208 w 1739455"/>
                <a:gd name="connsiteY43" fmla="*/ 725805 h 1600200"/>
                <a:gd name="connsiteX44" fmla="*/ 521208 w 1739455"/>
                <a:gd name="connsiteY44" fmla="*/ 725805 h 1600200"/>
                <a:gd name="connsiteX45" fmla="*/ 522542 w 1739455"/>
                <a:gd name="connsiteY45" fmla="*/ 726377 h 1600200"/>
                <a:gd name="connsiteX46" fmla="*/ 522542 w 1739455"/>
                <a:gd name="connsiteY46" fmla="*/ 726377 h 1600200"/>
                <a:gd name="connsiteX47" fmla="*/ 523875 w 1739455"/>
                <a:gd name="connsiteY47" fmla="*/ 726853 h 1600200"/>
                <a:gd name="connsiteX48" fmla="*/ 523875 w 1739455"/>
                <a:gd name="connsiteY48" fmla="*/ 726853 h 1600200"/>
                <a:gd name="connsiteX49" fmla="*/ 525209 w 1739455"/>
                <a:gd name="connsiteY49" fmla="*/ 727329 h 1600200"/>
                <a:gd name="connsiteX50" fmla="*/ 525209 w 1739455"/>
                <a:gd name="connsiteY50" fmla="*/ 727329 h 1600200"/>
                <a:gd name="connsiteX51" fmla="*/ 525494 w 1739455"/>
                <a:gd name="connsiteY51" fmla="*/ 727424 h 1600200"/>
                <a:gd name="connsiteX52" fmla="*/ 527590 w 1739455"/>
                <a:gd name="connsiteY52" fmla="*/ 728091 h 1600200"/>
                <a:gd name="connsiteX53" fmla="*/ 527876 w 1739455"/>
                <a:gd name="connsiteY53" fmla="*/ 728186 h 1600200"/>
                <a:gd name="connsiteX54" fmla="*/ 527876 w 1739455"/>
                <a:gd name="connsiteY54" fmla="*/ 728186 h 1600200"/>
                <a:gd name="connsiteX55" fmla="*/ 529209 w 1739455"/>
                <a:gd name="connsiteY55" fmla="*/ 728567 h 1600200"/>
                <a:gd name="connsiteX56" fmla="*/ 529209 w 1739455"/>
                <a:gd name="connsiteY56" fmla="*/ 728567 h 1600200"/>
                <a:gd name="connsiteX57" fmla="*/ 530543 w 1739455"/>
                <a:gd name="connsiteY57" fmla="*/ 728948 h 1600200"/>
                <a:gd name="connsiteX58" fmla="*/ 530543 w 1739455"/>
                <a:gd name="connsiteY58" fmla="*/ 728948 h 1600200"/>
                <a:gd name="connsiteX59" fmla="*/ 531971 w 1739455"/>
                <a:gd name="connsiteY59" fmla="*/ 729234 h 1600200"/>
                <a:gd name="connsiteX60" fmla="*/ 531971 w 1739455"/>
                <a:gd name="connsiteY60" fmla="*/ 729234 h 1600200"/>
                <a:gd name="connsiteX61" fmla="*/ 533400 w 1739455"/>
                <a:gd name="connsiteY61" fmla="*/ 729520 h 1600200"/>
                <a:gd name="connsiteX62" fmla="*/ 533400 w 1739455"/>
                <a:gd name="connsiteY62" fmla="*/ 729520 h 1600200"/>
                <a:gd name="connsiteX63" fmla="*/ 533686 w 1739455"/>
                <a:gd name="connsiteY63" fmla="*/ 729520 h 1600200"/>
                <a:gd name="connsiteX64" fmla="*/ 536067 w 1739455"/>
                <a:gd name="connsiteY64" fmla="*/ 729901 h 1600200"/>
                <a:gd name="connsiteX65" fmla="*/ 536353 w 1739455"/>
                <a:gd name="connsiteY65" fmla="*/ 729901 h 1600200"/>
                <a:gd name="connsiteX66" fmla="*/ 536353 w 1739455"/>
                <a:gd name="connsiteY66" fmla="*/ 729901 h 1600200"/>
                <a:gd name="connsiteX67" fmla="*/ 537781 w 1739455"/>
                <a:gd name="connsiteY67" fmla="*/ 730091 h 1600200"/>
                <a:gd name="connsiteX68" fmla="*/ 537781 w 1739455"/>
                <a:gd name="connsiteY68" fmla="*/ 730091 h 1600200"/>
                <a:gd name="connsiteX69" fmla="*/ 539210 w 1739455"/>
                <a:gd name="connsiteY69" fmla="*/ 730187 h 1600200"/>
                <a:gd name="connsiteX70" fmla="*/ 539210 w 1739455"/>
                <a:gd name="connsiteY70" fmla="*/ 730187 h 1600200"/>
                <a:gd name="connsiteX71" fmla="*/ 540639 w 1739455"/>
                <a:gd name="connsiteY71" fmla="*/ 730282 h 1600200"/>
                <a:gd name="connsiteX72" fmla="*/ 540639 w 1739455"/>
                <a:gd name="connsiteY72" fmla="*/ 730282 h 1600200"/>
                <a:gd name="connsiteX73" fmla="*/ 541115 w 1739455"/>
                <a:gd name="connsiteY73" fmla="*/ 730282 h 1600200"/>
                <a:gd name="connsiteX74" fmla="*/ 544259 w 1739455"/>
                <a:gd name="connsiteY74" fmla="*/ 730377 h 1600200"/>
                <a:gd name="connsiteX75" fmla="*/ 563594 w 1739455"/>
                <a:gd name="connsiteY75" fmla="*/ 730377 h 1600200"/>
                <a:gd name="connsiteX76" fmla="*/ 565880 w 1739455"/>
                <a:gd name="connsiteY76" fmla="*/ 730377 h 1600200"/>
                <a:gd name="connsiteX77" fmla="*/ 646843 w 1739455"/>
                <a:gd name="connsiteY77" fmla="*/ 811339 h 1600200"/>
                <a:gd name="connsiteX78" fmla="*/ 646843 w 1739455"/>
                <a:gd name="connsiteY78" fmla="*/ 814864 h 1600200"/>
                <a:gd name="connsiteX79" fmla="*/ 646843 w 1739455"/>
                <a:gd name="connsiteY79" fmla="*/ 816388 h 1600200"/>
                <a:gd name="connsiteX80" fmla="*/ 646843 w 1739455"/>
                <a:gd name="connsiteY80" fmla="*/ 816388 h 1600200"/>
                <a:gd name="connsiteX81" fmla="*/ 646938 w 1739455"/>
                <a:gd name="connsiteY81" fmla="*/ 817817 h 1600200"/>
                <a:gd name="connsiteX82" fmla="*/ 646938 w 1739455"/>
                <a:gd name="connsiteY82" fmla="*/ 817817 h 1600200"/>
                <a:gd name="connsiteX83" fmla="*/ 647033 w 1739455"/>
                <a:gd name="connsiteY83" fmla="*/ 819245 h 1600200"/>
                <a:gd name="connsiteX84" fmla="*/ 647033 w 1739455"/>
                <a:gd name="connsiteY84" fmla="*/ 819245 h 1600200"/>
                <a:gd name="connsiteX85" fmla="*/ 647129 w 1739455"/>
                <a:gd name="connsiteY85" fmla="*/ 820674 h 1600200"/>
                <a:gd name="connsiteX86" fmla="*/ 647129 w 1739455"/>
                <a:gd name="connsiteY86" fmla="*/ 820674 h 1600200"/>
                <a:gd name="connsiteX87" fmla="*/ 647319 w 1739455"/>
                <a:gd name="connsiteY87" fmla="*/ 822103 h 1600200"/>
                <a:gd name="connsiteX88" fmla="*/ 647319 w 1739455"/>
                <a:gd name="connsiteY88" fmla="*/ 822103 h 1600200"/>
                <a:gd name="connsiteX89" fmla="*/ 647510 w 1739455"/>
                <a:gd name="connsiteY89" fmla="*/ 823531 h 1600200"/>
                <a:gd name="connsiteX90" fmla="*/ 647510 w 1739455"/>
                <a:gd name="connsiteY90" fmla="*/ 823531 h 1600200"/>
                <a:gd name="connsiteX91" fmla="*/ 647795 w 1739455"/>
                <a:gd name="connsiteY91" fmla="*/ 824960 h 1600200"/>
                <a:gd name="connsiteX92" fmla="*/ 647795 w 1739455"/>
                <a:gd name="connsiteY92" fmla="*/ 824960 h 1600200"/>
                <a:gd name="connsiteX93" fmla="*/ 648081 w 1739455"/>
                <a:gd name="connsiteY93" fmla="*/ 826389 h 1600200"/>
                <a:gd name="connsiteX94" fmla="*/ 648081 w 1739455"/>
                <a:gd name="connsiteY94" fmla="*/ 826389 h 1600200"/>
                <a:gd name="connsiteX95" fmla="*/ 648367 w 1739455"/>
                <a:gd name="connsiteY95" fmla="*/ 827818 h 1600200"/>
                <a:gd name="connsiteX96" fmla="*/ 648367 w 1739455"/>
                <a:gd name="connsiteY96" fmla="*/ 827818 h 1600200"/>
                <a:gd name="connsiteX97" fmla="*/ 648748 w 1739455"/>
                <a:gd name="connsiteY97" fmla="*/ 829247 h 1600200"/>
                <a:gd name="connsiteX98" fmla="*/ 648748 w 1739455"/>
                <a:gd name="connsiteY98" fmla="*/ 829247 h 1600200"/>
                <a:gd name="connsiteX99" fmla="*/ 700088 w 1739455"/>
                <a:gd name="connsiteY99" fmla="*/ 872300 h 1600200"/>
                <a:gd name="connsiteX100" fmla="*/ 700088 w 1739455"/>
                <a:gd name="connsiteY100" fmla="*/ 872300 h 1600200"/>
                <a:gd name="connsiteX101" fmla="*/ 701516 w 1739455"/>
                <a:gd name="connsiteY101" fmla="*/ 872395 h 1600200"/>
                <a:gd name="connsiteX102" fmla="*/ 701516 w 1739455"/>
                <a:gd name="connsiteY102" fmla="*/ 872395 h 1600200"/>
                <a:gd name="connsiteX103" fmla="*/ 701993 w 1739455"/>
                <a:gd name="connsiteY103" fmla="*/ 872395 h 1600200"/>
                <a:gd name="connsiteX104" fmla="*/ 705136 w 1739455"/>
                <a:gd name="connsiteY104" fmla="*/ 872490 h 1600200"/>
                <a:gd name="connsiteX105" fmla="*/ 712565 w 1739455"/>
                <a:gd name="connsiteY105" fmla="*/ 872490 h 1600200"/>
                <a:gd name="connsiteX106" fmla="*/ 793528 w 1739455"/>
                <a:gd name="connsiteY106" fmla="*/ 953453 h 1600200"/>
                <a:gd name="connsiteX107" fmla="*/ 793528 w 1739455"/>
                <a:gd name="connsiteY107" fmla="*/ 956977 h 1600200"/>
                <a:gd name="connsiteX108" fmla="*/ 793528 w 1739455"/>
                <a:gd name="connsiteY108" fmla="*/ 958501 h 1600200"/>
                <a:gd name="connsiteX109" fmla="*/ 793528 w 1739455"/>
                <a:gd name="connsiteY109" fmla="*/ 958501 h 1600200"/>
                <a:gd name="connsiteX110" fmla="*/ 793623 w 1739455"/>
                <a:gd name="connsiteY110" fmla="*/ 959930 h 1600200"/>
                <a:gd name="connsiteX111" fmla="*/ 793623 w 1739455"/>
                <a:gd name="connsiteY111" fmla="*/ 959930 h 1600200"/>
                <a:gd name="connsiteX112" fmla="*/ 793718 w 1739455"/>
                <a:gd name="connsiteY112" fmla="*/ 961358 h 1600200"/>
                <a:gd name="connsiteX113" fmla="*/ 793718 w 1739455"/>
                <a:gd name="connsiteY113" fmla="*/ 961358 h 1600200"/>
                <a:gd name="connsiteX114" fmla="*/ 793813 w 1739455"/>
                <a:gd name="connsiteY114" fmla="*/ 962787 h 1600200"/>
                <a:gd name="connsiteX115" fmla="*/ 793813 w 1739455"/>
                <a:gd name="connsiteY115" fmla="*/ 962787 h 1600200"/>
                <a:gd name="connsiteX116" fmla="*/ 794004 w 1739455"/>
                <a:gd name="connsiteY116" fmla="*/ 964216 h 1600200"/>
                <a:gd name="connsiteX117" fmla="*/ 794004 w 1739455"/>
                <a:gd name="connsiteY117" fmla="*/ 964216 h 1600200"/>
                <a:gd name="connsiteX118" fmla="*/ 794195 w 1739455"/>
                <a:gd name="connsiteY118" fmla="*/ 965645 h 1600200"/>
                <a:gd name="connsiteX119" fmla="*/ 794195 w 1739455"/>
                <a:gd name="connsiteY119" fmla="*/ 965645 h 1600200"/>
                <a:gd name="connsiteX120" fmla="*/ 823151 w 1739455"/>
                <a:gd name="connsiteY120" fmla="*/ 1007269 h 1600200"/>
                <a:gd name="connsiteX121" fmla="*/ 823722 w 1739455"/>
                <a:gd name="connsiteY121" fmla="*/ 1007555 h 1600200"/>
                <a:gd name="connsiteX122" fmla="*/ 823722 w 1739455"/>
                <a:gd name="connsiteY122" fmla="*/ 1007555 h 1600200"/>
                <a:gd name="connsiteX123" fmla="*/ 824960 w 1739455"/>
                <a:gd name="connsiteY123" fmla="*/ 1008221 h 1600200"/>
                <a:gd name="connsiteX124" fmla="*/ 824960 w 1739455"/>
                <a:gd name="connsiteY124" fmla="*/ 1008221 h 1600200"/>
                <a:gd name="connsiteX125" fmla="*/ 826198 w 1739455"/>
                <a:gd name="connsiteY125" fmla="*/ 1008888 h 1600200"/>
                <a:gd name="connsiteX126" fmla="*/ 826198 w 1739455"/>
                <a:gd name="connsiteY126" fmla="*/ 1008888 h 1600200"/>
                <a:gd name="connsiteX127" fmla="*/ 827437 w 1739455"/>
                <a:gd name="connsiteY127" fmla="*/ 1009460 h 1600200"/>
                <a:gd name="connsiteX128" fmla="*/ 827437 w 1739455"/>
                <a:gd name="connsiteY128" fmla="*/ 1009460 h 1600200"/>
                <a:gd name="connsiteX129" fmla="*/ 828675 w 1739455"/>
                <a:gd name="connsiteY129" fmla="*/ 1010031 h 1600200"/>
                <a:gd name="connsiteX130" fmla="*/ 828675 w 1739455"/>
                <a:gd name="connsiteY130" fmla="*/ 1010031 h 1600200"/>
                <a:gd name="connsiteX131" fmla="*/ 830009 w 1739455"/>
                <a:gd name="connsiteY131" fmla="*/ 1010603 h 1600200"/>
                <a:gd name="connsiteX132" fmla="*/ 830009 w 1739455"/>
                <a:gd name="connsiteY132" fmla="*/ 1010603 h 1600200"/>
                <a:gd name="connsiteX133" fmla="*/ 831342 w 1739455"/>
                <a:gd name="connsiteY133" fmla="*/ 1011079 h 1600200"/>
                <a:gd name="connsiteX134" fmla="*/ 831342 w 1739455"/>
                <a:gd name="connsiteY134" fmla="*/ 1011079 h 1600200"/>
                <a:gd name="connsiteX135" fmla="*/ 832676 w 1739455"/>
                <a:gd name="connsiteY135" fmla="*/ 1011555 h 1600200"/>
                <a:gd name="connsiteX136" fmla="*/ 832676 w 1739455"/>
                <a:gd name="connsiteY136" fmla="*/ 1011555 h 1600200"/>
                <a:gd name="connsiteX137" fmla="*/ 832961 w 1739455"/>
                <a:gd name="connsiteY137" fmla="*/ 1011650 h 1600200"/>
                <a:gd name="connsiteX138" fmla="*/ 835057 w 1739455"/>
                <a:gd name="connsiteY138" fmla="*/ 1012317 h 1600200"/>
                <a:gd name="connsiteX139" fmla="*/ 835343 w 1739455"/>
                <a:gd name="connsiteY139" fmla="*/ 1012412 h 1600200"/>
                <a:gd name="connsiteX140" fmla="*/ 835343 w 1739455"/>
                <a:gd name="connsiteY140" fmla="*/ 1012412 h 1600200"/>
                <a:gd name="connsiteX141" fmla="*/ 836676 w 1739455"/>
                <a:gd name="connsiteY141" fmla="*/ 1012793 h 1600200"/>
                <a:gd name="connsiteX142" fmla="*/ 836676 w 1739455"/>
                <a:gd name="connsiteY142" fmla="*/ 1012793 h 1600200"/>
                <a:gd name="connsiteX143" fmla="*/ 838010 w 1739455"/>
                <a:gd name="connsiteY143" fmla="*/ 1013174 h 1600200"/>
                <a:gd name="connsiteX144" fmla="*/ 838010 w 1739455"/>
                <a:gd name="connsiteY144" fmla="*/ 1013174 h 1600200"/>
                <a:gd name="connsiteX145" fmla="*/ 839438 w 1739455"/>
                <a:gd name="connsiteY145" fmla="*/ 1013460 h 1600200"/>
                <a:gd name="connsiteX146" fmla="*/ 839438 w 1739455"/>
                <a:gd name="connsiteY146" fmla="*/ 1013460 h 1600200"/>
                <a:gd name="connsiteX147" fmla="*/ 840867 w 1739455"/>
                <a:gd name="connsiteY147" fmla="*/ 1013746 h 1600200"/>
                <a:gd name="connsiteX148" fmla="*/ 840867 w 1739455"/>
                <a:gd name="connsiteY148" fmla="*/ 1013746 h 1600200"/>
                <a:gd name="connsiteX149" fmla="*/ 841153 w 1739455"/>
                <a:gd name="connsiteY149" fmla="*/ 1013746 h 1600200"/>
                <a:gd name="connsiteX150" fmla="*/ 843534 w 1739455"/>
                <a:gd name="connsiteY150" fmla="*/ 1014127 h 1600200"/>
                <a:gd name="connsiteX151" fmla="*/ 843820 w 1739455"/>
                <a:gd name="connsiteY151" fmla="*/ 1014127 h 1600200"/>
                <a:gd name="connsiteX152" fmla="*/ 843820 w 1739455"/>
                <a:gd name="connsiteY152" fmla="*/ 1014127 h 1600200"/>
                <a:gd name="connsiteX153" fmla="*/ 845248 w 1739455"/>
                <a:gd name="connsiteY153" fmla="*/ 1014317 h 1600200"/>
                <a:gd name="connsiteX154" fmla="*/ 845248 w 1739455"/>
                <a:gd name="connsiteY154" fmla="*/ 1014317 h 1600200"/>
                <a:gd name="connsiteX155" fmla="*/ 846677 w 1739455"/>
                <a:gd name="connsiteY155" fmla="*/ 1014413 h 1600200"/>
                <a:gd name="connsiteX156" fmla="*/ 846677 w 1739455"/>
                <a:gd name="connsiteY156" fmla="*/ 1014413 h 1600200"/>
                <a:gd name="connsiteX157" fmla="*/ 848106 w 1739455"/>
                <a:gd name="connsiteY157" fmla="*/ 1014508 h 1600200"/>
                <a:gd name="connsiteX158" fmla="*/ 848106 w 1739455"/>
                <a:gd name="connsiteY158" fmla="*/ 1014508 h 1600200"/>
                <a:gd name="connsiteX159" fmla="*/ 848582 w 1739455"/>
                <a:gd name="connsiteY159" fmla="*/ 1014508 h 1600200"/>
                <a:gd name="connsiteX160" fmla="*/ 851726 w 1739455"/>
                <a:gd name="connsiteY160" fmla="*/ 1014603 h 1600200"/>
                <a:gd name="connsiteX161" fmla="*/ 871156 w 1739455"/>
                <a:gd name="connsiteY161" fmla="*/ 1014603 h 1600200"/>
                <a:gd name="connsiteX162" fmla="*/ 878110 w 1739455"/>
                <a:gd name="connsiteY162" fmla="*/ 1014603 h 1600200"/>
                <a:gd name="connsiteX163" fmla="*/ 959072 w 1739455"/>
                <a:gd name="connsiteY163" fmla="*/ 1095566 h 1600200"/>
                <a:gd name="connsiteX164" fmla="*/ 959072 w 1739455"/>
                <a:gd name="connsiteY164" fmla="*/ 1105376 h 1600200"/>
                <a:gd name="connsiteX165" fmla="*/ 959072 w 1739455"/>
                <a:gd name="connsiteY165" fmla="*/ 1106805 h 1600200"/>
                <a:gd name="connsiteX166" fmla="*/ 959072 w 1739455"/>
                <a:gd name="connsiteY166" fmla="*/ 1106805 h 1600200"/>
                <a:gd name="connsiteX167" fmla="*/ 959168 w 1739455"/>
                <a:gd name="connsiteY167" fmla="*/ 1108234 h 1600200"/>
                <a:gd name="connsiteX168" fmla="*/ 959168 w 1739455"/>
                <a:gd name="connsiteY168" fmla="*/ 1108234 h 1600200"/>
                <a:gd name="connsiteX169" fmla="*/ 959263 w 1739455"/>
                <a:gd name="connsiteY169" fmla="*/ 1109663 h 1600200"/>
                <a:gd name="connsiteX170" fmla="*/ 959263 w 1739455"/>
                <a:gd name="connsiteY170" fmla="*/ 1109663 h 1600200"/>
                <a:gd name="connsiteX171" fmla="*/ 959358 w 1739455"/>
                <a:gd name="connsiteY171" fmla="*/ 1111091 h 1600200"/>
                <a:gd name="connsiteX172" fmla="*/ 959358 w 1739455"/>
                <a:gd name="connsiteY172" fmla="*/ 1111091 h 1600200"/>
                <a:gd name="connsiteX173" fmla="*/ 959548 w 1739455"/>
                <a:gd name="connsiteY173" fmla="*/ 1112520 h 1600200"/>
                <a:gd name="connsiteX174" fmla="*/ 959548 w 1739455"/>
                <a:gd name="connsiteY174" fmla="*/ 1112520 h 1600200"/>
                <a:gd name="connsiteX175" fmla="*/ 959739 w 1739455"/>
                <a:gd name="connsiteY175" fmla="*/ 1113949 h 1600200"/>
                <a:gd name="connsiteX176" fmla="*/ 959739 w 1739455"/>
                <a:gd name="connsiteY176" fmla="*/ 1113949 h 1600200"/>
                <a:gd name="connsiteX177" fmla="*/ 959930 w 1739455"/>
                <a:gd name="connsiteY177" fmla="*/ 1115378 h 1600200"/>
                <a:gd name="connsiteX178" fmla="*/ 959930 w 1739455"/>
                <a:gd name="connsiteY178" fmla="*/ 1115378 h 1600200"/>
                <a:gd name="connsiteX179" fmla="*/ 960215 w 1739455"/>
                <a:gd name="connsiteY179" fmla="*/ 1116806 h 1600200"/>
                <a:gd name="connsiteX180" fmla="*/ 960215 w 1739455"/>
                <a:gd name="connsiteY180" fmla="*/ 1116806 h 1600200"/>
                <a:gd name="connsiteX181" fmla="*/ 960501 w 1739455"/>
                <a:gd name="connsiteY181" fmla="*/ 1118235 h 1600200"/>
                <a:gd name="connsiteX182" fmla="*/ 960501 w 1739455"/>
                <a:gd name="connsiteY182" fmla="*/ 1118235 h 1600200"/>
                <a:gd name="connsiteX183" fmla="*/ 960882 w 1739455"/>
                <a:gd name="connsiteY183" fmla="*/ 1119664 h 1600200"/>
                <a:gd name="connsiteX184" fmla="*/ 960882 w 1739455"/>
                <a:gd name="connsiteY184" fmla="*/ 1119664 h 1600200"/>
                <a:gd name="connsiteX185" fmla="*/ 961263 w 1739455"/>
                <a:gd name="connsiteY185" fmla="*/ 1120997 h 1600200"/>
                <a:gd name="connsiteX186" fmla="*/ 961263 w 1739455"/>
                <a:gd name="connsiteY186" fmla="*/ 1120997 h 1600200"/>
                <a:gd name="connsiteX187" fmla="*/ 961644 w 1739455"/>
                <a:gd name="connsiteY187" fmla="*/ 1122331 h 1600200"/>
                <a:gd name="connsiteX188" fmla="*/ 961644 w 1739455"/>
                <a:gd name="connsiteY188" fmla="*/ 1122331 h 1600200"/>
                <a:gd name="connsiteX189" fmla="*/ 962120 w 1739455"/>
                <a:gd name="connsiteY189" fmla="*/ 1123664 h 1600200"/>
                <a:gd name="connsiteX190" fmla="*/ 962120 w 1739455"/>
                <a:gd name="connsiteY190" fmla="*/ 1123664 h 1600200"/>
                <a:gd name="connsiteX191" fmla="*/ 962597 w 1739455"/>
                <a:gd name="connsiteY191" fmla="*/ 1124998 h 1600200"/>
                <a:gd name="connsiteX192" fmla="*/ 962597 w 1739455"/>
                <a:gd name="connsiteY192" fmla="*/ 1124998 h 1600200"/>
                <a:gd name="connsiteX193" fmla="*/ 963073 w 1739455"/>
                <a:gd name="connsiteY193" fmla="*/ 1126331 h 1600200"/>
                <a:gd name="connsiteX194" fmla="*/ 963073 w 1739455"/>
                <a:gd name="connsiteY194" fmla="*/ 1126331 h 1600200"/>
                <a:gd name="connsiteX195" fmla="*/ 963644 w 1739455"/>
                <a:gd name="connsiteY195" fmla="*/ 1127665 h 1600200"/>
                <a:gd name="connsiteX196" fmla="*/ 963644 w 1739455"/>
                <a:gd name="connsiteY196" fmla="*/ 1127665 h 1600200"/>
                <a:gd name="connsiteX197" fmla="*/ 964216 w 1739455"/>
                <a:gd name="connsiteY197" fmla="*/ 1128903 h 1600200"/>
                <a:gd name="connsiteX198" fmla="*/ 964216 w 1739455"/>
                <a:gd name="connsiteY198" fmla="*/ 1128903 h 1600200"/>
                <a:gd name="connsiteX199" fmla="*/ 964787 w 1739455"/>
                <a:gd name="connsiteY199" fmla="*/ 1130141 h 1600200"/>
                <a:gd name="connsiteX200" fmla="*/ 964787 w 1739455"/>
                <a:gd name="connsiteY200" fmla="*/ 1130141 h 1600200"/>
                <a:gd name="connsiteX201" fmla="*/ 965454 w 1739455"/>
                <a:gd name="connsiteY201" fmla="*/ 1131380 h 1600200"/>
                <a:gd name="connsiteX202" fmla="*/ 965454 w 1739455"/>
                <a:gd name="connsiteY202" fmla="*/ 1131380 h 1600200"/>
                <a:gd name="connsiteX203" fmla="*/ 966121 w 1739455"/>
                <a:gd name="connsiteY203" fmla="*/ 1132618 h 1600200"/>
                <a:gd name="connsiteX204" fmla="*/ 966121 w 1739455"/>
                <a:gd name="connsiteY204" fmla="*/ 1132618 h 1600200"/>
                <a:gd name="connsiteX205" fmla="*/ 966788 w 1739455"/>
                <a:gd name="connsiteY205" fmla="*/ 1133856 h 1600200"/>
                <a:gd name="connsiteX206" fmla="*/ 966788 w 1739455"/>
                <a:gd name="connsiteY206" fmla="*/ 1133856 h 1600200"/>
                <a:gd name="connsiteX207" fmla="*/ 967454 w 1739455"/>
                <a:gd name="connsiteY207" fmla="*/ 1135094 h 1600200"/>
                <a:gd name="connsiteX208" fmla="*/ 967454 w 1739455"/>
                <a:gd name="connsiteY208" fmla="*/ 1135094 h 1600200"/>
                <a:gd name="connsiteX209" fmla="*/ 968216 w 1739455"/>
                <a:gd name="connsiteY209" fmla="*/ 1136237 h 1600200"/>
                <a:gd name="connsiteX210" fmla="*/ 968216 w 1739455"/>
                <a:gd name="connsiteY210" fmla="*/ 1136237 h 1600200"/>
                <a:gd name="connsiteX211" fmla="*/ 968978 w 1739455"/>
                <a:gd name="connsiteY211" fmla="*/ 1137380 h 1600200"/>
                <a:gd name="connsiteX212" fmla="*/ 968978 w 1739455"/>
                <a:gd name="connsiteY212" fmla="*/ 1137380 h 1600200"/>
                <a:gd name="connsiteX213" fmla="*/ 969740 w 1739455"/>
                <a:gd name="connsiteY213" fmla="*/ 1138523 h 1600200"/>
                <a:gd name="connsiteX214" fmla="*/ 969740 w 1739455"/>
                <a:gd name="connsiteY214" fmla="*/ 1138523 h 1600200"/>
                <a:gd name="connsiteX215" fmla="*/ 970597 w 1739455"/>
                <a:gd name="connsiteY215" fmla="*/ 1139666 h 1600200"/>
                <a:gd name="connsiteX216" fmla="*/ 970597 w 1739455"/>
                <a:gd name="connsiteY216" fmla="*/ 1139666 h 1600200"/>
                <a:gd name="connsiteX217" fmla="*/ 971455 w 1739455"/>
                <a:gd name="connsiteY217" fmla="*/ 1140809 h 1600200"/>
                <a:gd name="connsiteX218" fmla="*/ 971455 w 1739455"/>
                <a:gd name="connsiteY218" fmla="*/ 1140809 h 1600200"/>
                <a:gd name="connsiteX219" fmla="*/ 972312 w 1739455"/>
                <a:gd name="connsiteY219" fmla="*/ 1141857 h 1600200"/>
                <a:gd name="connsiteX220" fmla="*/ 972312 w 1739455"/>
                <a:gd name="connsiteY220" fmla="*/ 1141857 h 1600200"/>
                <a:gd name="connsiteX221" fmla="*/ 973169 w 1739455"/>
                <a:gd name="connsiteY221" fmla="*/ 1142905 h 1600200"/>
                <a:gd name="connsiteX222" fmla="*/ 973169 w 1739455"/>
                <a:gd name="connsiteY222" fmla="*/ 1142905 h 1600200"/>
                <a:gd name="connsiteX223" fmla="*/ 974122 w 1739455"/>
                <a:gd name="connsiteY223" fmla="*/ 1143953 h 1600200"/>
                <a:gd name="connsiteX224" fmla="*/ 974122 w 1739455"/>
                <a:gd name="connsiteY224" fmla="*/ 1143953 h 1600200"/>
                <a:gd name="connsiteX225" fmla="*/ 975074 w 1739455"/>
                <a:gd name="connsiteY225" fmla="*/ 1145000 h 1600200"/>
                <a:gd name="connsiteX226" fmla="*/ 975074 w 1739455"/>
                <a:gd name="connsiteY226" fmla="*/ 1145000 h 1600200"/>
                <a:gd name="connsiteX227" fmla="*/ 976027 w 1739455"/>
                <a:gd name="connsiteY227" fmla="*/ 1145953 h 1600200"/>
                <a:gd name="connsiteX228" fmla="*/ 976027 w 1739455"/>
                <a:gd name="connsiteY228" fmla="*/ 1145953 h 1600200"/>
                <a:gd name="connsiteX229" fmla="*/ 976979 w 1739455"/>
                <a:gd name="connsiteY229" fmla="*/ 1146905 h 1600200"/>
                <a:gd name="connsiteX230" fmla="*/ 976979 w 1739455"/>
                <a:gd name="connsiteY230" fmla="*/ 1146905 h 1600200"/>
                <a:gd name="connsiteX231" fmla="*/ 978027 w 1739455"/>
                <a:gd name="connsiteY231" fmla="*/ 1147858 h 1600200"/>
                <a:gd name="connsiteX232" fmla="*/ 978027 w 1739455"/>
                <a:gd name="connsiteY232" fmla="*/ 1147858 h 1600200"/>
                <a:gd name="connsiteX233" fmla="*/ 979075 w 1739455"/>
                <a:gd name="connsiteY233" fmla="*/ 1148810 h 1600200"/>
                <a:gd name="connsiteX234" fmla="*/ 979075 w 1739455"/>
                <a:gd name="connsiteY234" fmla="*/ 1148810 h 1600200"/>
                <a:gd name="connsiteX235" fmla="*/ 980122 w 1739455"/>
                <a:gd name="connsiteY235" fmla="*/ 1149668 h 1600200"/>
                <a:gd name="connsiteX236" fmla="*/ 980122 w 1739455"/>
                <a:gd name="connsiteY236" fmla="*/ 1149668 h 1600200"/>
                <a:gd name="connsiteX237" fmla="*/ 981170 w 1739455"/>
                <a:gd name="connsiteY237" fmla="*/ 1150525 h 1600200"/>
                <a:gd name="connsiteX238" fmla="*/ 981170 w 1739455"/>
                <a:gd name="connsiteY238" fmla="*/ 1150525 h 1600200"/>
                <a:gd name="connsiteX239" fmla="*/ 982218 w 1739455"/>
                <a:gd name="connsiteY239" fmla="*/ 1151382 h 1600200"/>
                <a:gd name="connsiteX240" fmla="*/ 982218 w 1739455"/>
                <a:gd name="connsiteY240" fmla="*/ 1151382 h 1600200"/>
                <a:gd name="connsiteX241" fmla="*/ 983361 w 1739455"/>
                <a:gd name="connsiteY241" fmla="*/ 1152239 h 1600200"/>
                <a:gd name="connsiteX242" fmla="*/ 983361 w 1739455"/>
                <a:gd name="connsiteY242" fmla="*/ 1152239 h 1600200"/>
                <a:gd name="connsiteX243" fmla="*/ 984504 w 1739455"/>
                <a:gd name="connsiteY243" fmla="*/ 1153001 h 1600200"/>
                <a:gd name="connsiteX244" fmla="*/ 984504 w 1739455"/>
                <a:gd name="connsiteY244" fmla="*/ 1153001 h 1600200"/>
                <a:gd name="connsiteX245" fmla="*/ 985647 w 1739455"/>
                <a:gd name="connsiteY245" fmla="*/ 1153763 h 1600200"/>
                <a:gd name="connsiteX246" fmla="*/ 985647 w 1739455"/>
                <a:gd name="connsiteY246" fmla="*/ 1153763 h 1600200"/>
                <a:gd name="connsiteX247" fmla="*/ 986790 w 1739455"/>
                <a:gd name="connsiteY247" fmla="*/ 1154525 h 1600200"/>
                <a:gd name="connsiteX248" fmla="*/ 986790 w 1739455"/>
                <a:gd name="connsiteY248" fmla="*/ 1154525 h 1600200"/>
                <a:gd name="connsiteX249" fmla="*/ 988028 w 1739455"/>
                <a:gd name="connsiteY249" fmla="*/ 1155192 h 1600200"/>
                <a:gd name="connsiteX250" fmla="*/ 988028 w 1739455"/>
                <a:gd name="connsiteY250" fmla="*/ 1155192 h 1600200"/>
                <a:gd name="connsiteX251" fmla="*/ 989267 w 1739455"/>
                <a:gd name="connsiteY251" fmla="*/ 1155859 h 1600200"/>
                <a:gd name="connsiteX252" fmla="*/ 989267 w 1739455"/>
                <a:gd name="connsiteY252" fmla="*/ 1155859 h 1600200"/>
                <a:gd name="connsiteX253" fmla="*/ 990505 w 1739455"/>
                <a:gd name="connsiteY253" fmla="*/ 1156526 h 1600200"/>
                <a:gd name="connsiteX254" fmla="*/ 990505 w 1739455"/>
                <a:gd name="connsiteY254" fmla="*/ 1156526 h 1600200"/>
                <a:gd name="connsiteX255" fmla="*/ 991743 w 1739455"/>
                <a:gd name="connsiteY255" fmla="*/ 1157192 h 1600200"/>
                <a:gd name="connsiteX256" fmla="*/ 991743 w 1739455"/>
                <a:gd name="connsiteY256" fmla="*/ 1157192 h 1600200"/>
                <a:gd name="connsiteX257" fmla="*/ 992981 w 1739455"/>
                <a:gd name="connsiteY257" fmla="*/ 1157764 h 1600200"/>
                <a:gd name="connsiteX258" fmla="*/ 992981 w 1739455"/>
                <a:gd name="connsiteY258" fmla="*/ 1157764 h 1600200"/>
                <a:gd name="connsiteX259" fmla="*/ 994220 w 1739455"/>
                <a:gd name="connsiteY259" fmla="*/ 1158335 h 1600200"/>
                <a:gd name="connsiteX260" fmla="*/ 994220 w 1739455"/>
                <a:gd name="connsiteY260" fmla="*/ 1158335 h 1600200"/>
                <a:gd name="connsiteX261" fmla="*/ 995553 w 1739455"/>
                <a:gd name="connsiteY261" fmla="*/ 1158907 h 1600200"/>
                <a:gd name="connsiteX262" fmla="*/ 995553 w 1739455"/>
                <a:gd name="connsiteY262" fmla="*/ 1158907 h 1600200"/>
                <a:gd name="connsiteX263" fmla="*/ 996887 w 1739455"/>
                <a:gd name="connsiteY263" fmla="*/ 1159383 h 1600200"/>
                <a:gd name="connsiteX264" fmla="*/ 996887 w 1739455"/>
                <a:gd name="connsiteY264" fmla="*/ 1159383 h 1600200"/>
                <a:gd name="connsiteX265" fmla="*/ 998220 w 1739455"/>
                <a:gd name="connsiteY265" fmla="*/ 1159859 h 1600200"/>
                <a:gd name="connsiteX266" fmla="*/ 998220 w 1739455"/>
                <a:gd name="connsiteY266" fmla="*/ 1159859 h 1600200"/>
                <a:gd name="connsiteX267" fmla="*/ 999554 w 1739455"/>
                <a:gd name="connsiteY267" fmla="*/ 1160336 h 1600200"/>
                <a:gd name="connsiteX268" fmla="*/ 999554 w 1739455"/>
                <a:gd name="connsiteY268" fmla="*/ 1160336 h 1600200"/>
                <a:gd name="connsiteX269" fmla="*/ 1000887 w 1739455"/>
                <a:gd name="connsiteY269" fmla="*/ 1160717 h 1600200"/>
                <a:gd name="connsiteX270" fmla="*/ 1000887 w 1739455"/>
                <a:gd name="connsiteY270" fmla="*/ 1160717 h 1600200"/>
                <a:gd name="connsiteX271" fmla="*/ 1002221 w 1739455"/>
                <a:gd name="connsiteY271" fmla="*/ 1161098 h 1600200"/>
                <a:gd name="connsiteX272" fmla="*/ 1002221 w 1739455"/>
                <a:gd name="connsiteY272" fmla="*/ 1161098 h 1600200"/>
                <a:gd name="connsiteX273" fmla="*/ 1003554 w 1739455"/>
                <a:gd name="connsiteY273" fmla="*/ 1161479 h 1600200"/>
                <a:gd name="connsiteX274" fmla="*/ 1003554 w 1739455"/>
                <a:gd name="connsiteY274" fmla="*/ 1161479 h 1600200"/>
                <a:gd name="connsiteX275" fmla="*/ 1004983 w 1739455"/>
                <a:gd name="connsiteY275" fmla="*/ 1161764 h 1600200"/>
                <a:gd name="connsiteX276" fmla="*/ 1004983 w 1739455"/>
                <a:gd name="connsiteY276" fmla="*/ 1161764 h 1600200"/>
                <a:gd name="connsiteX277" fmla="*/ 1006412 w 1739455"/>
                <a:gd name="connsiteY277" fmla="*/ 1162050 h 1600200"/>
                <a:gd name="connsiteX278" fmla="*/ 1006412 w 1739455"/>
                <a:gd name="connsiteY278" fmla="*/ 1162050 h 1600200"/>
                <a:gd name="connsiteX279" fmla="*/ 1007840 w 1739455"/>
                <a:gd name="connsiteY279" fmla="*/ 1162336 h 1600200"/>
                <a:gd name="connsiteX280" fmla="*/ 1007840 w 1739455"/>
                <a:gd name="connsiteY280" fmla="*/ 1162336 h 1600200"/>
                <a:gd name="connsiteX281" fmla="*/ 1009269 w 1739455"/>
                <a:gd name="connsiteY281" fmla="*/ 1162526 h 1600200"/>
                <a:gd name="connsiteX282" fmla="*/ 1009269 w 1739455"/>
                <a:gd name="connsiteY282" fmla="*/ 1162526 h 1600200"/>
                <a:gd name="connsiteX283" fmla="*/ 1010698 w 1739455"/>
                <a:gd name="connsiteY283" fmla="*/ 1162717 h 1600200"/>
                <a:gd name="connsiteX284" fmla="*/ 1010698 w 1739455"/>
                <a:gd name="connsiteY284" fmla="*/ 1162717 h 1600200"/>
                <a:gd name="connsiteX285" fmla="*/ 1012127 w 1739455"/>
                <a:gd name="connsiteY285" fmla="*/ 1162812 h 1600200"/>
                <a:gd name="connsiteX286" fmla="*/ 1012127 w 1739455"/>
                <a:gd name="connsiteY286" fmla="*/ 1162812 h 1600200"/>
                <a:gd name="connsiteX287" fmla="*/ 1013555 w 1739455"/>
                <a:gd name="connsiteY287" fmla="*/ 1162907 h 1600200"/>
                <a:gd name="connsiteX288" fmla="*/ 1013555 w 1739455"/>
                <a:gd name="connsiteY288" fmla="*/ 1162907 h 1600200"/>
                <a:gd name="connsiteX289" fmla="*/ 1014031 w 1739455"/>
                <a:gd name="connsiteY289" fmla="*/ 1162907 h 1600200"/>
                <a:gd name="connsiteX290" fmla="*/ 1017175 w 1739455"/>
                <a:gd name="connsiteY290" fmla="*/ 1163003 h 1600200"/>
                <a:gd name="connsiteX291" fmla="*/ 1047560 w 1739455"/>
                <a:gd name="connsiteY291" fmla="*/ 1163003 h 1600200"/>
                <a:gd name="connsiteX292" fmla="*/ 1199483 w 1739455"/>
                <a:gd name="connsiteY292" fmla="*/ 1163003 h 1600200"/>
                <a:gd name="connsiteX293" fmla="*/ 1280446 w 1739455"/>
                <a:gd name="connsiteY293" fmla="*/ 1243965 h 1600200"/>
                <a:gd name="connsiteX294" fmla="*/ 1280446 w 1739455"/>
                <a:gd name="connsiteY294" fmla="*/ 1375886 h 1600200"/>
                <a:gd name="connsiteX295" fmla="*/ 1280446 w 1739455"/>
                <a:gd name="connsiteY295" fmla="*/ 1539431 h 1600200"/>
                <a:gd name="connsiteX296" fmla="*/ 1280446 w 1739455"/>
                <a:gd name="connsiteY296" fmla="*/ 1542574 h 1600200"/>
                <a:gd name="connsiteX297" fmla="*/ 1338072 w 1739455"/>
                <a:gd name="connsiteY297" fmla="*/ 1600200 h 1600200"/>
                <a:gd name="connsiteX298" fmla="*/ 1358075 w 1739455"/>
                <a:gd name="connsiteY298" fmla="*/ 1600200 h 1600200"/>
                <a:gd name="connsiteX299" fmla="*/ 1415701 w 1739455"/>
                <a:gd name="connsiteY299" fmla="*/ 1542574 h 1600200"/>
                <a:gd name="connsiteX300" fmla="*/ 1415701 w 1739455"/>
                <a:gd name="connsiteY300" fmla="*/ 1534477 h 1600200"/>
                <a:gd name="connsiteX301" fmla="*/ 1496663 w 1739455"/>
                <a:gd name="connsiteY301" fmla="*/ 1453515 h 1600200"/>
                <a:gd name="connsiteX302" fmla="*/ 1527239 w 1739455"/>
                <a:gd name="connsiteY302" fmla="*/ 1453515 h 1600200"/>
                <a:gd name="connsiteX303" fmla="*/ 1584865 w 1739455"/>
                <a:gd name="connsiteY303" fmla="*/ 1395889 h 1600200"/>
                <a:gd name="connsiteX304" fmla="*/ 1584865 w 1739455"/>
                <a:gd name="connsiteY304" fmla="*/ 1375886 h 1600200"/>
                <a:gd name="connsiteX305" fmla="*/ 1546765 w 1739455"/>
                <a:gd name="connsiteY305" fmla="*/ 1321689 h 1600200"/>
                <a:gd name="connsiteX306" fmla="*/ 1477518 w 1739455"/>
                <a:gd name="connsiteY306" fmla="*/ 1318070 h 1600200"/>
                <a:gd name="connsiteX307" fmla="*/ 1429988 w 1739455"/>
                <a:gd name="connsiteY307" fmla="*/ 1231487 h 1600200"/>
                <a:gd name="connsiteX308" fmla="*/ 1498759 w 1739455"/>
                <a:gd name="connsiteY308" fmla="*/ 1164527 h 1600200"/>
                <a:gd name="connsiteX309" fmla="*/ 1681829 w 1739455"/>
                <a:gd name="connsiteY309" fmla="*/ 1164527 h 1600200"/>
                <a:gd name="connsiteX310" fmla="*/ 1739456 w 1739455"/>
                <a:gd name="connsiteY310" fmla="*/ 1106900 h 1600200"/>
                <a:gd name="connsiteX311" fmla="*/ 1739456 w 1739455"/>
                <a:gd name="connsiteY311" fmla="*/ 1086898 h 1600200"/>
                <a:gd name="connsiteX312" fmla="*/ 1681829 w 1739455"/>
                <a:gd name="connsiteY312" fmla="*/ 1029272 h 1600200"/>
                <a:gd name="connsiteX313" fmla="*/ 1498854 w 1739455"/>
                <a:gd name="connsiteY313" fmla="*/ 1029272 h 1600200"/>
                <a:gd name="connsiteX314" fmla="*/ 1417892 w 1739455"/>
                <a:gd name="connsiteY314" fmla="*/ 948309 h 1600200"/>
                <a:gd name="connsiteX315" fmla="*/ 1417892 w 1739455"/>
                <a:gd name="connsiteY315" fmla="*/ 942594 h 1600200"/>
                <a:gd name="connsiteX316" fmla="*/ 1360265 w 1739455"/>
                <a:gd name="connsiteY316" fmla="*/ 884968 h 1600200"/>
                <a:gd name="connsiteX317" fmla="*/ 1186148 w 1739455"/>
                <a:gd name="connsiteY317" fmla="*/ 884968 h 1600200"/>
                <a:gd name="connsiteX318" fmla="*/ 1105186 w 1739455"/>
                <a:gd name="connsiteY318" fmla="*/ 804005 h 1600200"/>
                <a:gd name="connsiteX319" fmla="*/ 1105186 w 1739455"/>
                <a:gd name="connsiteY319" fmla="*/ 646176 h 1600200"/>
                <a:gd name="connsiteX320" fmla="*/ 1097089 w 1739455"/>
                <a:gd name="connsiteY320" fmla="*/ 616839 h 1600200"/>
                <a:gd name="connsiteX321" fmla="*/ 1096423 w 1739455"/>
                <a:gd name="connsiteY321" fmla="*/ 615696 h 1600200"/>
                <a:gd name="connsiteX322" fmla="*/ 1046417 w 1739455"/>
                <a:gd name="connsiteY322" fmla="*/ 586550 h 1600200"/>
                <a:gd name="connsiteX323" fmla="*/ 1024128 w 1739455"/>
                <a:gd name="connsiteY323" fmla="*/ 586550 h 1600200"/>
                <a:gd name="connsiteX324" fmla="*/ 943165 w 1739455"/>
                <a:gd name="connsiteY324" fmla="*/ 505587 h 1600200"/>
                <a:gd name="connsiteX325" fmla="*/ 943165 w 1739455"/>
                <a:gd name="connsiteY325" fmla="*/ 505206 h 1600200"/>
                <a:gd name="connsiteX326" fmla="*/ 885539 w 1739455"/>
                <a:gd name="connsiteY326" fmla="*/ 446818 h 1600200"/>
                <a:gd name="connsiteX327" fmla="*/ 844772 w 1739455"/>
                <a:gd name="connsiteY327" fmla="*/ 445580 h 1600200"/>
                <a:gd name="connsiteX328" fmla="*/ 795242 w 1739455"/>
                <a:gd name="connsiteY328" fmla="*/ 388525 h 1600200"/>
                <a:gd name="connsiteX329" fmla="*/ 795242 w 1739455"/>
                <a:gd name="connsiteY329" fmla="*/ 368522 h 1600200"/>
                <a:gd name="connsiteX330" fmla="*/ 852869 w 1739455"/>
                <a:gd name="connsiteY330" fmla="*/ 310896 h 1600200"/>
                <a:gd name="connsiteX331" fmla="*/ 952119 w 1739455"/>
                <a:gd name="connsiteY331" fmla="*/ 310896 h 1600200"/>
                <a:gd name="connsiteX332" fmla="*/ 951167 w 1739455"/>
                <a:gd name="connsiteY332" fmla="*/ 57626 h 1600200"/>
                <a:gd name="connsiteX333" fmla="*/ 893540 w 1739455"/>
                <a:gd name="connsiteY333" fmla="*/ 0 h 1600200"/>
                <a:gd name="connsiteX334" fmla="*/ 214598 w 1739455"/>
                <a:gd name="connsiteY334" fmla="*/ 0 h 1600200"/>
                <a:gd name="connsiteX335" fmla="*/ 157353 w 1739455"/>
                <a:gd name="connsiteY335" fmla="*/ 51149 h 1600200"/>
                <a:gd name="connsiteX336" fmla="*/ 157353 w 1739455"/>
                <a:gd name="connsiteY336" fmla="*/ 93059 h 1600200"/>
                <a:gd name="connsiteX337" fmla="*/ 99727 w 1739455"/>
                <a:gd name="connsiteY337" fmla="*/ 150686 h 1600200"/>
                <a:gd name="connsiteX338" fmla="*/ 0 w 1739455"/>
                <a:gd name="connsiteY338" fmla="*/ 150686 h 1600200"/>
                <a:gd name="connsiteX339" fmla="*/ 476 w 1739455"/>
                <a:gd name="connsiteY339" fmla="*/ 514921 h 1600200"/>
                <a:gd name="connsiteX340" fmla="*/ 476 w 1739455"/>
                <a:gd name="connsiteY340" fmla="*/ 514921 h 1600200"/>
                <a:gd name="connsiteX341" fmla="*/ 959358 w 1739455"/>
                <a:gd name="connsiteY341" fmla="*/ 1105281 h 1600200"/>
                <a:gd name="connsiteX342" fmla="*/ 959358 w 1739455"/>
                <a:gd name="connsiteY342" fmla="*/ 1105281 h 1600200"/>
                <a:gd name="connsiteX343" fmla="*/ 959358 w 1739455"/>
                <a:gd name="connsiteY343" fmla="*/ 1105281 h 1600200"/>
                <a:gd name="connsiteX344" fmla="*/ 959358 w 1739455"/>
                <a:gd name="connsiteY344" fmla="*/ 1105281 h 1600200"/>
                <a:gd name="connsiteX345" fmla="*/ 486156 w 1739455"/>
                <a:gd name="connsiteY345" fmla="*/ 672655 h 1600200"/>
                <a:gd name="connsiteX346" fmla="*/ 486156 w 1739455"/>
                <a:gd name="connsiteY346" fmla="*/ 672655 h 1600200"/>
                <a:gd name="connsiteX347" fmla="*/ 486156 w 1739455"/>
                <a:gd name="connsiteY347" fmla="*/ 672655 h 1600200"/>
                <a:gd name="connsiteX348" fmla="*/ 486156 w 1739455"/>
                <a:gd name="connsiteY348" fmla="*/ 672655 h 1600200"/>
                <a:gd name="connsiteX349" fmla="*/ 647033 w 1739455"/>
                <a:gd name="connsiteY349" fmla="*/ 814769 h 1600200"/>
                <a:gd name="connsiteX350" fmla="*/ 647033 w 1739455"/>
                <a:gd name="connsiteY350" fmla="*/ 814769 h 1600200"/>
                <a:gd name="connsiteX351" fmla="*/ 647033 w 1739455"/>
                <a:gd name="connsiteY351" fmla="*/ 814769 h 1600200"/>
                <a:gd name="connsiteX352" fmla="*/ 647033 w 1739455"/>
                <a:gd name="connsiteY352" fmla="*/ 814769 h 1600200"/>
                <a:gd name="connsiteX353" fmla="*/ 793813 w 1739455"/>
                <a:gd name="connsiteY353" fmla="*/ 956881 h 1600200"/>
                <a:gd name="connsiteX354" fmla="*/ 793813 w 1739455"/>
                <a:gd name="connsiteY354" fmla="*/ 956881 h 1600200"/>
                <a:gd name="connsiteX355" fmla="*/ 793813 w 1739455"/>
                <a:gd name="connsiteY355" fmla="*/ 956881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1739455" h="1600200">
                  <a:moveTo>
                    <a:pt x="476" y="514921"/>
                  </a:moveTo>
                  <a:cubicBezTo>
                    <a:pt x="0" y="531686"/>
                    <a:pt x="10001" y="442722"/>
                    <a:pt x="48006" y="442722"/>
                  </a:cubicBezTo>
                  <a:lnTo>
                    <a:pt x="234791" y="442722"/>
                  </a:lnTo>
                  <a:cubicBezTo>
                    <a:pt x="271939" y="443389"/>
                    <a:pt x="319373" y="430435"/>
                    <a:pt x="319373" y="508063"/>
                  </a:cubicBezTo>
                  <a:lnTo>
                    <a:pt x="319373" y="527018"/>
                  </a:lnTo>
                  <a:cubicBezTo>
                    <a:pt x="319373" y="558737"/>
                    <a:pt x="345281" y="584645"/>
                    <a:pt x="377000" y="584645"/>
                  </a:cubicBezTo>
                  <a:lnTo>
                    <a:pt x="405098" y="584645"/>
                  </a:lnTo>
                  <a:cubicBezTo>
                    <a:pt x="449675" y="584645"/>
                    <a:pt x="486061" y="621030"/>
                    <a:pt x="486061" y="665607"/>
                  </a:cubicBezTo>
                  <a:lnTo>
                    <a:pt x="486061" y="672751"/>
                  </a:lnTo>
                  <a:lnTo>
                    <a:pt x="486061" y="674275"/>
                  </a:lnTo>
                  <a:lnTo>
                    <a:pt x="486061" y="674275"/>
                  </a:lnTo>
                  <a:lnTo>
                    <a:pt x="486156" y="675704"/>
                  </a:lnTo>
                  <a:lnTo>
                    <a:pt x="486156" y="675704"/>
                  </a:lnTo>
                  <a:lnTo>
                    <a:pt x="486251" y="677132"/>
                  </a:lnTo>
                  <a:lnTo>
                    <a:pt x="486251" y="677132"/>
                  </a:lnTo>
                  <a:lnTo>
                    <a:pt x="486346" y="678561"/>
                  </a:lnTo>
                  <a:lnTo>
                    <a:pt x="486346" y="678561"/>
                  </a:lnTo>
                  <a:lnTo>
                    <a:pt x="486537" y="679990"/>
                  </a:lnTo>
                  <a:lnTo>
                    <a:pt x="486537" y="679990"/>
                  </a:lnTo>
                  <a:lnTo>
                    <a:pt x="486728" y="681419"/>
                  </a:lnTo>
                  <a:lnTo>
                    <a:pt x="486728" y="681419"/>
                  </a:lnTo>
                  <a:lnTo>
                    <a:pt x="486918" y="682847"/>
                  </a:lnTo>
                  <a:lnTo>
                    <a:pt x="486918" y="682847"/>
                  </a:lnTo>
                  <a:cubicBezTo>
                    <a:pt x="489395" y="697039"/>
                    <a:pt x="497586" y="709994"/>
                    <a:pt x="509206" y="718852"/>
                  </a:cubicBezTo>
                  <a:lnTo>
                    <a:pt x="509206" y="718852"/>
                  </a:lnTo>
                  <a:lnTo>
                    <a:pt x="510350" y="719709"/>
                  </a:lnTo>
                  <a:lnTo>
                    <a:pt x="510350" y="719709"/>
                  </a:lnTo>
                  <a:lnTo>
                    <a:pt x="511493" y="720471"/>
                  </a:lnTo>
                  <a:lnTo>
                    <a:pt x="511493" y="720471"/>
                  </a:lnTo>
                  <a:lnTo>
                    <a:pt x="512636" y="721233"/>
                  </a:lnTo>
                  <a:lnTo>
                    <a:pt x="512636" y="721233"/>
                  </a:lnTo>
                  <a:lnTo>
                    <a:pt x="513779" y="721995"/>
                  </a:lnTo>
                  <a:lnTo>
                    <a:pt x="513779" y="721995"/>
                  </a:lnTo>
                  <a:lnTo>
                    <a:pt x="514350" y="722281"/>
                  </a:lnTo>
                  <a:cubicBezTo>
                    <a:pt x="514826" y="722567"/>
                    <a:pt x="515207" y="722757"/>
                    <a:pt x="515684" y="723043"/>
                  </a:cubicBezTo>
                  <a:lnTo>
                    <a:pt x="516255" y="723329"/>
                  </a:lnTo>
                  <a:lnTo>
                    <a:pt x="516255" y="723329"/>
                  </a:lnTo>
                  <a:lnTo>
                    <a:pt x="517493" y="723995"/>
                  </a:lnTo>
                  <a:lnTo>
                    <a:pt x="517493" y="723995"/>
                  </a:lnTo>
                  <a:lnTo>
                    <a:pt x="518731" y="724662"/>
                  </a:lnTo>
                  <a:lnTo>
                    <a:pt x="518731" y="724662"/>
                  </a:lnTo>
                  <a:lnTo>
                    <a:pt x="519970" y="725234"/>
                  </a:lnTo>
                  <a:lnTo>
                    <a:pt x="519970" y="725234"/>
                  </a:lnTo>
                  <a:cubicBezTo>
                    <a:pt x="520351" y="725424"/>
                    <a:pt x="520827" y="725614"/>
                    <a:pt x="521208" y="725805"/>
                  </a:cubicBezTo>
                  <a:lnTo>
                    <a:pt x="521208" y="725805"/>
                  </a:lnTo>
                  <a:lnTo>
                    <a:pt x="522542" y="726377"/>
                  </a:lnTo>
                  <a:lnTo>
                    <a:pt x="522542" y="726377"/>
                  </a:lnTo>
                  <a:lnTo>
                    <a:pt x="523875" y="726853"/>
                  </a:lnTo>
                  <a:lnTo>
                    <a:pt x="523875" y="726853"/>
                  </a:lnTo>
                  <a:lnTo>
                    <a:pt x="525209" y="727329"/>
                  </a:lnTo>
                  <a:lnTo>
                    <a:pt x="525209" y="727329"/>
                  </a:lnTo>
                  <a:lnTo>
                    <a:pt x="525494" y="727424"/>
                  </a:lnTo>
                  <a:cubicBezTo>
                    <a:pt x="526256" y="727615"/>
                    <a:pt x="526828" y="727805"/>
                    <a:pt x="527590" y="728091"/>
                  </a:cubicBezTo>
                  <a:lnTo>
                    <a:pt x="527876" y="728186"/>
                  </a:lnTo>
                  <a:lnTo>
                    <a:pt x="527876" y="728186"/>
                  </a:lnTo>
                  <a:lnTo>
                    <a:pt x="529209" y="728567"/>
                  </a:lnTo>
                  <a:lnTo>
                    <a:pt x="529209" y="728567"/>
                  </a:lnTo>
                  <a:lnTo>
                    <a:pt x="530543" y="728948"/>
                  </a:lnTo>
                  <a:lnTo>
                    <a:pt x="530543" y="728948"/>
                  </a:lnTo>
                  <a:lnTo>
                    <a:pt x="531971" y="729234"/>
                  </a:lnTo>
                  <a:lnTo>
                    <a:pt x="531971" y="729234"/>
                  </a:lnTo>
                  <a:cubicBezTo>
                    <a:pt x="532447" y="729329"/>
                    <a:pt x="532924" y="729425"/>
                    <a:pt x="533400" y="729520"/>
                  </a:cubicBezTo>
                  <a:lnTo>
                    <a:pt x="533400" y="729520"/>
                  </a:lnTo>
                  <a:lnTo>
                    <a:pt x="533686" y="729520"/>
                  </a:lnTo>
                  <a:cubicBezTo>
                    <a:pt x="534543" y="729615"/>
                    <a:pt x="535210" y="729805"/>
                    <a:pt x="536067" y="729901"/>
                  </a:cubicBezTo>
                  <a:lnTo>
                    <a:pt x="536353" y="729901"/>
                  </a:lnTo>
                  <a:lnTo>
                    <a:pt x="536353" y="729901"/>
                  </a:lnTo>
                  <a:lnTo>
                    <a:pt x="537781" y="730091"/>
                  </a:lnTo>
                  <a:lnTo>
                    <a:pt x="537781" y="730091"/>
                  </a:lnTo>
                  <a:lnTo>
                    <a:pt x="539210" y="730187"/>
                  </a:lnTo>
                  <a:lnTo>
                    <a:pt x="539210" y="730187"/>
                  </a:lnTo>
                  <a:lnTo>
                    <a:pt x="540639" y="730282"/>
                  </a:lnTo>
                  <a:lnTo>
                    <a:pt x="540639" y="730282"/>
                  </a:lnTo>
                  <a:lnTo>
                    <a:pt x="541115" y="730282"/>
                  </a:lnTo>
                  <a:cubicBezTo>
                    <a:pt x="542258" y="730282"/>
                    <a:pt x="543115" y="730377"/>
                    <a:pt x="544259" y="730377"/>
                  </a:cubicBezTo>
                  <a:lnTo>
                    <a:pt x="563594" y="730377"/>
                  </a:lnTo>
                  <a:lnTo>
                    <a:pt x="565880" y="730377"/>
                  </a:lnTo>
                  <a:cubicBezTo>
                    <a:pt x="610457" y="730377"/>
                    <a:pt x="646843" y="766763"/>
                    <a:pt x="646843" y="811339"/>
                  </a:cubicBezTo>
                  <a:lnTo>
                    <a:pt x="646843" y="814864"/>
                  </a:lnTo>
                  <a:lnTo>
                    <a:pt x="646843" y="816388"/>
                  </a:lnTo>
                  <a:lnTo>
                    <a:pt x="646843" y="816388"/>
                  </a:lnTo>
                  <a:lnTo>
                    <a:pt x="646938" y="817817"/>
                  </a:lnTo>
                  <a:lnTo>
                    <a:pt x="646938" y="817817"/>
                  </a:lnTo>
                  <a:lnTo>
                    <a:pt x="647033" y="819245"/>
                  </a:lnTo>
                  <a:lnTo>
                    <a:pt x="647033" y="819245"/>
                  </a:lnTo>
                  <a:lnTo>
                    <a:pt x="647129" y="820674"/>
                  </a:lnTo>
                  <a:lnTo>
                    <a:pt x="647129" y="820674"/>
                  </a:lnTo>
                  <a:lnTo>
                    <a:pt x="647319" y="822103"/>
                  </a:lnTo>
                  <a:lnTo>
                    <a:pt x="647319" y="822103"/>
                  </a:lnTo>
                  <a:lnTo>
                    <a:pt x="647510" y="823531"/>
                  </a:lnTo>
                  <a:lnTo>
                    <a:pt x="647510" y="823531"/>
                  </a:lnTo>
                  <a:lnTo>
                    <a:pt x="647795" y="824960"/>
                  </a:lnTo>
                  <a:lnTo>
                    <a:pt x="647795" y="824960"/>
                  </a:lnTo>
                  <a:cubicBezTo>
                    <a:pt x="647890" y="825437"/>
                    <a:pt x="647986" y="825913"/>
                    <a:pt x="648081" y="826389"/>
                  </a:cubicBezTo>
                  <a:lnTo>
                    <a:pt x="648081" y="826389"/>
                  </a:lnTo>
                  <a:lnTo>
                    <a:pt x="648367" y="827818"/>
                  </a:lnTo>
                  <a:lnTo>
                    <a:pt x="648367" y="827818"/>
                  </a:lnTo>
                  <a:lnTo>
                    <a:pt x="648748" y="829247"/>
                  </a:lnTo>
                  <a:lnTo>
                    <a:pt x="648748" y="829247"/>
                  </a:lnTo>
                  <a:cubicBezTo>
                    <a:pt x="654939" y="852392"/>
                    <a:pt x="675227" y="870204"/>
                    <a:pt x="700088" y="872300"/>
                  </a:cubicBezTo>
                  <a:lnTo>
                    <a:pt x="700088" y="872300"/>
                  </a:lnTo>
                  <a:lnTo>
                    <a:pt x="701516" y="872395"/>
                  </a:lnTo>
                  <a:lnTo>
                    <a:pt x="701516" y="872395"/>
                  </a:lnTo>
                  <a:lnTo>
                    <a:pt x="701993" y="872395"/>
                  </a:lnTo>
                  <a:cubicBezTo>
                    <a:pt x="703136" y="872395"/>
                    <a:pt x="703993" y="872490"/>
                    <a:pt x="705136" y="872490"/>
                  </a:cubicBezTo>
                  <a:lnTo>
                    <a:pt x="712565" y="872490"/>
                  </a:lnTo>
                  <a:cubicBezTo>
                    <a:pt x="757142" y="872490"/>
                    <a:pt x="793528" y="908876"/>
                    <a:pt x="793528" y="953453"/>
                  </a:cubicBezTo>
                  <a:lnTo>
                    <a:pt x="793528" y="956977"/>
                  </a:lnTo>
                  <a:lnTo>
                    <a:pt x="793528" y="958501"/>
                  </a:lnTo>
                  <a:lnTo>
                    <a:pt x="793528" y="958501"/>
                  </a:lnTo>
                  <a:lnTo>
                    <a:pt x="793623" y="959930"/>
                  </a:lnTo>
                  <a:lnTo>
                    <a:pt x="793623" y="959930"/>
                  </a:lnTo>
                  <a:lnTo>
                    <a:pt x="793718" y="961358"/>
                  </a:lnTo>
                  <a:lnTo>
                    <a:pt x="793718" y="961358"/>
                  </a:lnTo>
                  <a:lnTo>
                    <a:pt x="793813" y="962787"/>
                  </a:lnTo>
                  <a:lnTo>
                    <a:pt x="793813" y="962787"/>
                  </a:lnTo>
                  <a:lnTo>
                    <a:pt x="794004" y="964216"/>
                  </a:lnTo>
                  <a:lnTo>
                    <a:pt x="794004" y="964216"/>
                  </a:lnTo>
                  <a:lnTo>
                    <a:pt x="794195" y="965645"/>
                  </a:lnTo>
                  <a:lnTo>
                    <a:pt x="794195" y="965645"/>
                  </a:lnTo>
                  <a:cubicBezTo>
                    <a:pt x="797147" y="983361"/>
                    <a:pt x="807530" y="998315"/>
                    <a:pt x="823151" y="1007269"/>
                  </a:cubicBezTo>
                  <a:lnTo>
                    <a:pt x="823722" y="1007555"/>
                  </a:lnTo>
                  <a:lnTo>
                    <a:pt x="823722" y="1007555"/>
                  </a:lnTo>
                  <a:lnTo>
                    <a:pt x="824960" y="1008221"/>
                  </a:lnTo>
                  <a:lnTo>
                    <a:pt x="824960" y="1008221"/>
                  </a:lnTo>
                  <a:lnTo>
                    <a:pt x="826198" y="1008888"/>
                  </a:lnTo>
                  <a:lnTo>
                    <a:pt x="826198" y="1008888"/>
                  </a:lnTo>
                  <a:lnTo>
                    <a:pt x="827437" y="1009460"/>
                  </a:lnTo>
                  <a:lnTo>
                    <a:pt x="827437" y="1009460"/>
                  </a:lnTo>
                  <a:cubicBezTo>
                    <a:pt x="827818" y="1009650"/>
                    <a:pt x="828294" y="1009841"/>
                    <a:pt x="828675" y="1010031"/>
                  </a:cubicBezTo>
                  <a:lnTo>
                    <a:pt x="828675" y="1010031"/>
                  </a:lnTo>
                  <a:lnTo>
                    <a:pt x="830009" y="1010603"/>
                  </a:lnTo>
                  <a:lnTo>
                    <a:pt x="830009" y="1010603"/>
                  </a:lnTo>
                  <a:lnTo>
                    <a:pt x="831342" y="1011079"/>
                  </a:lnTo>
                  <a:lnTo>
                    <a:pt x="831342" y="1011079"/>
                  </a:lnTo>
                  <a:lnTo>
                    <a:pt x="832676" y="1011555"/>
                  </a:lnTo>
                  <a:lnTo>
                    <a:pt x="832676" y="1011555"/>
                  </a:lnTo>
                  <a:lnTo>
                    <a:pt x="832961" y="1011650"/>
                  </a:lnTo>
                  <a:cubicBezTo>
                    <a:pt x="833723" y="1011841"/>
                    <a:pt x="834295" y="1012031"/>
                    <a:pt x="835057" y="1012317"/>
                  </a:cubicBezTo>
                  <a:lnTo>
                    <a:pt x="835343" y="1012412"/>
                  </a:lnTo>
                  <a:lnTo>
                    <a:pt x="835343" y="1012412"/>
                  </a:lnTo>
                  <a:lnTo>
                    <a:pt x="836676" y="1012793"/>
                  </a:lnTo>
                  <a:lnTo>
                    <a:pt x="836676" y="1012793"/>
                  </a:lnTo>
                  <a:lnTo>
                    <a:pt x="838010" y="1013174"/>
                  </a:lnTo>
                  <a:lnTo>
                    <a:pt x="838010" y="1013174"/>
                  </a:lnTo>
                  <a:lnTo>
                    <a:pt x="839438" y="1013460"/>
                  </a:lnTo>
                  <a:lnTo>
                    <a:pt x="839438" y="1013460"/>
                  </a:lnTo>
                  <a:cubicBezTo>
                    <a:pt x="839914" y="1013555"/>
                    <a:pt x="840391" y="1013651"/>
                    <a:pt x="840867" y="1013746"/>
                  </a:cubicBezTo>
                  <a:lnTo>
                    <a:pt x="840867" y="1013746"/>
                  </a:lnTo>
                  <a:lnTo>
                    <a:pt x="841153" y="1013746"/>
                  </a:lnTo>
                  <a:cubicBezTo>
                    <a:pt x="842010" y="1013841"/>
                    <a:pt x="842677" y="1014031"/>
                    <a:pt x="843534" y="1014127"/>
                  </a:cubicBezTo>
                  <a:lnTo>
                    <a:pt x="843820" y="1014127"/>
                  </a:lnTo>
                  <a:lnTo>
                    <a:pt x="843820" y="1014127"/>
                  </a:lnTo>
                  <a:lnTo>
                    <a:pt x="845248" y="1014317"/>
                  </a:lnTo>
                  <a:lnTo>
                    <a:pt x="845248" y="1014317"/>
                  </a:lnTo>
                  <a:lnTo>
                    <a:pt x="846677" y="1014413"/>
                  </a:lnTo>
                  <a:lnTo>
                    <a:pt x="846677" y="1014413"/>
                  </a:lnTo>
                  <a:lnTo>
                    <a:pt x="848106" y="1014508"/>
                  </a:lnTo>
                  <a:lnTo>
                    <a:pt x="848106" y="1014508"/>
                  </a:lnTo>
                  <a:lnTo>
                    <a:pt x="848582" y="1014508"/>
                  </a:lnTo>
                  <a:cubicBezTo>
                    <a:pt x="849725" y="1014508"/>
                    <a:pt x="850583" y="1014603"/>
                    <a:pt x="851726" y="1014603"/>
                  </a:cubicBezTo>
                  <a:lnTo>
                    <a:pt x="871156" y="1014603"/>
                  </a:lnTo>
                  <a:lnTo>
                    <a:pt x="878110" y="1014603"/>
                  </a:lnTo>
                  <a:cubicBezTo>
                    <a:pt x="922687" y="1014603"/>
                    <a:pt x="959072" y="1050989"/>
                    <a:pt x="959072" y="1095566"/>
                  </a:cubicBezTo>
                  <a:lnTo>
                    <a:pt x="959072" y="1105376"/>
                  </a:lnTo>
                  <a:lnTo>
                    <a:pt x="959072" y="1106805"/>
                  </a:lnTo>
                  <a:lnTo>
                    <a:pt x="959072" y="1106805"/>
                  </a:lnTo>
                  <a:lnTo>
                    <a:pt x="959168" y="1108234"/>
                  </a:lnTo>
                  <a:lnTo>
                    <a:pt x="959168" y="1108234"/>
                  </a:lnTo>
                  <a:lnTo>
                    <a:pt x="959263" y="1109663"/>
                  </a:lnTo>
                  <a:lnTo>
                    <a:pt x="959263" y="1109663"/>
                  </a:lnTo>
                  <a:lnTo>
                    <a:pt x="959358" y="1111091"/>
                  </a:lnTo>
                  <a:lnTo>
                    <a:pt x="959358" y="1111091"/>
                  </a:lnTo>
                  <a:lnTo>
                    <a:pt x="959548" y="1112520"/>
                  </a:lnTo>
                  <a:lnTo>
                    <a:pt x="959548" y="1112520"/>
                  </a:lnTo>
                  <a:lnTo>
                    <a:pt x="959739" y="1113949"/>
                  </a:lnTo>
                  <a:lnTo>
                    <a:pt x="959739" y="1113949"/>
                  </a:lnTo>
                  <a:lnTo>
                    <a:pt x="959930" y="1115378"/>
                  </a:lnTo>
                  <a:lnTo>
                    <a:pt x="959930" y="1115378"/>
                  </a:lnTo>
                  <a:cubicBezTo>
                    <a:pt x="960025" y="1115854"/>
                    <a:pt x="960120" y="1116330"/>
                    <a:pt x="960215" y="1116806"/>
                  </a:cubicBezTo>
                  <a:lnTo>
                    <a:pt x="960215" y="1116806"/>
                  </a:lnTo>
                  <a:lnTo>
                    <a:pt x="960501" y="1118235"/>
                  </a:lnTo>
                  <a:lnTo>
                    <a:pt x="960501" y="1118235"/>
                  </a:lnTo>
                  <a:lnTo>
                    <a:pt x="960882" y="1119664"/>
                  </a:lnTo>
                  <a:lnTo>
                    <a:pt x="960882" y="1119664"/>
                  </a:lnTo>
                  <a:lnTo>
                    <a:pt x="961263" y="1120997"/>
                  </a:lnTo>
                  <a:lnTo>
                    <a:pt x="961263" y="1120997"/>
                  </a:lnTo>
                  <a:lnTo>
                    <a:pt x="961644" y="1122331"/>
                  </a:lnTo>
                  <a:lnTo>
                    <a:pt x="961644" y="1122331"/>
                  </a:lnTo>
                  <a:lnTo>
                    <a:pt x="962120" y="1123664"/>
                  </a:lnTo>
                  <a:lnTo>
                    <a:pt x="962120" y="1123664"/>
                  </a:lnTo>
                  <a:lnTo>
                    <a:pt x="962597" y="1124998"/>
                  </a:lnTo>
                  <a:lnTo>
                    <a:pt x="962597" y="1124998"/>
                  </a:lnTo>
                  <a:lnTo>
                    <a:pt x="963073" y="1126331"/>
                  </a:lnTo>
                  <a:lnTo>
                    <a:pt x="963073" y="1126331"/>
                  </a:lnTo>
                  <a:lnTo>
                    <a:pt x="963644" y="1127665"/>
                  </a:lnTo>
                  <a:lnTo>
                    <a:pt x="963644" y="1127665"/>
                  </a:lnTo>
                  <a:lnTo>
                    <a:pt x="964216" y="1128903"/>
                  </a:lnTo>
                  <a:lnTo>
                    <a:pt x="964216" y="1128903"/>
                  </a:lnTo>
                  <a:lnTo>
                    <a:pt x="964787" y="1130141"/>
                  </a:lnTo>
                  <a:lnTo>
                    <a:pt x="964787" y="1130141"/>
                  </a:lnTo>
                  <a:lnTo>
                    <a:pt x="965454" y="1131380"/>
                  </a:lnTo>
                  <a:lnTo>
                    <a:pt x="965454" y="1131380"/>
                  </a:lnTo>
                  <a:cubicBezTo>
                    <a:pt x="965645" y="1131761"/>
                    <a:pt x="965835" y="1132237"/>
                    <a:pt x="966121" y="1132618"/>
                  </a:cubicBezTo>
                  <a:lnTo>
                    <a:pt x="966121" y="1132618"/>
                  </a:lnTo>
                  <a:lnTo>
                    <a:pt x="966788" y="1133856"/>
                  </a:lnTo>
                  <a:lnTo>
                    <a:pt x="966788" y="1133856"/>
                  </a:lnTo>
                  <a:cubicBezTo>
                    <a:pt x="966978" y="1134237"/>
                    <a:pt x="967264" y="1134618"/>
                    <a:pt x="967454" y="1135094"/>
                  </a:cubicBezTo>
                  <a:lnTo>
                    <a:pt x="967454" y="1135094"/>
                  </a:lnTo>
                  <a:lnTo>
                    <a:pt x="968216" y="1136237"/>
                  </a:lnTo>
                  <a:lnTo>
                    <a:pt x="968216" y="1136237"/>
                  </a:lnTo>
                  <a:lnTo>
                    <a:pt x="968978" y="1137380"/>
                  </a:lnTo>
                  <a:lnTo>
                    <a:pt x="968978" y="1137380"/>
                  </a:lnTo>
                  <a:lnTo>
                    <a:pt x="969740" y="1138523"/>
                  </a:lnTo>
                  <a:lnTo>
                    <a:pt x="969740" y="1138523"/>
                  </a:lnTo>
                  <a:lnTo>
                    <a:pt x="970597" y="1139666"/>
                  </a:lnTo>
                  <a:lnTo>
                    <a:pt x="970597" y="1139666"/>
                  </a:lnTo>
                  <a:lnTo>
                    <a:pt x="971455" y="1140809"/>
                  </a:lnTo>
                  <a:lnTo>
                    <a:pt x="971455" y="1140809"/>
                  </a:lnTo>
                  <a:cubicBezTo>
                    <a:pt x="971740" y="1141190"/>
                    <a:pt x="972026" y="1141571"/>
                    <a:pt x="972312" y="1141857"/>
                  </a:cubicBezTo>
                  <a:lnTo>
                    <a:pt x="972312" y="1141857"/>
                  </a:lnTo>
                  <a:lnTo>
                    <a:pt x="973169" y="1142905"/>
                  </a:lnTo>
                  <a:lnTo>
                    <a:pt x="973169" y="1142905"/>
                  </a:lnTo>
                  <a:lnTo>
                    <a:pt x="974122" y="1143953"/>
                  </a:lnTo>
                  <a:lnTo>
                    <a:pt x="974122" y="1143953"/>
                  </a:lnTo>
                  <a:lnTo>
                    <a:pt x="975074" y="1145000"/>
                  </a:lnTo>
                  <a:lnTo>
                    <a:pt x="975074" y="1145000"/>
                  </a:lnTo>
                  <a:lnTo>
                    <a:pt x="976027" y="1145953"/>
                  </a:lnTo>
                  <a:lnTo>
                    <a:pt x="976027" y="1145953"/>
                  </a:lnTo>
                  <a:lnTo>
                    <a:pt x="976979" y="1146905"/>
                  </a:lnTo>
                  <a:lnTo>
                    <a:pt x="976979" y="1146905"/>
                  </a:lnTo>
                  <a:lnTo>
                    <a:pt x="978027" y="1147858"/>
                  </a:lnTo>
                  <a:lnTo>
                    <a:pt x="978027" y="1147858"/>
                  </a:lnTo>
                  <a:lnTo>
                    <a:pt x="979075" y="1148810"/>
                  </a:lnTo>
                  <a:lnTo>
                    <a:pt x="979075" y="1148810"/>
                  </a:lnTo>
                  <a:lnTo>
                    <a:pt x="980122" y="1149668"/>
                  </a:lnTo>
                  <a:lnTo>
                    <a:pt x="980122" y="1149668"/>
                  </a:lnTo>
                  <a:cubicBezTo>
                    <a:pt x="980504" y="1149953"/>
                    <a:pt x="980885" y="1150239"/>
                    <a:pt x="981170" y="1150525"/>
                  </a:cubicBezTo>
                  <a:lnTo>
                    <a:pt x="981170" y="1150525"/>
                  </a:lnTo>
                  <a:cubicBezTo>
                    <a:pt x="981551" y="1150811"/>
                    <a:pt x="981932" y="1151096"/>
                    <a:pt x="982218" y="1151382"/>
                  </a:cubicBezTo>
                  <a:lnTo>
                    <a:pt x="982218" y="1151382"/>
                  </a:lnTo>
                  <a:lnTo>
                    <a:pt x="983361" y="1152239"/>
                  </a:lnTo>
                  <a:lnTo>
                    <a:pt x="983361" y="1152239"/>
                  </a:lnTo>
                  <a:lnTo>
                    <a:pt x="984504" y="1153001"/>
                  </a:lnTo>
                  <a:lnTo>
                    <a:pt x="984504" y="1153001"/>
                  </a:lnTo>
                  <a:lnTo>
                    <a:pt x="985647" y="1153763"/>
                  </a:lnTo>
                  <a:lnTo>
                    <a:pt x="985647" y="1153763"/>
                  </a:lnTo>
                  <a:lnTo>
                    <a:pt x="986790" y="1154525"/>
                  </a:lnTo>
                  <a:lnTo>
                    <a:pt x="986790" y="1154525"/>
                  </a:lnTo>
                  <a:lnTo>
                    <a:pt x="988028" y="1155192"/>
                  </a:lnTo>
                  <a:lnTo>
                    <a:pt x="988028" y="1155192"/>
                  </a:lnTo>
                  <a:lnTo>
                    <a:pt x="989267" y="1155859"/>
                  </a:lnTo>
                  <a:lnTo>
                    <a:pt x="989267" y="1155859"/>
                  </a:lnTo>
                  <a:lnTo>
                    <a:pt x="990505" y="1156526"/>
                  </a:lnTo>
                  <a:lnTo>
                    <a:pt x="990505" y="1156526"/>
                  </a:lnTo>
                  <a:lnTo>
                    <a:pt x="991743" y="1157192"/>
                  </a:lnTo>
                  <a:lnTo>
                    <a:pt x="991743" y="1157192"/>
                  </a:lnTo>
                  <a:lnTo>
                    <a:pt x="992981" y="1157764"/>
                  </a:lnTo>
                  <a:lnTo>
                    <a:pt x="992981" y="1157764"/>
                  </a:lnTo>
                  <a:cubicBezTo>
                    <a:pt x="993362" y="1157954"/>
                    <a:pt x="993838" y="1158145"/>
                    <a:pt x="994220" y="1158335"/>
                  </a:cubicBezTo>
                  <a:lnTo>
                    <a:pt x="994220" y="1158335"/>
                  </a:lnTo>
                  <a:lnTo>
                    <a:pt x="995553" y="1158907"/>
                  </a:lnTo>
                  <a:lnTo>
                    <a:pt x="995553" y="1158907"/>
                  </a:lnTo>
                  <a:lnTo>
                    <a:pt x="996887" y="1159383"/>
                  </a:lnTo>
                  <a:lnTo>
                    <a:pt x="996887" y="1159383"/>
                  </a:lnTo>
                  <a:lnTo>
                    <a:pt x="998220" y="1159859"/>
                  </a:lnTo>
                  <a:lnTo>
                    <a:pt x="998220" y="1159859"/>
                  </a:lnTo>
                  <a:lnTo>
                    <a:pt x="999554" y="1160336"/>
                  </a:lnTo>
                  <a:lnTo>
                    <a:pt x="999554" y="1160336"/>
                  </a:lnTo>
                  <a:lnTo>
                    <a:pt x="1000887" y="1160717"/>
                  </a:lnTo>
                  <a:lnTo>
                    <a:pt x="1000887" y="1160717"/>
                  </a:lnTo>
                  <a:lnTo>
                    <a:pt x="1002221" y="1161098"/>
                  </a:lnTo>
                  <a:lnTo>
                    <a:pt x="1002221" y="1161098"/>
                  </a:lnTo>
                  <a:lnTo>
                    <a:pt x="1003554" y="1161479"/>
                  </a:lnTo>
                  <a:lnTo>
                    <a:pt x="1003554" y="1161479"/>
                  </a:lnTo>
                  <a:lnTo>
                    <a:pt x="1004983" y="1161764"/>
                  </a:lnTo>
                  <a:lnTo>
                    <a:pt x="1004983" y="1161764"/>
                  </a:lnTo>
                  <a:cubicBezTo>
                    <a:pt x="1005459" y="1161860"/>
                    <a:pt x="1005935" y="1161955"/>
                    <a:pt x="1006412" y="1162050"/>
                  </a:cubicBezTo>
                  <a:lnTo>
                    <a:pt x="1006412" y="1162050"/>
                  </a:lnTo>
                  <a:lnTo>
                    <a:pt x="1007840" y="1162336"/>
                  </a:lnTo>
                  <a:lnTo>
                    <a:pt x="1007840" y="1162336"/>
                  </a:lnTo>
                  <a:lnTo>
                    <a:pt x="1009269" y="1162526"/>
                  </a:lnTo>
                  <a:lnTo>
                    <a:pt x="1009269" y="1162526"/>
                  </a:lnTo>
                  <a:lnTo>
                    <a:pt x="1010698" y="1162717"/>
                  </a:lnTo>
                  <a:lnTo>
                    <a:pt x="1010698" y="1162717"/>
                  </a:lnTo>
                  <a:lnTo>
                    <a:pt x="1012127" y="1162812"/>
                  </a:lnTo>
                  <a:lnTo>
                    <a:pt x="1012127" y="1162812"/>
                  </a:lnTo>
                  <a:lnTo>
                    <a:pt x="1013555" y="1162907"/>
                  </a:lnTo>
                  <a:lnTo>
                    <a:pt x="1013555" y="1162907"/>
                  </a:lnTo>
                  <a:lnTo>
                    <a:pt x="1014031" y="1162907"/>
                  </a:lnTo>
                  <a:cubicBezTo>
                    <a:pt x="1015079" y="1162907"/>
                    <a:pt x="1016032" y="1163003"/>
                    <a:pt x="1017175" y="1163003"/>
                  </a:cubicBezTo>
                  <a:lnTo>
                    <a:pt x="1047560" y="1163003"/>
                  </a:lnTo>
                  <a:lnTo>
                    <a:pt x="1199483" y="1163003"/>
                  </a:lnTo>
                  <a:cubicBezTo>
                    <a:pt x="1244060" y="1163003"/>
                    <a:pt x="1280446" y="1199388"/>
                    <a:pt x="1280446" y="1243965"/>
                  </a:cubicBezTo>
                  <a:lnTo>
                    <a:pt x="1280446" y="1375886"/>
                  </a:lnTo>
                  <a:lnTo>
                    <a:pt x="1280446" y="1539431"/>
                  </a:lnTo>
                  <a:lnTo>
                    <a:pt x="1280446" y="1542574"/>
                  </a:lnTo>
                  <a:cubicBezTo>
                    <a:pt x="1280446" y="1574292"/>
                    <a:pt x="1306354" y="1600200"/>
                    <a:pt x="1338072" y="1600200"/>
                  </a:cubicBezTo>
                  <a:lnTo>
                    <a:pt x="1358075" y="1600200"/>
                  </a:lnTo>
                  <a:cubicBezTo>
                    <a:pt x="1389793" y="1600200"/>
                    <a:pt x="1415701" y="1574292"/>
                    <a:pt x="1415701" y="1542574"/>
                  </a:cubicBezTo>
                  <a:lnTo>
                    <a:pt x="1415701" y="1534477"/>
                  </a:lnTo>
                  <a:cubicBezTo>
                    <a:pt x="1415701" y="1489900"/>
                    <a:pt x="1452086" y="1453515"/>
                    <a:pt x="1496663" y="1453515"/>
                  </a:cubicBezTo>
                  <a:lnTo>
                    <a:pt x="1527239" y="1453515"/>
                  </a:lnTo>
                  <a:cubicBezTo>
                    <a:pt x="1558957" y="1453515"/>
                    <a:pt x="1584865" y="1427607"/>
                    <a:pt x="1584865" y="1395889"/>
                  </a:cubicBezTo>
                  <a:lnTo>
                    <a:pt x="1584865" y="1375886"/>
                  </a:lnTo>
                  <a:cubicBezTo>
                    <a:pt x="1584865" y="1351026"/>
                    <a:pt x="1568958" y="1329690"/>
                    <a:pt x="1546765" y="1321689"/>
                  </a:cubicBezTo>
                  <a:cubicBezTo>
                    <a:pt x="1535716" y="1317689"/>
                    <a:pt x="1493520" y="1325689"/>
                    <a:pt x="1477518" y="1318070"/>
                  </a:cubicBezTo>
                  <a:cubicBezTo>
                    <a:pt x="1439609" y="1299877"/>
                    <a:pt x="1425226" y="1259014"/>
                    <a:pt x="1429988" y="1231487"/>
                  </a:cubicBezTo>
                  <a:cubicBezTo>
                    <a:pt x="1436846" y="1192435"/>
                    <a:pt x="1459039" y="1164527"/>
                    <a:pt x="1498759" y="1164527"/>
                  </a:cubicBezTo>
                  <a:lnTo>
                    <a:pt x="1681829" y="1164527"/>
                  </a:lnTo>
                  <a:cubicBezTo>
                    <a:pt x="1713548" y="1164527"/>
                    <a:pt x="1739456" y="1138619"/>
                    <a:pt x="1739456" y="1106900"/>
                  </a:cubicBezTo>
                  <a:lnTo>
                    <a:pt x="1739456" y="1086898"/>
                  </a:lnTo>
                  <a:cubicBezTo>
                    <a:pt x="1739456" y="1055180"/>
                    <a:pt x="1713548" y="1029272"/>
                    <a:pt x="1681829" y="1029272"/>
                  </a:cubicBezTo>
                  <a:lnTo>
                    <a:pt x="1498854" y="1029272"/>
                  </a:lnTo>
                  <a:cubicBezTo>
                    <a:pt x="1454277" y="1029272"/>
                    <a:pt x="1417892" y="992886"/>
                    <a:pt x="1417892" y="948309"/>
                  </a:cubicBezTo>
                  <a:lnTo>
                    <a:pt x="1417892" y="942594"/>
                  </a:lnTo>
                  <a:cubicBezTo>
                    <a:pt x="1417892" y="910876"/>
                    <a:pt x="1391984" y="884968"/>
                    <a:pt x="1360265" y="884968"/>
                  </a:cubicBezTo>
                  <a:lnTo>
                    <a:pt x="1186148" y="884968"/>
                  </a:lnTo>
                  <a:cubicBezTo>
                    <a:pt x="1141571" y="884968"/>
                    <a:pt x="1105186" y="848582"/>
                    <a:pt x="1105186" y="804005"/>
                  </a:cubicBezTo>
                  <a:lnTo>
                    <a:pt x="1105186" y="646176"/>
                  </a:lnTo>
                  <a:cubicBezTo>
                    <a:pt x="1105186" y="635508"/>
                    <a:pt x="1102233" y="625412"/>
                    <a:pt x="1097089" y="616839"/>
                  </a:cubicBezTo>
                  <a:cubicBezTo>
                    <a:pt x="1096804" y="616458"/>
                    <a:pt x="1096613" y="616077"/>
                    <a:pt x="1096423" y="615696"/>
                  </a:cubicBezTo>
                  <a:cubicBezTo>
                    <a:pt x="1086517" y="598361"/>
                    <a:pt x="1067753" y="586550"/>
                    <a:pt x="1046417" y="586550"/>
                  </a:cubicBezTo>
                  <a:lnTo>
                    <a:pt x="1024128" y="586550"/>
                  </a:lnTo>
                  <a:cubicBezTo>
                    <a:pt x="979551" y="586550"/>
                    <a:pt x="943165" y="550164"/>
                    <a:pt x="943165" y="505587"/>
                  </a:cubicBezTo>
                  <a:lnTo>
                    <a:pt x="943165" y="505206"/>
                  </a:lnTo>
                  <a:cubicBezTo>
                    <a:pt x="943165" y="473488"/>
                    <a:pt x="917162" y="447770"/>
                    <a:pt x="885539" y="446818"/>
                  </a:cubicBezTo>
                  <a:lnTo>
                    <a:pt x="844772" y="445580"/>
                  </a:lnTo>
                  <a:cubicBezTo>
                    <a:pt x="816864" y="441674"/>
                    <a:pt x="795242" y="417481"/>
                    <a:pt x="795242" y="388525"/>
                  </a:cubicBezTo>
                  <a:lnTo>
                    <a:pt x="795242" y="368522"/>
                  </a:lnTo>
                  <a:cubicBezTo>
                    <a:pt x="795242" y="336804"/>
                    <a:pt x="821150" y="310896"/>
                    <a:pt x="852869" y="310896"/>
                  </a:cubicBezTo>
                  <a:lnTo>
                    <a:pt x="952119" y="310896"/>
                  </a:lnTo>
                  <a:lnTo>
                    <a:pt x="951167" y="57626"/>
                  </a:lnTo>
                  <a:cubicBezTo>
                    <a:pt x="951071" y="26003"/>
                    <a:pt x="925259" y="0"/>
                    <a:pt x="893540" y="0"/>
                  </a:cubicBezTo>
                  <a:lnTo>
                    <a:pt x="214598" y="0"/>
                  </a:lnTo>
                  <a:cubicBezTo>
                    <a:pt x="185166" y="0"/>
                    <a:pt x="160592" y="22479"/>
                    <a:pt x="157353" y="51149"/>
                  </a:cubicBezTo>
                  <a:lnTo>
                    <a:pt x="157353" y="93059"/>
                  </a:lnTo>
                  <a:cubicBezTo>
                    <a:pt x="157353" y="124778"/>
                    <a:pt x="131445" y="150686"/>
                    <a:pt x="99727" y="150686"/>
                  </a:cubicBezTo>
                  <a:lnTo>
                    <a:pt x="0" y="150686"/>
                  </a:lnTo>
                  <a:lnTo>
                    <a:pt x="476" y="514921"/>
                  </a:lnTo>
                  <a:lnTo>
                    <a:pt x="476" y="514921"/>
                  </a:lnTo>
                  <a:close/>
                  <a:moveTo>
                    <a:pt x="959358" y="1105281"/>
                  </a:moveTo>
                  <a:lnTo>
                    <a:pt x="959358" y="1105281"/>
                  </a:lnTo>
                  <a:lnTo>
                    <a:pt x="959358" y="1105281"/>
                  </a:lnTo>
                  <a:lnTo>
                    <a:pt x="959358" y="1105281"/>
                  </a:lnTo>
                  <a:close/>
                  <a:moveTo>
                    <a:pt x="486156" y="672655"/>
                  </a:moveTo>
                  <a:lnTo>
                    <a:pt x="486156" y="672655"/>
                  </a:lnTo>
                  <a:lnTo>
                    <a:pt x="486156" y="672655"/>
                  </a:lnTo>
                  <a:lnTo>
                    <a:pt x="486156" y="672655"/>
                  </a:lnTo>
                  <a:close/>
                  <a:moveTo>
                    <a:pt x="647033" y="814769"/>
                  </a:moveTo>
                  <a:lnTo>
                    <a:pt x="647033" y="814769"/>
                  </a:lnTo>
                  <a:lnTo>
                    <a:pt x="647033" y="814769"/>
                  </a:lnTo>
                  <a:lnTo>
                    <a:pt x="647033" y="814769"/>
                  </a:lnTo>
                  <a:close/>
                  <a:moveTo>
                    <a:pt x="793813" y="956881"/>
                  </a:moveTo>
                  <a:lnTo>
                    <a:pt x="793813" y="956881"/>
                  </a:lnTo>
                  <a:lnTo>
                    <a:pt x="793813" y="956881"/>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76" name="Freeform: Shape 75">
              <a:extLst>
                <a:ext uri="{FF2B5EF4-FFF2-40B4-BE49-F238E27FC236}">
                  <a16:creationId xmlns:a16="http://schemas.microsoft.com/office/drawing/2014/main" id="{ADBE45A6-1754-4E48-8162-FDC37FDF368B}"/>
                </a:ext>
              </a:extLst>
            </p:cNvPr>
            <p:cNvSpPr/>
            <p:nvPr/>
          </p:nvSpPr>
          <p:spPr>
            <a:xfrm>
              <a:off x="2597579" y="3391265"/>
              <a:ext cx="633888" cy="436149"/>
            </a:xfrm>
            <a:custGeom>
              <a:avLst/>
              <a:gdLst>
                <a:gd name="connsiteX0" fmla="*/ 633889 w 633888"/>
                <a:gd name="connsiteY0" fmla="*/ 285464 h 436149"/>
                <a:gd name="connsiteX1" fmla="*/ 633889 w 633888"/>
                <a:gd name="connsiteY1" fmla="*/ 142208 h 436149"/>
                <a:gd name="connsiteX2" fmla="*/ 57626 w 633888"/>
                <a:gd name="connsiteY2" fmla="*/ 143256 h 436149"/>
                <a:gd name="connsiteX3" fmla="*/ 0 w 633888"/>
                <a:gd name="connsiteY3" fmla="*/ 200882 h 436149"/>
                <a:gd name="connsiteX4" fmla="*/ 0 w 633888"/>
                <a:gd name="connsiteY4" fmla="*/ 378523 h 436149"/>
                <a:gd name="connsiteX5" fmla="*/ 57626 w 633888"/>
                <a:gd name="connsiteY5" fmla="*/ 436150 h 436149"/>
                <a:gd name="connsiteX6" fmla="*/ 253079 w 633888"/>
                <a:gd name="connsiteY6" fmla="*/ 436150 h 436149"/>
                <a:gd name="connsiteX7" fmla="*/ 310705 w 633888"/>
                <a:gd name="connsiteY7" fmla="*/ 378523 h 436149"/>
                <a:gd name="connsiteX8" fmla="*/ 310705 w 633888"/>
                <a:gd name="connsiteY8" fmla="*/ 336613 h 436149"/>
                <a:gd name="connsiteX9" fmla="*/ 367951 w 633888"/>
                <a:gd name="connsiteY9" fmla="*/ 285464 h 436149"/>
                <a:gd name="connsiteX10" fmla="*/ 633889 w 633888"/>
                <a:gd name="connsiteY10" fmla="*/ 285464 h 436149"/>
                <a:gd name="connsiteX11" fmla="*/ 633889 w 633888"/>
                <a:gd name="connsiteY11" fmla="*/ 285464 h 436149"/>
                <a:gd name="connsiteX12" fmla="*/ 91345 w 633888"/>
                <a:gd name="connsiteY12" fmla="*/ 0 h 436149"/>
                <a:gd name="connsiteX13" fmla="*/ 91345 w 633888"/>
                <a:gd name="connsiteY13" fmla="*/ 0 h 436149"/>
                <a:gd name="connsiteX14" fmla="*/ 91345 w 633888"/>
                <a:gd name="connsiteY14" fmla="*/ 0 h 436149"/>
                <a:gd name="connsiteX15" fmla="*/ 91345 w 633888"/>
                <a:gd name="connsiteY15" fmla="*/ 0 h 436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3888" h="436149">
                  <a:moveTo>
                    <a:pt x="633889" y="285464"/>
                  </a:moveTo>
                  <a:lnTo>
                    <a:pt x="633889" y="142208"/>
                  </a:lnTo>
                  <a:cubicBezTo>
                    <a:pt x="427482" y="142208"/>
                    <a:pt x="249746" y="143256"/>
                    <a:pt x="57626" y="143256"/>
                  </a:cubicBezTo>
                  <a:cubicBezTo>
                    <a:pt x="25908" y="143256"/>
                    <a:pt x="0" y="169164"/>
                    <a:pt x="0" y="200882"/>
                  </a:cubicBezTo>
                  <a:lnTo>
                    <a:pt x="0" y="378523"/>
                  </a:lnTo>
                  <a:cubicBezTo>
                    <a:pt x="0" y="410242"/>
                    <a:pt x="25908" y="436150"/>
                    <a:pt x="57626" y="436150"/>
                  </a:cubicBezTo>
                  <a:lnTo>
                    <a:pt x="253079" y="436150"/>
                  </a:lnTo>
                  <a:cubicBezTo>
                    <a:pt x="284797" y="436150"/>
                    <a:pt x="310705" y="410242"/>
                    <a:pt x="310705" y="378523"/>
                  </a:cubicBezTo>
                  <a:lnTo>
                    <a:pt x="310705" y="336613"/>
                  </a:lnTo>
                  <a:cubicBezTo>
                    <a:pt x="313944" y="307943"/>
                    <a:pt x="338519" y="285464"/>
                    <a:pt x="367951" y="285464"/>
                  </a:cubicBezTo>
                  <a:lnTo>
                    <a:pt x="633889" y="285464"/>
                  </a:lnTo>
                  <a:lnTo>
                    <a:pt x="633889" y="285464"/>
                  </a:lnTo>
                  <a:close/>
                  <a:moveTo>
                    <a:pt x="91345" y="0"/>
                  </a:moveTo>
                  <a:lnTo>
                    <a:pt x="91345" y="0"/>
                  </a:lnTo>
                  <a:lnTo>
                    <a:pt x="91345" y="0"/>
                  </a:lnTo>
                  <a:lnTo>
                    <a:pt x="91345"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77" name="Freeform: Shape 76">
              <a:extLst>
                <a:ext uri="{FF2B5EF4-FFF2-40B4-BE49-F238E27FC236}">
                  <a16:creationId xmlns:a16="http://schemas.microsoft.com/office/drawing/2014/main" id="{62F51B9B-4E03-4045-B10D-5D366682E2F4}"/>
                </a:ext>
              </a:extLst>
            </p:cNvPr>
            <p:cNvSpPr/>
            <p:nvPr/>
          </p:nvSpPr>
          <p:spPr>
            <a:xfrm>
              <a:off x="3231373" y="3411077"/>
              <a:ext cx="951737" cy="573595"/>
            </a:xfrm>
            <a:custGeom>
              <a:avLst/>
              <a:gdLst>
                <a:gd name="connsiteX0" fmla="*/ 472440 w 951737"/>
                <a:gd name="connsiteY0" fmla="*/ 0 h 573595"/>
                <a:gd name="connsiteX1" fmla="*/ 951738 w 951737"/>
                <a:gd name="connsiteY1" fmla="*/ 0 h 573595"/>
                <a:gd name="connsiteX2" fmla="*/ 951738 w 951737"/>
                <a:gd name="connsiteY2" fmla="*/ 213265 h 573595"/>
                <a:gd name="connsiteX3" fmla="*/ 894112 w 951737"/>
                <a:gd name="connsiteY3" fmla="*/ 270891 h 573595"/>
                <a:gd name="connsiteX4" fmla="*/ 859250 w 951737"/>
                <a:gd name="connsiteY4" fmla="*/ 270891 h 573595"/>
                <a:gd name="connsiteX5" fmla="*/ 786574 w 951737"/>
                <a:gd name="connsiteY5" fmla="*/ 347567 h 573595"/>
                <a:gd name="connsiteX6" fmla="*/ 786574 w 951737"/>
                <a:gd name="connsiteY6" fmla="*/ 515969 h 573595"/>
                <a:gd name="connsiteX7" fmla="*/ 728948 w 951737"/>
                <a:gd name="connsiteY7" fmla="*/ 573596 h 573595"/>
                <a:gd name="connsiteX8" fmla="*/ 472535 w 951737"/>
                <a:gd name="connsiteY8" fmla="*/ 573596 h 573595"/>
                <a:gd name="connsiteX9" fmla="*/ 475869 w 951737"/>
                <a:gd name="connsiteY9" fmla="*/ 515969 h 573595"/>
                <a:gd name="connsiteX10" fmla="*/ 475869 w 951737"/>
                <a:gd name="connsiteY10" fmla="*/ 316802 h 573595"/>
                <a:gd name="connsiteX11" fmla="*/ 418624 w 951737"/>
                <a:gd name="connsiteY11" fmla="*/ 265652 h 573595"/>
                <a:gd name="connsiteX12" fmla="*/ 0 w 951737"/>
                <a:gd name="connsiteY12" fmla="*/ 265652 h 573595"/>
                <a:gd name="connsiteX13" fmla="*/ 0 w 951737"/>
                <a:gd name="connsiteY13" fmla="*/ 122396 h 573595"/>
                <a:gd name="connsiteX14" fmla="*/ 78772 w 951737"/>
                <a:gd name="connsiteY14" fmla="*/ 122396 h 573595"/>
                <a:gd name="connsiteX15" fmla="*/ 93345 w 951737"/>
                <a:gd name="connsiteY15" fmla="*/ 121729 h 573595"/>
                <a:gd name="connsiteX16" fmla="*/ 101251 w 951737"/>
                <a:gd name="connsiteY16" fmla="*/ 121348 h 573595"/>
                <a:gd name="connsiteX17" fmla="*/ 400240 w 951737"/>
                <a:gd name="connsiteY17" fmla="*/ 121348 h 573595"/>
                <a:gd name="connsiteX18" fmla="*/ 470249 w 951737"/>
                <a:gd name="connsiteY18" fmla="*/ 51340 h 573595"/>
                <a:gd name="connsiteX19" fmla="*/ 472440 w 951737"/>
                <a:gd name="connsiteY19" fmla="*/ 0 h 5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1737" h="573595">
                  <a:moveTo>
                    <a:pt x="472440" y="0"/>
                  </a:moveTo>
                  <a:lnTo>
                    <a:pt x="951738" y="0"/>
                  </a:lnTo>
                  <a:lnTo>
                    <a:pt x="951738" y="213265"/>
                  </a:lnTo>
                  <a:cubicBezTo>
                    <a:pt x="951738" y="244983"/>
                    <a:pt x="925830" y="270891"/>
                    <a:pt x="894112" y="270891"/>
                  </a:cubicBezTo>
                  <a:lnTo>
                    <a:pt x="859250" y="270891"/>
                  </a:lnTo>
                  <a:cubicBezTo>
                    <a:pt x="802957" y="270891"/>
                    <a:pt x="784955" y="325946"/>
                    <a:pt x="786574" y="347567"/>
                  </a:cubicBezTo>
                  <a:lnTo>
                    <a:pt x="786574" y="515969"/>
                  </a:lnTo>
                  <a:cubicBezTo>
                    <a:pt x="786574" y="547688"/>
                    <a:pt x="760666" y="573596"/>
                    <a:pt x="728948" y="573596"/>
                  </a:cubicBezTo>
                  <a:lnTo>
                    <a:pt x="472535" y="573596"/>
                  </a:lnTo>
                  <a:lnTo>
                    <a:pt x="475869" y="515969"/>
                  </a:lnTo>
                  <a:lnTo>
                    <a:pt x="475869" y="316802"/>
                  </a:lnTo>
                  <a:cubicBezTo>
                    <a:pt x="472630" y="288131"/>
                    <a:pt x="448056" y="265652"/>
                    <a:pt x="418624" y="265652"/>
                  </a:cubicBezTo>
                  <a:lnTo>
                    <a:pt x="0" y="265652"/>
                  </a:lnTo>
                  <a:lnTo>
                    <a:pt x="0" y="122396"/>
                  </a:lnTo>
                  <a:lnTo>
                    <a:pt x="78772" y="122396"/>
                  </a:lnTo>
                  <a:cubicBezTo>
                    <a:pt x="83725" y="122396"/>
                    <a:pt x="88582" y="122111"/>
                    <a:pt x="93345" y="121729"/>
                  </a:cubicBezTo>
                  <a:cubicBezTo>
                    <a:pt x="96107" y="121444"/>
                    <a:pt x="98488" y="121348"/>
                    <a:pt x="101251" y="121348"/>
                  </a:cubicBezTo>
                  <a:lnTo>
                    <a:pt x="400240" y="121348"/>
                  </a:lnTo>
                  <a:cubicBezTo>
                    <a:pt x="438721" y="121348"/>
                    <a:pt x="468630" y="89821"/>
                    <a:pt x="470249" y="51340"/>
                  </a:cubicBezTo>
                  <a:lnTo>
                    <a:pt x="472440"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78" name="Freeform: Shape 77">
              <a:extLst>
                <a:ext uri="{FF2B5EF4-FFF2-40B4-BE49-F238E27FC236}">
                  <a16:creationId xmlns:a16="http://schemas.microsoft.com/office/drawing/2014/main" id="{A1A71930-64E4-44CF-BCC5-2C1AA1D05337}"/>
                </a:ext>
              </a:extLst>
            </p:cNvPr>
            <p:cNvSpPr/>
            <p:nvPr/>
          </p:nvSpPr>
          <p:spPr>
            <a:xfrm>
              <a:off x="3704003" y="3830177"/>
              <a:ext cx="314039" cy="154495"/>
            </a:xfrm>
            <a:custGeom>
              <a:avLst/>
              <a:gdLst>
                <a:gd name="connsiteX0" fmla="*/ 314039 w 314039"/>
                <a:gd name="connsiteY0" fmla="*/ 0 h 154495"/>
                <a:gd name="connsiteX1" fmla="*/ 314039 w 314039"/>
                <a:gd name="connsiteY1" fmla="*/ 96869 h 154495"/>
                <a:gd name="connsiteX2" fmla="*/ 256413 w 314039"/>
                <a:gd name="connsiteY2" fmla="*/ 154496 h 154495"/>
                <a:gd name="connsiteX3" fmla="*/ 0 w 314039"/>
                <a:gd name="connsiteY3" fmla="*/ 154496 h 154495"/>
                <a:gd name="connsiteX4" fmla="*/ 3334 w 314039"/>
                <a:gd name="connsiteY4" fmla="*/ 96869 h 154495"/>
                <a:gd name="connsiteX5" fmla="*/ 3334 w 314039"/>
                <a:gd name="connsiteY5" fmla="*/ 0 h 154495"/>
                <a:gd name="connsiteX6" fmla="*/ 314039 w 314039"/>
                <a:gd name="connsiteY6" fmla="*/ 0 h 15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039" h="154495">
                  <a:moveTo>
                    <a:pt x="314039" y="0"/>
                  </a:moveTo>
                  <a:lnTo>
                    <a:pt x="314039" y="96869"/>
                  </a:lnTo>
                  <a:cubicBezTo>
                    <a:pt x="314039" y="128588"/>
                    <a:pt x="288131" y="154496"/>
                    <a:pt x="256413" y="154496"/>
                  </a:cubicBezTo>
                  <a:lnTo>
                    <a:pt x="0" y="154496"/>
                  </a:lnTo>
                  <a:lnTo>
                    <a:pt x="3334" y="96869"/>
                  </a:lnTo>
                  <a:lnTo>
                    <a:pt x="3334" y="0"/>
                  </a:lnTo>
                  <a:lnTo>
                    <a:pt x="314039"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81" name="Freeform: Shape 80">
              <a:extLst>
                <a:ext uri="{FF2B5EF4-FFF2-40B4-BE49-F238E27FC236}">
                  <a16:creationId xmlns:a16="http://schemas.microsoft.com/office/drawing/2014/main" id="{7DB9E8EB-2B5D-4391-9D44-13E2D271D45A}"/>
                </a:ext>
              </a:extLst>
            </p:cNvPr>
            <p:cNvSpPr/>
            <p:nvPr/>
          </p:nvSpPr>
          <p:spPr>
            <a:xfrm>
              <a:off x="3828495" y="3830462"/>
              <a:ext cx="820769" cy="493014"/>
            </a:xfrm>
            <a:custGeom>
              <a:avLst/>
              <a:gdLst>
                <a:gd name="connsiteX0" fmla="*/ 0 w 820769"/>
                <a:gd name="connsiteY0" fmla="*/ 154210 h 493014"/>
                <a:gd name="connsiteX1" fmla="*/ 41053 w 820769"/>
                <a:gd name="connsiteY1" fmla="*/ 220313 h 493014"/>
                <a:gd name="connsiteX2" fmla="*/ 41053 w 820769"/>
                <a:gd name="connsiteY2" fmla="*/ 239268 h 493014"/>
                <a:gd name="connsiteX3" fmla="*/ 98679 w 820769"/>
                <a:gd name="connsiteY3" fmla="*/ 296894 h 493014"/>
                <a:gd name="connsiteX4" fmla="*/ 126778 w 820769"/>
                <a:gd name="connsiteY4" fmla="*/ 296894 h 493014"/>
                <a:gd name="connsiteX5" fmla="*/ 207740 w 820769"/>
                <a:gd name="connsiteY5" fmla="*/ 377857 h 493014"/>
                <a:gd name="connsiteX6" fmla="*/ 207740 w 820769"/>
                <a:gd name="connsiteY6" fmla="*/ 385001 h 493014"/>
                <a:gd name="connsiteX7" fmla="*/ 207740 w 820769"/>
                <a:gd name="connsiteY7" fmla="*/ 386524 h 493014"/>
                <a:gd name="connsiteX8" fmla="*/ 207740 w 820769"/>
                <a:gd name="connsiteY8" fmla="*/ 386524 h 493014"/>
                <a:gd name="connsiteX9" fmla="*/ 207835 w 820769"/>
                <a:gd name="connsiteY9" fmla="*/ 387953 h 493014"/>
                <a:gd name="connsiteX10" fmla="*/ 207835 w 820769"/>
                <a:gd name="connsiteY10" fmla="*/ 387953 h 493014"/>
                <a:gd name="connsiteX11" fmla="*/ 207931 w 820769"/>
                <a:gd name="connsiteY11" fmla="*/ 389382 h 493014"/>
                <a:gd name="connsiteX12" fmla="*/ 207931 w 820769"/>
                <a:gd name="connsiteY12" fmla="*/ 389382 h 493014"/>
                <a:gd name="connsiteX13" fmla="*/ 208026 w 820769"/>
                <a:gd name="connsiteY13" fmla="*/ 390811 h 493014"/>
                <a:gd name="connsiteX14" fmla="*/ 208026 w 820769"/>
                <a:gd name="connsiteY14" fmla="*/ 390811 h 493014"/>
                <a:gd name="connsiteX15" fmla="*/ 208216 w 820769"/>
                <a:gd name="connsiteY15" fmla="*/ 392239 h 493014"/>
                <a:gd name="connsiteX16" fmla="*/ 208216 w 820769"/>
                <a:gd name="connsiteY16" fmla="*/ 392239 h 493014"/>
                <a:gd name="connsiteX17" fmla="*/ 208407 w 820769"/>
                <a:gd name="connsiteY17" fmla="*/ 393668 h 493014"/>
                <a:gd name="connsiteX18" fmla="*/ 208407 w 820769"/>
                <a:gd name="connsiteY18" fmla="*/ 393668 h 493014"/>
                <a:gd name="connsiteX19" fmla="*/ 208597 w 820769"/>
                <a:gd name="connsiteY19" fmla="*/ 395097 h 493014"/>
                <a:gd name="connsiteX20" fmla="*/ 208597 w 820769"/>
                <a:gd name="connsiteY20" fmla="*/ 395097 h 493014"/>
                <a:gd name="connsiteX21" fmla="*/ 230886 w 820769"/>
                <a:gd name="connsiteY21" fmla="*/ 431102 h 493014"/>
                <a:gd name="connsiteX22" fmla="*/ 230886 w 820769"/>
                <a:gd name="connsiteY22" fmla="*/ 431102 h 493014"/>
                <a:gd name="connsiteX23" fmla="*/ 232029 w 820769"/>
                <a:gd name="connsiteY23" fmla="*/ 431959 h 493014"/>
                <a:gd name="connsiteX24" fmla="*/ 232029 w 820769"/>
                <a:gd name="connsiteY24" fmla="*/ 431959 h 493014"/>
                <a:gd name="connsiteX25" fmla="*/ 233172 w 820769"/>
                <a:gd name="connsiteY25" fmla="*/ 432721 h 493014"/>
                <a:gd name="connsiteX26" fmla="*/ 233172 w 820769"/>
                <a:gd name="connsiteY26" fmla="*/ 432721 h 493014"/>
                <a:gd name="connsiteX27" fmla="*/ 234315 w 820769"/>
                <a:gd name="connsiteY27" fmla="*/ 433483 h 493014"/>
                <a:gd name="connsiteX28" fmla="*/ 234315 w 820769"/>
                <a:gd name="connsiteY28" fmla="*/ 433483 h 493014"/>
                <a:gd name="connsiteX29" fmla="*/ 235458 w 820769"/>
                <a:gd name="connsiteY29" fmla="*/ 434245 h 493014"/>
                <a:gd name="connsiteX30" fmla="*/ 235458 w 820769"/>
                <a:gd name="connsiteY30" fmla="*/ 434245 h 493014"/>
                <a:gd name="connsiteX31" fmla="*/ 236029 w 820769"/>
                <a:gd name="connsiteY31" fmla="*/ 434530 h 493014"/>
                <a:gd name="connsiteX32" fmla="*/ 237363 w 820769"/>
                <a:gd name="connsiteY32" fmla="*/ 435293 h 493014"/>
                <a:gd name="connsiteX33" fmla="*/ 237934 w 820769"/>
                <a:gd name="connsiteY33" fmla="*/ 435578 h 493014"/>
                <a:gd name="connsiteX34" fmla="*/ 237934 w 820769"/>
                <a:gd name="connsiteY34" fmla="*/ 435578 h 493014"/>
                <a:gd name="connsiteX35" fmla="*/ 239173 w 820769"/>
                <a:gd name="connsiteY35" fmla="*/ 436245 h 493014"/>
                <a:gd name="connsiteX36" fmla="*/ 239173 w 820769"/>
                <a:gd name="connsiteY36" fmla="*/ 436245 h 493014"/>
                <a:gd name="connsiteX37" fmla="*/ 240411 w 820769"/>
                <a:gd name="connsiteY37" fmla="*/ 436912 h 493014"/>
                <a:gd name="connsiteX38" fmla="*/ 240411 w 820769"/>
                <a:gd name="connsiteY38" fmla="*/ 436912 h 493014"/>
                <a:gd name="connsiteX39" fmla="*/ 241649 w 820769"/>
                <a:gd name="connsiteY39" fmla="*/ 437483 h 493014"/>
                <a:gd name="connsiteX40" fmla="*/ 241649 w 820769"/>
                <a:gd name="connsiteY40" fmla="*/ 437483 h 493014"/>
                <a:gd name="connsiteX41" fmla="*/ 242888 w 820769"/>
                <a:gd name="connsiteY41" fmla="*/ 438055 h 493014"/>
                <a:gd name="connsiteX42" fmla="*/ 242888 w 820769"/>
                <a:gd name="connsiteY42" fmla="*/ 438055 h 493014"/>
                <a:gd name="connsiteX43" fmla="*/ 244221 w 820769"/>
                <a:gd name="connsiteY43" fmla="*/ 438626 h 493014"/>
                <a:gd name="connsiteX44" fmla="*/ 244221 w 820769"/>
                <a:gd name="connsiteY44" fmla="*/ 438626 h 493014"/>
                <a:gd name="connsiteX45" fmla="*/ 245554 w 820769"/>
                <a:gd name="connsiteY45" fmla="*/ 439103 h 493014"/>
                <a:gd name="connsiteX46" fmla="*/ 245554 w 820769"/>
                <a:gd name="connsiteY46" fmla="*/ 439103 h 493014"/>
                <a:gd name="connsiteX47" fmla="*/ 246888 w 820769"/>
                <a:gd name="connsiteY47" fmla="*/ 439579 h 493014"/>
                <a:gd name="connsiteX48" fmla="*/ 246888 w 820769"/>
                <a:gd name="connsiteY48" fmla="*/ 439579 h 493014"/>
                <a:gd name="connsiteX49" fmla="*/ 247174 w 820769"/>
                <a:gd name="connsiteY49" fmla="*/ 439674 h 493014"/>
                <a:gd name="connsiteX50" fmla="*/ 249269 w 820769"/>
                <a:gd name="connsiteY50" fmla="*/ 440341 h 493014"/>
                <a:gd name="connsiteX51" fmla="*/ 249555 w 820769"/>
                <a:gd name="connsiteY51" fmla="*/ 440436 h 493014"/>
                <a:gd name="connsiteX52" fmla="*/ 249555 w 820769"/>
                <a:gd name="connsiteY52" fmla="*/ 440436 h 493014"/>
                <a:gd name="connsiteX53" fmla="*/ 250888 w 820769"/>
                <a:gd name="connsiteY53" fmla="*/ 440817 h 493014"/>
                <a:gd name="connsiteX54" fmla="*/ 250888 w 820769"/>
                <a:gd name="connsiteY54" fmla="*/ 440817 h 493014"/>
                <a:gd name="connsiteX55" fmla="*/ 252222 w 820769"/>
                <a:gd name="connsiteY55" fmla="*/ 441198 h 493014"/>
                <a:gd name="connsiteX56" fmla="*/ 252222 w 820769"/>
                <a:gd name="connsiteY56" fmla="*/ 441198 h 493014"/>
                <a:gd name="connsiteX57" fmla="*/ 253651 w 820769"/>
                <a:gd name="connsiteY57" fmla="*/ 441484 h 493014"/>
                <a:gd name="connsiteX58" fmla="*/ 253651 w 820769"/>
                <a:gd name="connsiteY58" fmla="*/ 441484 h 493014"/>
                <a:gd name="connsiteX59" fmla="*/ 255079 w 820769"/>
                <a:gd name="connsiteY59" fmla="*/ 441770 h 493014"/>
                <a:gd name="connsiteX60" fmla="*/ 255079 w 820769"/>
                <a:gd name="connsiteY60" fmla="*/ 441770 h 493014"/>
                <a:gd name="connsiteX61" fmla="*/ 255365 w 820769"/>
                <a:gd name="connsiteY61" fmla="*/ 441770 h 493014"/>
                <a:gd name="connsiteX62" fmla="*/ 257746 w 820769"/>
                <a:gd name="connsiteY62" fmla="*/ 442151 h 493014"/>
                <a:gd name="connsiteX63" fmla="*/ 258032 w 820769"/>
                <a:gd name="connsiteY63" fmla="*/ 442151 h 493014"/>
                <a:gd name="connsiteX64" fmla="*/ 258032 w 820769"/>
                <a:gd name="connsiteY64" fmla="*/ 442151 h 493014"/>
                <a:gd name="connsiteX65" fmla="*/ 259461 w 820769"/>
                <a:gd name="connsiteY65" fmla="*/ 442341 h 493014"/>
                <a:gd name="connsiteX66" fmla="*/ 259461 w 820769"/>
                <a:gd name="connsiteY66" fmla="*/ 442341 h 493014"/>
                <a:gd name="connsiteX67" fmla="*/ 260890 w 820769"/>
                <a:gd name="connsiteY67" fmla="*/ 442436 h 493014"/>
                <a:gd name="connsiteX68" fmla="*/ 260890 w 820769"/>
                <a:gd name="connsiteY68" fmla="*/ 442436 h 493014"/>
                <a:gd name="connsiteX69" fmla="*/ 262318 w 820769"/>
                <a:gd name="connsiteY69" fmla="*/ 442531 h 493014"/>
                <a:gd name="connsiteX70" fmla="*/ 262318 w 820769"/>
                <a:gd name="connsiteY70" fmla="*/ 442531 h 493014"/>
                <a:gd name="connsiteX71" fmla="*/ 262795 w 820769"/>
                <a:gd name="connsiteY71" fmla="*/ 442531 h 493014"/>
                <a:gd name="connsiteX72" fmla="*/ 265938 w 820769"/>
                <a:gd name="connsiteY72" fmla="*/ 442627 h 493014"/>
                <a:gd name="connsiteX73" fmla="*/ 431768 w 820769"/>
                <a:gd name="connsiteY73" fmla="*/ 442627 h 493014"/>
                <a:gd name="connsiteX74" fmla="*/ 434054 w 820769"/>
                <a:gd name="connsiteY74" fmla="*/ 442627 h 493014"/>
                <a:gd name="connsiteX75" fmla="*/ 509016 w 820769"/>
                <a:gd name="connsiteY75" fmla="*/ 493014 h 493014"/>
                <a:gd name="connsiteX76" fmla="*/ 506349 w 820769"/>
                <a:gd name="connsiteY76" fmla="*/ 345377 h 493014"/>
                <a:gd name="connsiteX77" fmla="*/ 423767 w 820769"/>
                <a:gd name="connsiteY77" fmla="*/ 276130 h 493014"/>
                <a:gd name="connsiteX78" fmla="*/ 408622 w 820769"/>
                <a:gd name="connsiteY78" fmla="*/ 276130 h 493014"/>
                <a:gd name="connsiteX79" fmla="*/ 350996 w 820769"/>
                <a:gd name="connsiteY79" fmla="*/ 218504 h 493014"/>
                <a:gd name="connsiteX80" fmla="*/ 350996 w 820769"/>
                <a:gd name="connsiteY80" fmla="*/ 198501 h 493014"/>
                <a:gd name="connsiteX81" fmla="*/ 408622 w 820769"/>
                <a:gd name="connsiteY81" fmla="*/ 140875 h 493014"/>
                <a:gd name="connsiteX82" fmla="*/ 820769 w 820769"/>
                <a:gd name="connsiteY82" fmla="*/ 140875 h 493014"/>
                <a:gd name="connsiteX83" fmla="*/ 820769 w 820769"/>
                <a:gd name="connsiteY83" fmla="*/ 0 h 493014"/>
                <a:gd name="connsiteX84" fmla="*/ 189547 w 820769"/>
                <a:gd name="connsiteY84" fmla="*/ 0 h 493014"/>
                <a:gd name="connsiteX85" fmla="*/ 189547 w 820769"/>
                <a:gd name="connsiteY85" fmla="*/ 96869 h 493014"/>
                <a:gd name="connsiteX86" fmla="*/ 131921 w 820769"/>
                <a:gd name="connsiteY86" fmla="*/ 154496 h 493014"/>
                <a:gd name="connsiteX87" fmla="*/ 0 w 820769"/>
                <a:gd name="connsiteY87" fmla="*/ 154496 h 493014"/>
                <a:gd name="connsiteX88" fmla="*/ 0 w 820769"/>
                <a:gd name="connsiteY88" fmla="*/ 154210 h 493014"/>
                <a:gd name="connsiteX89" fmla="*/ 207740 w 820769"/>
                <a:gd name="connsiteY89" fmla="*/ 384905 h 493014"/>
                <a:gd name="connsiteX90" fmla="*/ 207740 w 820769"/>
                <a:gd name="connsiteY90" fmla="*/ 384905 h 493014"/>
                <a:gd name="connsiteX91" fmla="*/ 207740 w 820769"/>
                <a:gd name="connsiteY91" fmla="*/ 384905 h 49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820769" h="493014">
                  <a:moveTo>
                    <a:pt x="0" y="154210"/>
                  </a:moveTo>
                  <a:cubicBezTo>
                    <a:pt x="24003" y="154496"/>
                    <a:pt x="41053" y="169450"/>
                    <a:pt x="41053" y="220313"/>
                  </a:cubicBezTo>
                  <a:lnTo>
                    <a:pt x="41053" y="239268"/>
                  </a:lnTo>
                  <a:cubicBezTo>
                    <a:pt x="41053" y="270986"/>
                    <a:pt x="66961" y="296894"/>
                    <a:pt x="98679" y="296894"/>
                  </a:cubicBezTo>
                  <a:lnTo>
                    <a:pt x="126778" y="296894"/>
                  </a:lnTo>
                  <a:cubicBezTo>
                    <a:pt x="171355" y="296894"/>
                    <a:pt x="207740" y="333280"/>
                    <a:pt x="207740" y="377857"/>
                  </a:cubicBezTo>
                  <a:lnTo>
                    <a:pt x="207740" y="385001"/>
                  </a:lnTo>
                  <a:lnTo>
                    <a:pt x="207740" y="386524"/>
                  </a:lnTo>
                  <a:lnTo>
                    <a:pt x="207740" y="386524"/>
                  </a:lnTo>
                  <a:lnTo>
                    <a:pt x="207835" y="387953"/>
                  </a:lnTo>
                  <a:lnTo>
                    <a:pt x="207835" y="387953"/>
                  </a:lnTo>
                  <a:lnTo>
                    <a:pt x="207931" y="389382"/>
                  </a:lnTo>
                  <a:lnTo>
                    <a:pt x="207931" y="389382"/>
                  </a:lnTo>
                  <a:lnTo>
                    <a:pt x="208026" y="390811"/>
                  </a:lnTo>
                  <a:lnTo>
                    <a:pt x="208026" y="390811"/>
                  </a:lnTo>
                  <a:lnTo>
                    <a:pt x="208216" y="392239"/>
                  </a:lnTo>
                  <a:lnTo>
                    <a:pt x="208216" y="392239"/>
                  </a:lnTo>
                  <a:lnTo>
                    <a:pt x="208407" y="393668"/>
                  </a:lnTo>
                  <a:lnTo>
                    <a:pt x="208407" y="393668"/>
                  </a:lnTo>
                  <a:lnTo>
                    <a:pt x="208597" y="395097"/>
                  </a:lnTo>
                  <a:lnTo>
                    <a:pt x="208597" y="395097"/>
                  </a:lnTo>
                  <a:cubicBezTo>
                    <a:pt x="211074" y="409289"/>
                    <a:pt x="219265" y="422243"/>
                    <a:pt x="230886" y="431102"/>
                  </a:cubicBezTo>
                  <a:lnTo>
                    <a:pt x="230886" y="431102"/>
                  </a:lnTo>
                  <a:lnTo>
                    <a:pt x="232029" y="431959"/>
                  </a:lnTo>
                  <a:lnTo>
                    <a:pt x="232029" y="431959"/>
                  </a:lnTo>
                  <a:lnTo>
                    <a:pt x="233172" y="432721"/>
                  </a:lnTo>
                  <a:lnTo>
                    <a:pt x="233172" y="432721"/>
                  </a:lnTo>
                  <a:lnTo>
                    <a:pt x="234315" y="433483"/>
                  </a:lnTo>
                  <a:lnTo>
                    <a:pt x="234315" y="433483"/>
                  </a:lnTo>
                  <a:lnTo>
                    <a:pt x="235458" y="434245"/>
                  </a:lnTo>
                  <a:lnTo>
                    <a:pt x="235458" y="434245"/>
                  </a:lnTo>
                  <a:lnTo>
                    <a:pt x="236029" y="434530"/>
                  </a:lnTo>
                  <a:cubicBezTo>
                    <a:pt x="236506" y="434816"/>
                    <a:pt x="236887" y="435007"/>
                    <a:pt x="237363" y="435293"/>
                  </a:cubicBezTo>
                  <a:lnTo>
                    <a:pt x="237934" y="435578"/>
                  </a:lnTo>
                  <a:lnTo>
                    <a:pt x="237934" y="435578"/>
                  </a:lnTo>
                  <a:lnTo>
                    <a:pt x="239173" y="436245"/>
                  </a:lnTo>
                  <a:lnTo>
                    <a:pt x="239173" y="436245"/>
                  </a:lnTo>
                  <a:lnTo>
                    <a:pt x="240411" y="436912"/>
                  </a:lnTo>
                  <a:lnTo>
                    <a:pt x="240411" y="436912"/>
                  </a:lnTo>
                  <a:lnTo>
                    <a:pt x="241649" y="437483"/>
                  </a:lnTo>
                  <a:lnTo>
                    <a:pt x="241649" y="437483"/>
                  </a:lnTo>
                  <a:cubicBezTo>
                    <a:pt x="242030" y="437674"/>
                    <a:pt x="242506" y="437864"/>
                    <a:pt x="242888" y="438055"/>
                  </a:cubicBezTo>
                  <a:lnTo>
                    <a:pt x="242888" y="438055"/>
                  </a:lnTo>
                  <a:lnTo>
                    <a:pt x="244221" y="438626"/>
                  </a:lnTo>
                  <a:lnTo>
                    <a:pt x="244221" y="438626"/>
                  </a:lnTo>
                  <a:lnTo>
                    <a:pt x="245554" y="439103"/>
                  </a:lnTo>
                  <a:lnTo>
                    <a:pt x="245554" y="439103"/>
                  </a:lnTo>
                  <a:lnTo>
                    <a:pt x="246888" y="439579"/>
                  </a:lnTo>
                  <a:lnTo>
                    <a:pt x="246888" y="439579"/>
                  </a:lnTo>
                  <a:lnTo>
                    <a:pt x="247174" y="439674"/>
                  </a:lnTo>
                  <a:cubicBezTo>
                    <a:pt x="247936" y="439864"/>
                    <a:pt x="248507" y="440055"/>
                    <a:pt x="249269" y="440341"/>
                  </a:cubicBezTo>
                  <a:lnTo>
                    <a:pt x="249555" y="440436"/>
                  </a:lnTo>
                  <a:lnTo>
                    <a:pt x="249555" y="440436"/>
                  </a:lnTo>
                  <a:lnTo>
                    <a:pt x="250888" y="440817"/>
                  </a:lnTo>
                  <a:lnTo>
                    <a:pt x="250888" y="440817"/>
                  </a:lnTo>
                  <a:lnTo>
                    <a:pt x="252222" y="441198"/>
                  </a:lnTo>
                  <a:lnTo>
                    <a:pt x="252222" y="441198"/>
                  </a:lnTo>
                  <a:lnTo>
                    <a:pt x="253651" y="441484"/>
                  </a:lnTo>
                  <a:lnTo>
                    <a:pt x="253651" y="441484"/>
                  </a:lnTo>
                  <a:cubicBezTo>
                    <a:pt x="254127" y="441579"/>
                    <a:pt x="254603" y="441674"/>
                    <a:pt x="255079" y="441770"/>
                  </a:cubicBezTo>
                  <a:lnTo>
                    <a:pt x="255079" y="441770"/>
                  </a:lnTo>
                  <a:lnTo>
                    <a:pt x="255365" y="441770"/>
                  </a:lnTo>
                  <a:cubicBezTo>
                    <a:pt x="256222" y="441865"/>
                    <a:pt x="256889" y="442055"/>
                    <a:pt x="257746" y="442151"/>
                  </a:cubicBezTo>
                  <a:lnTo>
                    <a:pt x="258032" y="442151"/>
                  </a:lnTo>
                  <a:lnTo>
                    <a:pt x="258032" y="442151"/>
                  </a:lnTo>
                  <a:lnTo>
                    <a:pt x="259461" y="442341"/>
                  </a:lnTo>
                  <a:lnTo>
                    <a:pt x="259461" y="442341"/>
                  </a:lnTo>
                  <a:lnTo>
                    <a:pt x="260890" y="442436"/>
                  </a:lnTo>
                  <a:lnTo>
                    <a:pt x="260890" y="442436"/>
                  </a:lnTo>
                  <a:lnTo>
                    <a:pt x="262318" y="442531"/>
                  </a:lnTo>
                  <a:lnTo>
                    <a:pt x="262318" y="442531"/>
                  </a:lnTo>
                  <a:lnTo>
                    <a:pt x="262795" y="442531"/>
                  </a:lnTo>
                  <a:cubicBezTo>
                    <a:pt x="263938" y="442531"/>
                    <a:pt x="264795" y="442627"/>
                    <a:pt x="265938" y="442627"/>
                  </a:cubicBezTo>
                  <a:lnTo>
                    <a:pt x="431768" y="442627"/>
                  </a:lnTo>
                  <a:lnTo>
                    <a:pt x="434054" y="442627"/>
                  </a:lnTo>
                  <a:cubicBezTo>
                    <a:pt x="467868" y="442627"/>
                    <a:pt x="496824" y="463487"/>
                    <a:pt x="509016" y="493014"/>
                  </a:cubicBezTo>
                  <a:lnTo>
                    <a:pt x="506349" y="345377"/>
                  </a:lnTo>
                  <a:cubicBezTo>
                    <a:pt x="505015" y="273463"/>
                    <a:pt x="439007" y="276606"/>
                    <a:pt x="423767" y="276130"/>
                  </a:cubicBezTo>
                  <a:lnTo>
                    <a:pt x="408622" y="276130"/>
                  </a:lnTo>
                  <a:cubicBezTo>
                    <a:pt x="376904" y="276130"/>
                    <a:pt x="350996" y="250222"/>
                    <a:pt x="350996" y="218504"/>
                  </a:cubicBezTo>
                  <a:lnTo>
                    <a:pt x="350996" y="198501"/>
                  </a:lnTo>
                  <a:cubicBezTo>
                    <a:pt x="350996" y="166783"/>
                    <a:pt x="376904" y="140875"/>
                    <a:pt x="408622" y="140875"/>
                  </a:cubicBezTo>
                  <a:lnTo>
                    <a:pt x="820769" y="140875"/>
                  </a:lnTo>
                  <a:lnTo>
                    <a:pt x="820769" y="0"/>
                  </a:lnTo>
                  <a:lnTo>
                    <a:pt x="189547" y="0"/>
                  </a:lnTo>
                  <a:lnTo>
                    <a:pt x="189547" y="96869"/>
                  </a:lnTo>
                  <a:cubicBezTo>
                    <a:pt x="189547" y="128588"/>
                    <a:pt x="163639" y="154496"/>
                    <a:pt x="131921" y="154496"/>
                  </a:cubicBezTo>
                  <a:lnTo>
                    <a:pt x="0" y="154496"/>
                  </a:lnTo>
                  <a:lnTo>
                    <a:pt x="0" y="154210"/>
                  </a:lnTo>
                  <a:close/>
                  <a:moveTo>
                    <a:pt x="207740" y="384905"/>
                  </a:moveTo>
                  <a:lnTo>
                    <a:pt x="207740" y="384905"/>
                  </a:lnTo>
                  <a:lnTo>
                    <a:pt x="207740" y="384905"/>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82" name="Freeform: Shape 81">
              <a:extLst>
                <a:ext uri="{FF2B5EF4-FFF2-40B4-BE49-F238E27FC236}">
                  <a16:creationId xmlns:a16="http://schemas.microsoft.com/office/drawing/2014/main" id="{2A319A01-1506-48E7-8264-66BC09F1C34C}"/>
                </a:ext>
              </a:extLst>
            </p:cNvPr>
            <p:cNvSpPr/>
            <p:nvPr/>
          </p:nvSpPr>
          <p:spPr>
            <a:xfrm>
              <a:off x="5452983" y="5721461"/>
              <a:ext cx="448627" cy="135254"/>
            </a:xfrm>
            <a:custGeom>
              <a:avLst/>
              <a:gdLst>
                <a:gd name="connsiteX0" fmla="*/ 0 w 448627"/>
                <a:gd name="connsiteY0" fmla="*/ 57626 h 135254"/>
                <a:gd name="connsiteX1" fmla="*/ 0 w 448627"/>
                <a:gd name="connsiteY1" fmla="*/ 77628 h 135254"/>
                <a:gd name="connsiteX2" fmla="*/ 57626 w 448627"/>
                <a:gd name="connsiteY2" fmla="*/ 135255 h 135254"/>
                <a:gd name="connsiteX3" fmla="*/ 391001 w 448627"/>
                <a:gd name="connsiteY3" fmla="*/ 135255 h 135254"/>
                <a:gd name="connsiteX4" fmla="*/ 448627 w 448627"/>
                <a:gd name="connsiteY4" fmla="*/ 77628 h 135254"/>
                <a:gd name="connsiteX5" fmla="*/ 448627 w 448627"/>
                <a:gd name="connsiteY5" fmla="*/ 57626 h 135254"/>
                <a:gd name="connsiteX6" fmla="*/ 391001 w 448627"/>
                <a:gd name="connsiteY6" fmla="*/ 0 h 135254"/>
                <a:gd name="connsiteX7" fmla="*/ 57626 w 448627"/>
                <a:gd name="connsiteY7" fmla="*/ 0 h 135254"/>
                <a:gd name="connsiteX8" fmla="*/ 0 w 448627"/>
                <a:gd name="connsiteY8" fmla="*/ 57626 h 13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627" h="135254">
                  <a:moveTo>
                    <a:pt x="0" y="57626"/>
                  </a:moveTo>
                  <a:lnTo>
                    <a:pt x="0" y="77628"/>
                  </a:lnTo>
                  <a:cubicBezTo>
                    <a:pt x="0" y="109347"/>
                    <a:pt x="25908" y="135255"/>
                    <a:pt x="57626" y="135255"/>
                  </a:cubicBezTo>
                  <a:lnTo>
                    <a:pt x="391001" y="135255"/>
                  </a:lnTo>
                  <a:cubicBezTo>
                    <a:pt x="422720" y="135255"/>
                    <a:pt x="448627" y="109347"/>
                    <a:pt x="448627" y="77628"/>
                  </a:cubicBezTo>
                  <a:lnTo>
                    <a:pt x="448627" y="57626"/>
                  </a:lnTo>
                  <a:cubicBezTo>
                    <a:pt x="448627" y="25908"/>
                    <a:pt x="422720" y="0"/>
                    <a:pt x="391001" y="0"/>
                  </a:cubicBezTo>
                  <a:lnTo>
                    <a:pt x="57626" y="0"/>
                  </a:lnTo>
                  <a:cubicBezTo>
                    <a:pt x="26003" y="0"/>
                    <a:pt x="0" y="25908"/>
                    <a:pt x="0" y="57626"/>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83" name="Freeform: Shape 82">
              <a:extLst>
                <a:ext uri="{FF2B5EF4-FFF2-40B4-BE49-F238E27FC236}">
                  <a16:creationId xmlns:a16="http://schemas.microsoft.com/office/drawing/2014/main" id="{ACC3D5D9-F647-479C-8F4E-492E0219DACE}"/>
                </a:ext>
              </a:extLst>
            </p:cNvPr>
            <p:cNvSpPr/>
            <p:nvPr/>
          </p:nvSpPr>
          <p:spPr>
            <a:xfrm>
              <a:off x="4806046" y="4414821"/>
              <a:ext cx="945927" cy="1170241"/>
            </a:xfrm>
            <a:custGeom>
              <a:avLst/>
              <a:gdLst>
                <a:gd name="connsiteX0" fmla="*/ 168402 w 945927"/>
                <a:gd name="connsiteY0" fmla="*/ 288131 h 1170241"/>
                <a:gd name="connsiteX1" fmla="*/ 168402 w 945927"/>
                <a:gd name="connsiteY1" fmla="*/ 520827 h 1170241"/>
                <a:gd name="connsiteX2" fmla="*/ 110776 w 945927"/>
                <a:gd name="connsiteY2" fmla="*/ 578453 h 1170241"/>
                <a:gd name="connsiteX3" fmla="*/ 0 w 945927"/>
                <a:gd name="connsiteY3" fmla="*/ 578453 h 1170241"/>
                <a:gd name="connsiteX4" fmla="*/ 0 w 945927"/>
                <a:gd name="connsiteY4" fmla="*/ 664083 h 1170241"/>
                <a:gd name="connsiteX5" fmla="*/ 0 w 945927"/>
                <a:gd name="connsiteY5" fmla="*/ 665607 h 1170241"/>
                <a:gd name="connsiteX6" fmla="*/ 0 w 945927"/>
                <a:gd name="connsiteY6" fmla="*/ 665607 h 1170241"/>
                <a:gd name="connsiteX7" fmla="*/ 95 w 945927"/>
                <a:gd name="connsiteY7" fmla="*/ 667036 h 1170241"/>
                <a:gd name="connsiteX8" fmla="*/ 95 w 945927"/>
                <a:gd name="connsiteY8" fmla="*/ 667036 h 1170241"/>
                <a:gd name="connsiteX9" fmla="*/ 190 w 945927"/>
                <a:gd name="connsiteY9" fmla="*/ 668465 h 1170241"/>
                <a:gd name="connsiteX10" fmla="*/ 190 w 945927"/>
                <a:gd name="connsiteY10" fmla="*/ 668465 h 1170241"/>
                <a:gd name="connsiteX11" fmla="*/ 286 w 945927"/>
                <a:gd name="connsiteY11" fmla="*/ 669893 h 1170241"/>
                <a:gd name="connsiteX12" fmla="*/ 286 w 945927"/>
                <a:gd name="connsiteY12" fmla="*/ 669893 h 1170241"/>
                <a:gd name="connsiteX13" fmla="*/ 476 w 945927"/>
                <a:gd name="connsiteY13" fmla="*/ 671322 h 1170241"/>
                <a:gd name="connsiteX14" fmla="*/ 476 w 945927"/>
                <a:gd name="connsiteY14" fmla="*/ 671322 h 1170241"/>
                <a:gd name="connsiteX15" fmla="*/ 667 w 945927"/>
                <a:gd name="connsiteY15" fmla="*/ 672751 h 1170241"/>
                <a:gd name="connsiteX16" fmla="*/ 667 w 945927"/>
                <a:gd name="connsiteY16" fmla="*/ 672751 h 1170241"/>
                <a:gd name="connsiteX17" fmla="*/ 29623 w 945927"/>
                <a:gd name="connsiteY17" fmla="*/ 714375 h 1170241"/>
                <a:gd name="connsiteX18" fmla="*/ 30194 w 945927"/>
                <a:gd name="connsiteY18" fmla="*/ 714661 h 1170241"/>
                <a:gd name="connsiteX19" fmla="*/ 30194 w 945927"/>
                <a:gd name="connsiteY19" fmla="*/ 714661 h 1170241"/>
                <a:gd name="connsiteX20" fmla="*/ 31432 w 945927"/>
                <a:gd name="connsiteY20" fmla="*/ 715328 h 1170241"/>
                <a:gd name="connsiteX21" fmla="*/ 31432 w 945927"/>
                <a:gd name="connsiteY21" fmla="*/ 715328 h 1170241"/>
                <a:gd name="connsiteX22" fmla="*/ 32671 w 945927"/>
                <a:gd name="connsiteY22" fmla="*/ 715994 h 1170241"/>
                <a:gd name="connsiteX23" fmla="*/ 32671 w 945927"/>
                <a:gd name="connsiteY23" fmla="*/ 715994 h 1170241"/>
                <a:gd name="connsiteX24" fmla="*/ 33909 w 945927"/>
                <a:gd name="connsiteY24" fmla="*/ 716566 h 1170241"/>
                <a:gd name="connsiteX25" fmla="*/ 33909 w 945927"/>
                <a:gd name="connsiteY25" fmla="*/ 716566 h 1170241"/>
                <a:gd name="connsiteX26" fmla="*/ 35147 w 945927"/>
                <a:gd name="connsiteY26" fmla="*/ 717137 h 1170241"/>
                <a:gd name="connsiteX27" fmla="*/ 35147 w 945927"/>
                <a:gd name="connsiteY27" fmla="*/ 717137 h 1170241"/>
                <a:gd name="connsiteX28" fmla="*/ 36481 w 945927"/>
                <a:gd name="connsiteY28" fmla="*/ 717709 h 1170241"/>
                <a:gd name="connsiteX29" fmla="*/ 36481 w 945927"/>
                <a:gd name="connsiteY29" fmla="*/ 717709 h 1170241"/>
                <a:gd name="connsiteX30" fmla="*/ 37814 w 945927"/>
                <a:gd name="connsiteY30" fmla="*/ 718185 h 1170241"/>
                <a:gd name="connsiteX31" fmla="*/ 37814 w 945927"/>
                <a:gd name="connsiteY31" fmla="*/ 718185 h 1170241"/>
                <a:gd name="connsiteX32" fmla="*/ 39148 w 945927"/>
                <a:gd name="connsiteY32" fmla="*/ 718661 h 1170241"/>
                <a:gd name="connsiteX33" fmla="*/ 39148 w 945927"/>
                <a:gd name="connsiteY33" fmla="*/ 718661 h 1170241"/>
                <a:gd name="connsiteX34" fmla="*/ 39433 w 945927"/>
                <a:gd name="connsiteY34" fmla="*/ 718756 h 1170241"/>
                <a:gd name="connsiteX35" fmla="*/ 41529 w 945927"/>
                <a:gd name="connsiteY35" fmla="*/ 719423 h 1170241"/>
                <a:gd name="connsiteX36" fmla="*/ 41815 w 945927"/>
                <a:gd name="connsiteY36" fmla="*/ 719519 h 1170241"/>
                <a:gd name="connsiteX37" fmla="*/ 41815 w 945927"/>
                <a:gd name="connsiteY37" fmla="*/ 719519 h 1170241"/>
                <a:gd name="connsiteX38" fmla="*/ 43148 w 945927"/>
                <a:gd name="connsiteY38" fmla="*/ 719899 h 1170241"/>
                <a:gd name="connsiteX39" fmla="*/ 43148 w 945927"/>
                <a:gd name="connsiteY39" fmla="*/ 719899 h 1170241"/>
                <a:gd name="connsiteX40" fmla="*/ 44482 w 945927"/>
                <a:gd name="connsiteY40" fmla="*/ 720280 h 1170241"/>
                <a:gd name="connsiteX41" fmla="*/ 44482 w 945927"/>
                <a:gd name="connsiteY41" fmla="*/ 720280 h 1170241"/>
                <a:gd name="connsiteX42" fmla="*/ 45910 w 945927"/>
                <a:gd name="connsiteY42" fmla="*/ 720566 h 1170241"/>
                <a:gd name="connsiteX43" fmla="*/ 45910 w 945927"/>
                <a:gd name="connsiteY43" fmla="*/ 720566 h 1170241"/>
                <a:gd name="connsiteX44" fmla="*/ 47339 w 945927"/>
                <a:gd name="connsiteY44" fmla="*/ 720852 h 1170241"/>
                <a:gd name="connsiteX45" fmla="*/ 47339 w 945927"/>
                <a:gd name="connsiteY45" fmla="*/ 720852 h 1170241"/>
                <a:gd name="connsiteX46" fmla="*/ 47625 w 945927"/>
                <a:gd name="connsiteY46" fmla="*/ 720852 h 1170241"/>
                <a:gd name="connsiteX47" fmla="*/ 50006 w 945927"/>
                <a:gd name="connsiteY47" fmla="*/ 721233 h 1170241"/>
                <a:gd name="connsiteX48" fmla="*/ 50292 w 945927"/>
                <a:gd name="connsiteY48" fmla="*/ 721233 h 1170241"/>
                <a:gd name="connsiteX49" fmla="*/ 50292 w 945927"/>
                <a:gd name="connsiteY49" fmla="*/ 721233 h 1170241"/>
                <a:gd name="connsiteX50" fmla="*/ 51721 w 945927"/>
                <a:gd name="connsiteY50" fmla="*/ 721424 h 1170241"/>
                <a:gd name="connsiteX51" fmla="*/ 51721 w 945927"/>
                <a:gd name="connsiteY51" fmla="*/ 721424 h 1170241"/>
                <a:gd name="connsiteX52" fmla="*/ 53149 w 945927"/>
                <a:gd name="connsiteY52" fmla="*/ 721518 h 1170241"/>
                <a:gd name="connsiteX53" fmla="*/ 53149 w 945927"/>
                <a:gd name="connsiteY53" fmla="*/ 721518 h 1170241"/>
                <a:gd name="connsiteX54" fmla="*/ 54578 w 945927"/>
                <a:gd name="connsiteY54" fmla="*/ 721614 h 1170241"/>
                <a:gd name="connsiteX55" fmla="*/ 54578 w 945927"/>
                <a:gd name="connsiteY55" fmla="*/ 721614 h 1170241"/>
                <a:gd name="connsiteX56" fmla="*/ 55054 w 945927"/>
                <a:gd name="connsiteY56" fmla="*/ 721614 h 1170241"/>
                <a:gd name="connsiteX57" fmla="*/ 58198 w 945927"/>
                <a:gd name="connsiteY57" fmla="*/ 721709 h 1170241"/>
                <a:gd name="connsiteX58" fmla="*/ 77629 w 945927"/>
                <a:gd name="connsiteY58" fmla="*/ 721709 h 1170241"/>
                <a:gd name="connsiteX59" fmla="*/ 84582 w 945927"/>
                <a:gd name="connsiteY59" fmla="*/ 721709 h 1170241"/>
                <a:gd name="connsiteX60" fmla="*/ 165545 w 945927"/>
                <a:gd name="connsiteY60" fmla="*/ 802672 h 1170241"/>
                <a:gd name="connsiteX61" fmla="*/ 165545 w 945927"/>
                <a:gd name="connsiteY61" fmla="*/ 812483 h 1170241"/>
                <a:gd name="connsiteX62" fmla="*/ 165545 w 945927"/>
                <a:gd name="connsiteY62" fmla="*/ 814006 h 1170241"/>
                <a:gd name="connsiteX63" fmla="*/ 165545 w 945927"/>
                <a:gd name="connsiteY63" fmla="*/ 814006 h 1170241"/>
                <a:gd name="connsiteX64" fmla="*/ 165640 w 945927"/>
                <a:gd name="connsiteY64" fmla="*/ 815435 h 1170241"/>
                <a:gd name="connsiteX65" fmla="*/ 165640 w 945927"/>
                <a:gd name="connsiteY65" fmla="*/ 815435 h 1170241"/>
                <a:gd name="connsiteX66" fmla="*/ 165735 w 945927"/>
                <a:gd name="connsiteY66" fmla="*/ 816864 h 1170241"/>
                <a:gd name="connsiteX67" fmla="*/ 165735 w 945927"/>
                <a:gd name="connsiteY67" fmla="*/ 816864 h 1170241"/>
                <a:gd name="connsiteX68" fmla="*/ 165830 w 945927"/>
                <a:gd name="connsiteY68" fmla="*/ 818293 h 1170241"/>
                <a:gd name="connsiteX69" fmla="*/ 165830 w 945927"/>
                <a:gd name="connsiteY69" fmla="*/ 818293 h 1170241"/>
                <a:gd name="connsiteX70" fmla="*/ 166021 w 945927"/>
                <a:gd name="connsiteY70" fmla="*/ 819721 h 1170241"/>
                <a:gd name="connsiteX71" fmla="*/ 166021 w 945927"/>
                <a:gd name="connsiteY71" fmla="*/ 819721 h 1170241"/>
                <a:gd name="connsiteX72" fmla="*/ 166211 w 945927"/>
                <a:gd name="connsiteY72" fmla="*/ 821150 h 1170241"/>
                <a:gd name="connsiteX73" fmla="*/ 166211 w 945927"/>
                <a:gd name="connsiteY73" fmla="*/ 821150 h 1170241"/>
                <a:gd name="connsiteX74" fmla="*/ 166497 w 945927"/>
                <a:gd name="connsiteY74" fmla="*/ 822579 h 1170241"/>
                <a:gd name="connsiteX75" fmla="*/ 166497 w 945927"/>
                <a:gd name="connsiteY75" fmla="*/ 822579 h 1170241"/>
                <a:gd name="connsiteX76" fmla="*/ 166783 w 945927"/>
                <a:gd name="connsiteY76" fmla="*/ 824008 h 1170241"/>
                <a:gd name="connsiteX77" fmla="*/ 166783 w 945927"/>
                <a:gd name="connsiteY77" fmla="*/ 824008 h 1170241"/>
                <a:gd name="connsiteX78" fmla="*/ 167068 w 945927"/>
                <a:gd name="connsiteY78" fmla="*/ 825437 h 1170241"/>
                <a:gd name="connsiteX79" fmla="*/ 167068 w 945927"/>
                <a:gd name="connsiteY79" fmla="*/ 825437 h 1170241"/>
                <a:gd name="connsiteX80" fmla="*/ 167449 w 945927"/>
                <a:gd name="connsiteY80" fmla="*/ 826865 h 1170241"/>
                <a:gd name="connsiteX81" fmla="*/ 167449 w 945927"/>
                <a:gd name="connsiteY81" fmla="*/ 826865 h 1170241"/>
                <a:gd name="connsiteX82" fmla="*/ 167830 w 945927"/>
                <a:gd name="connsiteY82" fmla="*/ 828199 h 1170241"/>
                <a:gd name="connsiteX83" fmla="*/ 167830 w 945927"/>
                <a:gd name="connsiteY83" fmla="*/ 828199 h 1170241"/>
                <a:gd name="connsiteX84" fmla="*/ 168211 w 945927"/>
                <a:gd name="connsiteY84" fmla="*/ 829532 h 1170241"/>
                <a:gd name="connsiteX85" fmla="*/ 168211 w 945927"/>
                <a:gd name="connsiteY85" fmla="*/ 829532 h 1170241"/>
                <a:gd name="connsiteX86" fmla="*/ 168687 w 945927"/>
                <a:gd name="connsiteY86" fmla="*/ 830866 h 1170241"/>
                <a:gd name="connsiteX87" fmla="*/ 168687 w 945927"/>
                <a:gd name="connsiteY87" fmla="*/ 830866 h 1170241"/>
                <a:gd name="connsiteX88" fmla="*/ 169164 w 945927"/>
                <a:gd name="connsiteY88" fmla="*/ 832199 h 1170241"/>
                <a:gd name="connsiteX89" fmla="*/ 169164 w 945927"/>
                <a:gd name="connsiteY89" fmla="*/ 832199 h 1170241"/>
                <a:gd name="connsiteX90" fmla="*/ 169640 w 945927"/>
                <a:gd name="connsiteY90" fmla="*/ 833533 h 1170241"/>
                <a:gd name="connsiteX91" fmla="*/ 169640 w 945927"/>
                <a:gd name="connsiteY91" fmla="*/ 833533 h 1170241"/>
                <a:gd name="connsiteX92" fmla="*/ 170212 w 945927"/>
                <a:gd name="connsiteY92" fmla="*/ 834866 h 1170241"/>
                <a:gd name="connsiteX93" fmla="*/ 170212 w 945927"/>
                <a:gd name="connsiteY93" fmla="*/ 834866 h 1170241"/>
                <a:gd name="connsiteX94" fmla="*/ 170783 w 945927"/>
                <a:gd name="connsiteY94" fmla="*/ 836105 h 1170241"/>
                <a:gd name="connsiteX95" fmla="*/ 170783 w 945927"/>
                <a:gd name="connsiteY95" fmla="*/ 836105 h 1170241"/>
                <a:gd name="connsiteX96" fmla="*/ 171355 w 945927"/>
                <a:gd name="connsiteY96" fmla="*/ 837343 h 1170241"/>
                <a:gd name="connsiteX97" fmla="*/ 171355 w 945927"/>
                <a:gd name="connsiteY97" fmla="*/ 837343 h 1170241"/>
                <a:gd name="connsiteX98" fmla="*/ 172021 w 945927"/>
                <a:gd name="connsiteY98" fmla="*/ 838581 h 1170241"/>
                <a:gd name="connsiteX99" fmla="*/ 172021 w 945927"/>
                <a:gd name="connsiteY99" fmla="*/ 838581 h 1170241"/>
                <a:gd name="connsiteX100" fmla="*/ 172688 w 945927"/>
                <a:gd name="connsiteY100" fmla="*/ 839819 h 1170241"/>
                <a:gd name="connsiteX101" fmla="*/ 172688 w 945927"/>
                <a:gd name="connsiteY101" fmla="*/ 839819 h 1170241"/>
                <a:gd name="connsiteX102" fmla="*/ 173355 w 945927"/>
                <a:gd name="connsiteY102" fmla="*/ 841058 h 1170241"/>
                <a:gd name="connsiteX103" fmla="*/ 173355 w 945927"/>
                <a:gd name="connsiteY103" fmla="*/ 841058 h 1170241"/>
                <a:gd name="connsiteX104" fmla="*/ 174021 w 945927"/>
                <a:gd name="connsiteY104" fmla="*/ 842296 h 1170241"/>
                <a:gd name="connsiteX105" fmla="*/ 174021 w 945927"/>
                <a:gd name="connsiteY105" fmla="*/ 842296 h 1170241"/>
                <a:gd name="connsiteX106" fmla="*/ 174784 w 945927"/>
                <a:gd name="connsiteY106" fmla="*/ 843439 h 1170241"/>
                <a:gd name="connsiteX107" fmla="*/ 174784 w 945927"/>
                <a:gd name="connsiteY107" fmla="*/ 843439 h 1170241"/>
                <a:gd name="connsiteX108" fmla="*/ 175546 w 945927"/>
                <a:gd name="connsiteY108" fmla="*/ 844582 h 1170241"/>
                <a:gd name="connsiteX109" fmla="*/ 175546 w 945927"/>
                <a:gd name="connsiteY109" fmla="*/ 844582 h 1170241"/>
                <a:gd name="connsiteX110" fmla="*/ 176308 w 945927"/>
                <a:gd name="connsiteY110" fmla="*/ 845725 h 1170241"/>
                <a:gd name="connsiteX111" fmla="*/ 176308 w 945927"/>
                <a:gd name="connsiteY111" fmla="*/ 845725 h 1170241"/>
                <a:gd name="connsiteX112" fmla="*/ 177165 w 945927"/>
                <a:gd name="connsiteY112" fmla="*/ 846868 h 1170241"/>
                <a:gd name="connsiteX113" fmla="*/ 177165 w 945927"/>
                <a:gd name="connsiteY113" fmla="*/ 846868 h 1170241"/>
                <a:gd name="connsiteX114" fmla="*/ 178022 w 945927"/>
                <a:gd name="connsiteY114" fmla="*/ 848011 h 1170241"/>
                <a:gd name="connsiteX115" fmla="*/ 178022 w 945927"/>
                <a:gd name="connsiteY115" fmla="*/ 848011 h 1170241"/>
                <a:gd name="connsiteX116" fmla="*/ 178879 w 945927"/>
                <a:gd name="connsiteY116" fmla="*/ 849058 h 1170241"/>
                <a:gd name="connsiteX117" fmla="*/ 178879 w 945927"/>
                <a:gd name="connsiteY117" fmla="*/ 849058 h 1170241"/>
                <a:gd name="connsiteX118" fmla="*/ 179737 w 945927"/>
                <a:gd name="connsiteY118" fmla="*/ 850106 h 1170241"/>
                <a:gd name="connsiteX119" fmla="*/ 179737 w 945927"/>
                <a:gd name="connsiteY119" fmla="*/ 850106 h 1170241"/>
                <a:gd name="connsiteX120" fmla="*/ 180689 w 945927"/>
                <a:gd name="connsiteY120" fmla="*/ 851154 h 1170241"/>
                <a:gd name="connsiteX121" fmla="*/ 180689 w 945927"/>
                <a:gd name="connsiteY121" fmla="*/ 851154 h 1170241"/>
                <a:gd name="connsiteX122" fmla="*/ 181642 w 945927"/>
                <a:gd name="connsiteY122" fmla="*/ 852202 h 1170241"/>
                <a:gd name="connsiteX123" fmla="*/ 181642 w 945927"/>
                <a:gd name="connsiteY123" fmla="*/ 852202 h 1170241"/>
                <a:gd name="connsiteX124" fmla="*/ 182594 w 945927"/>
                <a:gd name="connsiteY124" fmla="*/ 853154 h 1170241"/>
                <a:gd name="connsiteX125" fmla="*/ 182594 w 945927"/>
                <a:gd name="connsiteY125" fmla="*/ 853154 h 1170241"/>
                <a:gd name="connsiteX126" fmla="*/ 183546 w 945927"/>
                <a:gd name="connsiteY126" fmla="*/ 854107 h 1170241"/>
                <a:gd name="connsiteX127" fmla="*/ 183546 w 945927"/>
                <a:gd name="connsiteY127" fmla="*/ 854107 h 1170241"/>
                <a:gd name="connsiteX128" fmla="*/ 184595 w 945927"/>
                <a:gd name="connsiteY128" fmla="*/ 855059 h 1170241"/>
                <a:gd name="connsiteX129" fmla="*/ 184595 w 945927"/>
                <a:gd name="connsiteY129" fmla="*/ 855059 h 1170241"/>
                <a:gd name="connsiteX130" fmla="*/ 185642 w 945927"/>
                <a:gd name="connsiteY130" fmla="*/ 856011 h 1170241"/>
                <a:gd name="connsiteX131" fmla="*/ 185642 w 945927"/>
                <a:gd name="connsiteY131" fmla="*/ 856011 h 1170241"/>
                <a:gd name="connsiteX132" fmla="*/ 186690 w 945927"/>
                <a:gd name="connsiteY132" fmla="*/ 856869 h 1170241"/>
                <a:gd name="connsiteX133" fmla="*/ 186690 w 945927"/>
                <a:gd name="connsiteY133" fmla="*/ 856869 h 1170241"/>
                <a:gd name="connsiteX134" fmla="*/ 187737 w 945927"/>
                <a:gd name="connsiteY134" fmla="*/ 857726 h 1170241"/>
                <a:gd name="connsiteX135" fmla="*/ 187737 w 945927"/>
                <a:gd name="connsiteY135" fmla="*/ 857726 h 1170241"/>
                <a:gd name="connsiteX136" fmla="*/ 188786 w 945927"/>
                <a:gd name="connsiteY136" fmla="*/ 858583 h 1170241"/>
                <a:gd name="connsiteX137" fmla="*/ 188786 w 945927"/>
                <a:gd name="connsiteY137" fmla="*/ 858583 h 1170241"/>
                <a:gd name="connsiteX138" fmla="*/ 189929 w 945927"/>
                <a:gd name="connsiteY138" fmla="*/ 859441 h 1170241"/>
                <a:gd name="connsiteX139" fmla="*/ 189929 w 945927"/>
                <a:gd name="connsiteY139" fmla="*/ 859441 h 1170241"/>
                <a:gd name="connsiteX140" fmla="*/ 191071 w 945927"/>
                <a:gd name="connsiteY140" fmla="*/ 860202 h 1170241"/>
                <a:gd name="connsiteX141" fmla="*/ 191071 w 945927"/>
                <a:gd name="connsiteY141" fmla="*/ 860202 h 1170241"/>
                <a:gd name="connsiteX142" fmla="*/ 192214 w 945927"/>
                <a:gd name="connsiteY142" fmla="*/ 860965 h 1170241"/>
                <a:gd name="connsiteX143" fmla="*/ 192214 w 945927"/>
                <a:gd name="connsiteY143" fmla="*/ 860965 h 1170241"/>
                <a:gd name="connsiteX144" fmla="*/ 193357 w 945927"/>
                <a:gd name="connsiteY144" fmla="*/ 861727 h 1170241"/>
                <a:gd name="connsiteX145" fmla="*/ 193357 w 945927"/>
                <a:gd name="connsiteY145" fmla="*/ 861727 h 1170241"/>
                <a:gd name="connsiteX146" fmla="*/ 194596 w 945927"/>
                <a:gd name="connsiteY146" fmla="*/ 862394 h 1170241"/>
                <a:gd name="connsiteX147" fmla="*/ 194596 w 945927"/>
                <a:gd name="connsiteY147" fmla="*/ 862394 h 1170241"/>
                <a:gd name="connsiteX148" fmla="*/ 195834 w 945927"/>
                <a:gd name="connsiteY148" fmla="*/ 863060 h 1170241"/>
                <a:gd name="connsiteX149" fmla="*/ 195834 w 945927"/>
                <a:gd name="connsiteY149" fmla="*/ 863060 h 1170241"/>
                <a:gd name="connsiteX150" fmla="*/ 197072 w 945927"/>
                <a:gd name="connsiteY150" fmla="*/ 863727 h 1170241"/>
                <a:gd name="connsiteX151" fmla="*/ 197072 w 945927"/>
                <a:gd name="connsiteY151" fmla="*/ 863727 h 1170241"/>
                <a:gd name="connsiteX152" fmla="*/ 198311 w 945927"/>
                <a:gd name="connsiteY152" fmla="*/ 864393 h 1170241"/>
                <a:gd name="connsiteX153" fmla="*/ 198311 w 945927"/>
                <a:gd name="connsiteY153" fmla="*/ 864393 h 1170241"/>
                <a:gd name="connsiteX154" fmla="*/ 199549 w 945927"/>
                <a:gd name="connsiteY154" fmla="*/ 864965 h 1170241"/>
                <a:gd name="connsiteX155" fmla="*/ 199549 w 945927"/>
                <a:gd name="connsiteY155" fmla="*/ 864965 h 1170241"/>
                <a:gd name="connsiteX156" fmla="*/ 200787 w 945927"/>
                <a:gd name="connsiteY156" fmla="*/ 865536 h 1170241"/>
                <a:gd name="connsiteX157" fmla="*/ 200787 w 945927"/>
                <a:gd name="connsiteY157" fmla="*/ 865536 h 1170241"/>
                <a:gd name="connsiteX158" fmla="*/ 202120 w 945927"/>
                <a:gd name="connsiteY158" fmla="*/ 866109 h 1170241"/>
                <a:gd name="connsiteX159" fmla="*/ 202120 w 945927"/>
                <a:gd name="connsiteY159" fmla="*/ 866109 h 1170241"/>
                <a:gd name="connsiteX160" fmla="*/ 203454 w 945927"/>
                <a:gd name="connsiteY160" fmla="*/ 866585 h 1170241"/>
                <a:gd name="connsiteX161" fmla="*/ 203454 w 945927"/>
                <a:gd name="connsiteY161" fmla="*/ 866585 h 1170241"/>
                <a:gd name="connsiteX162" fmla="*/ 204788 w 945927"/>
                <a:gd name="connsiteY162" fmla="*/ 867061 h 1170241"/>
                <a:gd name="connsiteX163" fmla="*/ 204788 w 945927"/>
                <a:gd name="connsiteY163" fmla="*/ 867061 h 1170241"/>
                <a:gd name="connsiteX164" fmla="*/ 206121 w 945927"/>
                <a:gd name="connsiteY164" fmla="*/ 867537 h 1170241"/>
                <a:gd name="connsiteX165" fmla="*/ 206121 w 945927"/>
                <a:gd name="connsiteY165" fmla="*/ 867537 h 1170241"/>
                <a:gd name="connsiteX166" fmla="*/ 207454 w 945927"/>
                <a:gd name="connsiteY166" fmla="*/ 867918 h 1170241"/>
                <a:gd name="connsiteX167" fmla="*/ 207454 w 945927"/>
                <a:gd name="connsiteY167" fmla="*/ 867918 h 1170241"/>
                <a:gd name="connsiteX168" fmla="*/ 208788 w 945927"/>
                <a:gd name="connsiteY168" fmla="*/ 868299 h 1170241"/>
                <a:gd name="connsiteX169" fmla="*/ 208788 w 945927"/>
                <a:gd name="connsiteY169" fmla="*/ 868299 h 1170241"/>
                <a:gd name="connsiteX170" fmla="*/ 210121 w 945927"/>
                <a:gd name="connsiteY170" fmla="*/ 868680 h 1170241"/>
                <a:gd name="connsiteX171" fmla="*/ 210121 w 945927"/>
                <a:gd name="connsiteY171" fmla="*/ 868680 h 1170241"/>
                <a:gd name="connsiteX172" fmla="*/ 211550 w 945927"/>
                <a:gd name="connsiteY172" fmla="*/ 868966 h 1170241"/>
                <a:gd name="connsiteX173" fmla="*/ 211550 w 945927"/>
                <a:gd name="connsiteY173" fmla="*/ 868966 h 1170241"/>
                <a:gd name="connsiteX174" fmla="*/ 212979 w 945927"/>
                <a:gd name="connsiteY174" fmla="*/ 869251 h 1170241"/>
                <a:gd name="connsiteX175" fmla="*/ 212979 w 945927"/>
                <a:gd name="connsiteY175" fmla="*/ 869251 h 1170241"/>
                <a:gd name="connsiteX176" fmla="*/ 214408 w 945927"/>
                <a:gd name="connsiteY176" fmla="*/ 869537 h 1170241"/>
                <a:gd name="connsiteX177" fmla="*/ 214408 w 945927"/>
                <a:gd name="connsiteY177" fmla="*/ 869537 h 1170241"/>
                <a:gd name="connsiteX178" fmla="*/ 215836 w 945927"/>
                <a:gd name="connsiteY178" fmla="*/ 869727 h 1170241"/>
                <a:gd name="connsiteX179" fmla="*/ 215836 w 945927"/>
                <a:gd name="connsiteY179" fmla="*/ 869727 h 1170241"/>
                <a:gd name="connsiteX180" fmla="*/ 217265 w 945927"/>
                <a:gd name="connsiteY180" fmla="*/ 869918 h 1170241"/>
                <a:gd name="connsiteX181" fmla="*/ 217265 w 945927"/>
                <a:gd name="connsiteY181" fmla="*/ 869918 h 1170241"/>
                <a:gd name="connsiteX182" fmla="*/ 218694 w 945927"/>
                <a:gd name="connsiteY182" fmla="*/ 870013 h 1170241"/>
                <a:gd name="connsiteX183" fmla="*/ 218694 w 945927"/>
                <a:gd name="connsiteY183" fmla="*/ 870013 h 1170241"/>
                <a:gd name="connsiteX184" fmla="*/ 220123 w 945927"/>
                <a:gd name="connsiteY184" fmla="*/ 870109 h 1170241"/>
                <a:gd name="connsiteX185" fmla="*/ 220123 w 945927"/>
                <a:gd name="connsiteY185" fmla="*/ 870109 h 1170241"/>
                <a:gd name="connsiteX186" fmla="*/ 220599 w 945927"/>
                <a:gd name="connsiteY186" fmla="*/ 870109 h 1170241"/>
                <a:gd name="connsiteX187" fmla="*/ 223742 w 945927"/>
                <a:gd name="connsiteY187" fmla="*/ 870204 h 1170241"/>
                <a:gd name="connsiteX188" fmla="*/ 236505 w 945927"/>
                <a:gd name="connsiteY188" fmla="*/ 870204 h 1170241"/>
                <a:gd name="connsiteX189" fmla="*/ 251270 w 945927"/>
                <a:gd name="connsiteY189" fmla="*/ 870204 h 1170241"/>
                <a:gd name="connsiteX190" fmla="*/ 332232 w 945927"/>
                <a:gd name="connsiteY190" fmla="*/ 951167 h 1170241"/>
                <a:gd name="connsiteX191" fmla="*/ 332232 w 945927"/>
                <a:gd name="connsiteY191" fmla="*/ 1014508 h 1170241"/>
                <a:gd name="connsiteX192" fmla="*/ 332232 w 945927"/>
                <a:gd name="connsiteY192" fmla="*/ 1109472 h 1170241"/>
                <a:gd name="connsiteX193" fmla="*/ 332232 w 945927"/>
                <a:gd name="connsiteY193" fmla="*/ 1112615 h 1170241"/>
                <a:gd name="connsiteX194" fmla="*/ 389858 w 945927"/>
                <a:gd name="connsiteY194" fmla="*/ 1170242 h 1170241"/>
                <a:gd name="connsiteX195" fmla="*/ 564737 w 945927"/>
                <a:gd name="connsiteY195" fmla="*/ 1170242 h 1170241"/>
                <a:gd name="connsiteX196" fmla="*/ 622363 w 945927"/>
                <a:gd name="connsiteY196" fmla="*/ 1112615 h 1170241"/>
                <a:gd name="connsiteX197" fmla="*/ 622363 w 945927"/>
                <a:gd name="connsiteY197" fmla="*/ 1104519 h 1170241"/>
                <a:gd name="connsiteX198" fmla="*/ 624364 w 945927"/>
                <a:gd name="connsiteY198" fmla="*/ 600646 h 1170241"/>
                <a:gd name="connsiteX199" fmla="*/ 572928 w 945927"/>
                <a:gd name="connsiteY199" fmla="*/ 559403 h 1170241"/>
                <a:gd name="connsiteX200" fmla="*/ 529494 w 945927"/>
                <a:gd name="connsiteY200" fmla="*/ 559403 h 1170241"/>
                <a:gd name="connsiteX201" fmla="*/ 471868 w 945927"/>
                <a:gd name="connsiteY201" fmla="*/ 501777 h 1170241"/>
                <a:gd name="connsiteX202" fmla="*/ 471868 w 945927"/>
                <a:gd name="connsiteY202" fmla="*/ 481774 h 1170241"/>
                <a:gd name="connsiteX203" fmla="*/ 529494 w 945927"/>
                <a:gd name="connsiteY203" fmla="*/ 424148 h 1170241"/>
                <a:gd name="connsiteX204" fmla="*/ 888302 w 945927"/>
                <a:gd name="connsiteY204" fmla="*/ 423100 h 1170241"/>
                <a:gd name="connsiteX205" fmla="*/ 945928 w 945927"/>
                <a:gd name="connsiteY205" fmla="*/ 365474 h 1170241"/>
                <a:gd name="connsiteX206" fmla="*/ 945928 w 945927"/>
                <a:gd name="connsiteY206" fmla="*/ 208312 h 1170241"/>
                <a:gd name="connsiteX207" fmla="*/ 945452 w 945927"/>
                <a:gd name="connsiteY207" fmla="*/ 202025 h 1170241"/>
                <a:gd name="connsiteX208" fmla="*/ 945452 w 945927"/>
                <a:gd name="connsiteY208" fmla="*/ 0 h 1170241"/>
                <a:gd name="connsiteX209" fmla="*/ 857726 w 945927"/>
                <a:gd name="connsiteY209" fmla="*/ 0 h 1170241"/>
                <a:gd name="connsiteX210" fmla="*/ 802577 w 945927"/>
                <a:gd name="connsiteY210" fmla="*/ 41053 h 1170241"/>
                <a:gd name="connsiteX211" fmla="*/ 802577 w 945927"/>
                <a:gd name="connsiteY211" fmla="*/ 83058 h 1170241"/>
                <a:gd name="connsiteX212" fmla="*/ 744950 w 945927"/>
                <a:gd name="connsiteY212" fmla="*/ 140684 h 1170241"/>
                <a:gd name="connsiteX213" fmla="*/ 635508 w 945927"/>
                <a:gd name="connsiteY213" fmla="*/ 140684 h 1170241"/>
                <a:gd name="connsiteX214" fmla="*/ 635508 w 945927"/>
                <a:gd name="connsiteY214" fmla="*/ 230505 h 1170241"/>
                <a:gd name="connsiteX215" fmla="*/ 577882 w 945927"/>
                <a:gd name="connsiteY215" fmla="*/ 288131 h 1170241"/>
                <a:gd name="connsiteX216" fmla="*/ 168402 w 945927"/>
                <a:gd name="connsiteY216" fmla="*/ 288131 h 1170241"/>
                <a:gd name="connsiteX217" fmla="*/ 165640 w 945927"/>
                <a:gd name="connsiteY217" fmla="*/ 812483 h 1170241"/>
                <a:gd name="connsiteX218" fmla="*/ 165640 w 945927"/>
                <a:gd name="connsiteY218" fmla="*/ 812483 h 1170241"/>
                <a:gd name="connsiteX219" fmla="*/ 165640 w 945927"/>
                <a:gd name="connsiteY219" fmla="*/ 812483 h 1170241"/>
                <a:gd name="connsiteX220" fmla="*/ 165640 w 945927"/>
                <a:gd name="connsiteY220" fmla="*/ 812483 h 1170241"/>
                <a:gd name="connsiteX221" fmla="*/ 0 w 945927"/>
                <a:gd name="connsiteY221" fmla="*/ 664083 h 1170241"/>
                <a:gd name="connsiteX222" fmla="*/ 0 w 945927"/>
                <a:gd name="connsiteY222" fmla="*/ 664083 h 1170241"/>
                <a:gd name="connsiteX223" fmla="*/ 0 w 945927"/>
                <a:gd name="connsiteY223" fmla="*/ 664083 h 1170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945927" h="1170241">
                  <a:moveTo>
                    <a:pt x="168402" y="288131"/>
                  </a:moveTo>
                  <a:lnTo>
                    <a:pt x="168402" y="520827"/>
                  </a:lnTo>
                  <a:cubicBezTo>
                    <a:pt x="168402" y="552450"/>
                    <a:pt x="142494" y="578453"/>
                    <a:pt x="110776" y="578453"/>
                  </a:cubicBezTo>
                  <a:lnTo>
                    <a:pt x="0" y="578453"/>
                  </a:lnTo>
                  <a:lnTo>
                    <a:pt x="0" y="664083"/>
                  </a:lnTo>
                  <a:lnTo>
                    <a:pt x="0" y="665607"/>
                  </a:lnTo>
                  <a:lnTo>
                    <a:pt x="0" y="665607"/>
                  </a:lnTo>
                  <a:lnTo>
                    <a:pt x="95" y="667036"/>
                  </a:lnTo>
                  <a:lnTo>
                    <a:pt x="95" y="667036"/>
                  </a:lnTo>
                  <a:lnTo>
                    <a:pt x="190" y="668465"/>
                  </a:lnTo>
                  <a:lnTo>
                    <a:pt x="190" y="668465"/>
                  </a:lnTo>
                  <a:lnTo>
                    <a:pt x="286" y="669893"/>
                  </a:lnTo>
                  <a:lnTo>
                    <a:pt x="286" y="669893"/>
                  </a:lnTo>
                  <a:lnTo>
                    <a:pt x="476" y="671322"/>
                  </a:lnTo>
                  <a:lnTo>
                    <a:pt x="476" y="671322"/>
                  </a:lnTo>
                  <a:lnTo>
                    <a:pt x="667" y="672751"/>
                  </a:lnTo>
                  <a:lnTo>
                    <a:pt x="667" y="672751"/>
                  </a:lnTo>
                  <a:cubicBezTo>
                    <a:pt x="3619" y="690467"/>
                    <a:pt x="14001" y="705421"/>
                    <a:pt x="29623" y="714375"/>
                  </a:cubicBezTo>
                  <a:lnTo>
                    <a:pt x="30194" y="714661"/>
                  </a:lnTo>
                  <a:lnTo>
                    <a:pt x="30194" y="714661"/>
                  </a:lnTo>
                  <a:lnTo>
                    <a:pt x="31432" y="715328"/>
                  </a:lnTo>
                  <a:lnTo>
                    <a:pt x="31432" y="715328"/>
                  </a:lnTo>
                  <a:lnTo>
                    <a:pt x="32671" y="715994"/>
                  </a:lnTo>
                  <a:lnTo>
                    <a:pt x="32671" y="715994"/>
                  </a:lnTo>
                  <a:lnTo>
                    <a:pt x="33909" y="716566"/>
                  </a:lnTo>
                  <a:lnTo>
                    <a:pt x="33909" y="716566"/>
                  </a:lnTo>
                  <a:cubicBezTo>
                    <a:pt x="34290" y="716756"/>
                    <a:pt x="34766" y="716947"/>
                    <a:pt x="35147" y="717137"/>
                  </a:cubicBezTo>
                  <a:lnTo>
                    <a:pt x="35147" y="717137"/>
                  </a:lnTo>
                  <a:lnTo>
                    <a:pt x="36481" y="717709"/>
                  </a:lnTo>
                  <a:lnTo>
                    <a:pt x="36481" y="717709"/>
                  </a:lnTo>
                  <a:lnTo>
                    <a:pt x="37814" y="718185"/>
                  </a:lnTo>
                  <a:lnTo>
                    <a:pt x="37814" y="718185"/>
                  </a:lnTo>
                  <a:lnTo>
                    <a:pt x="39148" y="718661"/>
                  </a:lnTo>
                  <a:lnTo>
                    <a:pt x="39148" y="718661"/>
                  </a:lnTo>
                  <a:lnTo>
                    <a:pt x="39433" y="718756"/>
                  </a:lnTo>
                  <a:cubicBezTo>
                    <a:pt x="40195" y="718947"/>
                    <a:pt x="40767" y="719233"/>
                    <a:pt x="41529" y="719423"/>
                  </a:cubicBezTo>
                  <a:lnTo>
                    <a:pt x="41815" y="719519"/>
                  </a:lnTo>
                  <a:lnTo>
                    <a:pt x="41815" y="719519"/>
                  </a:lnTo>
                  <a:lnTo>
                    <a:pt x="43148" y="719899"/>
                  </a:lnTo>
                  <a:lnTo>
                    <a:pt x="43148" y="719899"/>
                  </a:lnTo>
                  <a:lnTo>
                    <a:pt x="44482" y="720280"/>
                  </a:lnTo>
                  <a:lnTo>
                    <a:pt x="44482" y="720280"/>
                  </a:lnTo>
                  <a:lnTo>
                    <a:pt x="45910" y="720566"/>
                  </a:lnTo>
                  <a:lnTo>
                    <a:pt x="45910" y="720566"/>
                  </a:lnTo>
                  <a:cubicBezTo>
                    <a:pt x="46387" y="720662"/>
                    <a:pt x="46863" y="720757"/>
                    <a:pt x="47339" y="720852"/>
                  </a:cubicBezTo>
                  <a:lnTo>
                    <a:pt x="47339" y="720852"/>
                  </a:lnTo>
                  <a:lnTo>
                    <a:pt x="47625" y="720852"/>
                  </a:lnTo>
                  <a:cubicBezTo>
                    <a:pt x="48482" y="720947"/>
                    <a:pt x="49149" y="721138"/>
                    <a:pt x="50006" y="721233"/>
                  </a:cubicBezTo>
                  <a:lnTo>
                    <a:pt x="50292" y="721233"/>
                  </a:lnTo>
                  <a:lnTo>
                    <a:pt x="50292" y="721233"/>
                  </a:lnTo>
                  <a:lnTo>
                    <a:pt x="51721" y="721424"/>
                  </a:lnTo>
                  <a:lnTo>
                    <a:pt x="51721" y="721424"/>
                  </a:lnTo>
                  <a:lnTo>
                    <a:pt x="53149" y="721518"/>
                  </a:lnTo>
                  <a:lnTo>
                    <a:pt x="53149" y="721518"/>
                  </a:lnTo>
                  <a:lnTo>
                    <a:pt x="54578" y="721614"/>
                  </a:lnTo>
                  <a:lnTo>
                    <a:pt x="54578" y="721614"/>
                  </a:lnTo>
                  <a:lnTo>
                    <a:pt x="55054" y="721614"/>
                  </a:lnTo>
                  <a:cubicBezTo>
                    <a:pt x="56197" y="721614"/>
                    <a:pt x="57055" y="721709"/>
                    <a:pt x="58198" y="721709"/>
                  </a:cubicBezTo>
                  <a:lnTo>
                    <a:pt x="77629" y="721709"/>
                  </a:lnTo>
                  <a:lnTo>
                    <a:pt x="84582" y="721709"/>
                  </a:lnTo>
                  <a:cubicBezTo>
                    <a:pt x="129159" y="721709"/>
                    <a:pt x="165545" y="758095"/>
                    <a:pt x="165545" y="802672"/>
                  </a:cubicBezTo>
                  <a:lnTo>
                    <a:pt x="165545" y="812483"/>
                  </a:lnTo>
                  <a:lnTo>
                    <a:pt x="165545" y="814006"/>
                  </a:lnTo>
                  <a:lnTo>
                    <a:pt x="165545" y="814006"/>
                  </a:lnTo>
                  <a:lnTo>
                    <a:pt x="165640" y="815435"/>
                  </a:lnTo>
                  <a:lnTo>
                    <a:pt x="165640" y="815435"/>
                  </a:lnTo>
                  <a:lnTo>
                    <a:pt x="165735" y="816864"/>
                  </a:lnTo>
                  <a:lnTo>
                    <a:pt x="165735" y="816864"/>
                  </a:lnTo>
                  <a:lnTo>
                    <a:pt x="165830" y="818293"/>
                  </a:lnTo>
                  <a:lnTo>
                    <a:pt x="165830" y="818293"/>
                  </a:lnTo>
                  <a:lnTo>
                    <a:pt x="166021" y="819721"/>
                  </a:lnTo>
                  <a:lnTo>
                    <a:pt x="166021" y="819721"/>
                  </a:lnTo>
                  <a:lnTo>
                    <a:pt x="166211" y="821150"/>
                  </a:lnTo>
                  <a:lnTo>
                    <a:pt x="166211" y="821150"/>
                  </a:lnTo>
                  <a:lnTo>
                    <a:pt x="166497" y="822579"/>
                  </a:lnTo>
                  <a:lnTo>
                    <a:pt x="166497" y="822579"/>
                  </a:lnTo>
                  <a:cubicBezTo>
                    <a:pt x="166592" y="823055"/>
                    <a:pt x="166688" y="823531"/>
                    <a:pt x="166783" y="824008"/>
                  </a:cubicBezTo>
                  <a:lnTo>
                    <a:pt x="166783" y="824008"/>
                  </a:lnTo>
                  <a:lnTo>
                    <a:pt x="167068" y="825437"/>
                  </a:lnTo>
                  <a:lnTo>
                    <a:pt x="167068" y="825437"/>
                  </a:lnTo>
                  <a:lnTo>
                    <a:pt x="167449" y="826865"/>
                  </a:lnTo>
                  <a:lnTo>
                    <a:pt x="167449" y="826865"/>
                  </a:lnTo>
                  <a:lnTo>
                    <a:pt x="167830" y="828199"/>
                  </a:lnTo>
                  <a:lnTo>
                    <a:pt x="167830" y="828199"/>
                  </a:lnTo>
                  <a:lnTo>
                    <a:pt x="168211" y="829532"/>
                  </a:lnTo>
                  <a:lnTo>
                    <a:pt x="168211" y="829532"/>
                  </a:lnTo>
                  <a:lnTo>
                    <a:pt x="168687" y="830866"/>
                  </a:lnTo>
                  <a:lnTo>
                    <a:pt x="168687" y="830866"/>
                  </a:lnTo>
                  <a:lnTo>
                    <a:pt x="169164" y="832199"/>
                  </a:lnTo>
                  <a:lnTo>
                    <a:pt x="169164" y="832199"/>
                  </a:lnTo>
                  <a:lnTo>
                    <a:pt x="169640" y="833533"/>
                  </a:lnTo>
                  <a:lnTo>
                    <a:pt x="169640" y="833533"/>
                  </a:lnTo>
                  <a:lnTo>
                    <a:pt x="170212" y="834866"/>
                  </a:lnTo>
                  <a:lnTo>
                    <a:pt x="170212" y="834866"/>
                  </a:lnTo>
                  <a:lnTo>
                    <a:pt x="170783" y="836105"/>
                  </a:lnTo>
                  <a:lnTo>
                    <a:pt x="170783" y="836105"/>
                  </a:lnTo>
                  <a:lnTo>
                    <a:pt x="171355" y="837343"/>
                  </a:lnTo>
                  <a:lnTo>
                    <a:pt x="171355" y="837343"/>
                  </a:lnTo>
                  <a:lnTo>
                    <a:pt x="172021" y="838581"/>
                  </a:lnTo>
                  <a:lnTo>
                    <a:pt x="172021" y="838581"/>
                  </a:lnTo>
                  <a:cubicBezTo>
                    <a:pt x="172212" y="838962"/>
                    <a:pt x="172402" y="839438"/>
                    <a:pt x="172688" y="839819"/>
                  </a:cubicBezTo>
                  <a:lnTo>
                    <a:pt x="172688" y="839819"/>
                  </a:lnTo>
                  <a:lnTo>
                    <a:pt x="173355" y="841058"/>
                  </a:lnTo>
                  <a:lnTo>
                    <a:pt x="173355" y="841058"/>
                  </a:lnTo>
                  <a:cubicBezTo>
                    <a:pt x="173545" y="841438"/>
                    <a:pt x="173831" y="841819"/>
                    <a:pt x="174021" y="842296"/>
                  </a:cubicBezTo>
                  <a:lnTo>
                    <a:pt x="174021" y="842296"/>
                  </a:lnTo>
                  <a:lnTo>
                    <a:pt x="174784" y="843439"/>
                  </a:lnTo>
                  <a:lnTo>
                    <a:pt x="174784" y="843439"/>
                  </a:lnTo>
                  <a:lnTo>
                    <a:pt x="175546" y="844582"/>
                  </a:lnTo>
                  <a:lnTo>
                    <a:pt x="175546" y="844582"/>
                  </a:lnTo>
                  <a:lnTo>
                    <a:pt x="176308" y="845725"/>
                  </a:lnTo>
                  <a:lnTo>
                    <a:pt x="176308" y="845725"/>
                  </a:lnTo>
                  <a:lnTo>
                    <a:pt x="177165" y="846868"/>
                  </a:lnTo>
                  <a:lnTo>
                    <a:pt x="177165" y="846868"/>
                  </a:lnTo>
                  <a:lnTo>
                    <a:pt x="178022" y="848011"/>
                  </a:lnTo>
                  <a:lnTo>
                    <a:pt x="178022" y="848011"/>
                  </a:lnTo>
                  <a:cubicBezTo>
                    <a:pt x="178308" y="848392"/>
                    <a:pt x="178594" y="848773"/>
                    <a:pt x="178879" y="849058"/>
                  </a:cubicBezTo>
                  <a:lnTo>
                    <a:pt x="178879" y="849058"/>
                  </a:lnTo>
                  <a:lnTo>
                    <a:pt x="179737" y="850106"/>
                  </a:lnTo>
                  <a:lnTo>
                    <a:pt x="179737" y="850106"/>
                  </a:lnTo>
                  <a:lnTo>
                    <a:pt x="180689" y="851154"/>
                  </a:lnTo>
                  <a:lnTo>
                    <a:pt x="180689" y="851154"/>
                  </a:lnTo>
                  <a:lnTo>
                    <a:pt x="181642" y="852202"/>
                  </a:lnTo>
                  <a:lnTo>
                    <a:pt x="181642" y="852202"/>
                  </a:lnTo>
                  <a:lnTo>
                    <a:pt x="182594" y="853154"/>
                  </a:lnTo>
                  <a:lnTo>
                    <a:pt x="182594" y="853154"/>
                  </a:lnTo>
                  <a:lnTo>
                    <a:pt x="183546" y="854107"/>
                  </a:lnTo>
                  <a:lnTo>
                    <a:pt x="183546" y="854107"/>
                  </a:lnTo>
                  <a:lnTo>
                    <a:pt x="184595" y="855059"/>
                  </a:lnTo>
                  <a:lnTo>
                    <a:pt x="184595" y="855059"/>
                  </a:lnTo>
                  <a:lnTo>
                    <a:pt x="185642" y="856011"/>
                  </a:lnTo>
                  <a:lnTo>
                    <a:pt x="185642" y="856011"/>
                  </a:lnTo>
                  <a:lnTo>
                    <a:pt x="186690" y="856869"/>
                  </a:lnTo>
                  <a:lnTo>
                    <a:pt x="186690" y="856869"/>
                  </a:lnTo>
                  <a:cubicBezTo>
                    <a:pt x="187071" y="857155"/>
                    <a:pt x="187452" y="857440"/>
                    <a:pt x="187737" y="857726"/>
                  </a:cubicBezTo>
                  <a:lnTo>
                    <a:pt x="187737" y="857726"/>
                  </a:lnTo>
                  <a:cubicBezTo>
                    <a:pt x="188119" y="858012"/>
                    <a:pt x="188500" y="858298"/>
                    <a:pt x="188786" y="858583"/>
                  </a:cubicBezTo>
                  <a:lnTo>
                    <a:pt x="188786" y="858583"/>
                  </a:lnTo>
                  <a:lnTo>
                    <a:pt x="189929" y="859441"/>
                  </a:lnTo>
                  <a:lnTo>
                    <a:pt x="189929" y="859441"/>
                  </a:lnTo>
                  <a:lnTo>
                    <a:pt x="191071" y="860202"/>
                  </a:lnTo>
                  <a:lnTo>
                    <a:pt x="191071" y="860202"/>
                  </a:lnTo>
                  <a:lnTo>
                    <a:pt x="192214" y="860965"/>
                  </a:lnTo>
                  <a:lnTo>
                    <a:pt x="192214" y="860965"/>
                  </a:lnTo>
                  <a:lnTo>
                    <a:pt x="193357" y="861727"/>
                  </a:lnTo>
                  <a:lnTo>
                    <a:pt x="193357" y="861727"/>
                  </a:lnTo>
                  <a:lnTo>
                    <a:pt x="194596" y="862394"/>
                  </a:lnTo>
                  <a:lnTo>
                    <a:pt x="194596" y="862394"/>
                  </a:lnTo>
                  <a:lnTo>
                    <a:pt x="195834" y="863060"/>
                  </a:lnTo>
                  <a:lnTo>
                    <a:pt x="195834" y="863060"/>
                  </a:lnTo>
                  <a:lnTo>
                    <a:pt x="197072" y="863727"/>
                  </a:lnTo>
                  <a:lnTo>
                    <a:pt x="197072" y="863727"/>
                  </a:lnTo>
                  <a:lnTo>
                    <a:pt x="198311" y="864393"/>
                  </a:lnTo>
                  <a:lnTo>
                    <a:pt x="198311" y="864393"/>
                  </a:lnTo>
                  <a:lnTo>
                    <a:pt x="199549" y="864965"/>
                  </a:lnTo>
                  <a:lnTo>
                    <a:pt x="199549" y="864965"/>
                  </a:lnTo>
                  <a:cubicBezTo>
                    <a:pt x="199930" y="865156"/>
                    <a:pt x="200406" y="865346"/>
                    <a:pt x="200787" y="865536"/>
                  </a:cubicBezTo>
                  <a:lnTo>
                    <a:pt x="200787" y="865536"/>
                  </a:lnTo>
                  <a:lnTo>
                    <a:pt x="202120" y="866109"/>
                  </a:lnTo>
                  <a:lnTo>
                    <a:pt x="202120" y="866109"/>
                  </a:lnTo>
                  <a:lnTo>
                    <a:pt x="203454" y="866585"/>
                  </a:lnTo>
                  <a:lnTo>
                    <a:pt x="203454" y="866585"/>
                  </a:lnTo>
                  <a:lnTo>
                    <a:pt x="204788" y="867061"/>
                  </a:lnTo>
                  <a:lnTo>
                    <a:pt x="204788" y="867061"/>
                  </a:lnTo>
                  <a:lnTo>
                    <a:pt x="206121" y="867537"/>
                  </a:lnTo>
                  <a:lnTo>
                    <a:pt x="206121" y="867537"/>
                  </a:lnTo>
                  <a:lnTo>
                    <a:pt x="207454" y="867918"/>
                  </a:lnTo>
                  <a:lnTo>
                    <a:pt x="207454" y="867918"/>
                  </a:lnTo>
                  <a:lnTo>
                    <a:pt x="208788" y="868299"/>
                  </a:lnTo>
                  <a:lnTo>
                    <a:pt x="208788" y="868299"/>
                  </a:lnTo>
                  <a:lnTo>
                    <a:pt x="210121" y="868680"/>
                  </a:lnTo>
                  <a:lnTo>
                    <a:pt x="210121" y="868680"/>
                  </a:lnTo>
                  <a:lnTo>
                    <a:pt x="211550" y="868966"/>
                  </a:lnTo>
                  <a:lnTo>
                    <a:pt x="211550" y="868966"/>
                  </a:lnTo>
                  <a:cubicBezTo>
                    <a:pt x="212027" y="869061"/>
                    <a:pt x="212503" y="869156"/>
                    <a:pt x="212979" y="869251"/>
                  </a:cubicBezTo>
                  <a:lnTo>
                    <a:pt x="212979" y="869251"/>
                  </a:lnTo>
                  <a:lnTo>
                    <a:pt x="214408" y="869537"/>
                  </a:lnTo>
                  <a:lnTo>
                    <a:pt x="214408" y="869537"/>
                  </a:lnTo>
                  <a:lnTo>
                    <a:pt x="215836" y="869727"/>
                  </a:lnTo>
                  <a:lnTo>
                    <a:pt x="215836" y="869727"/>
                  </a:lnTo>
                  <a:lnTo>
                    <a:pt x="217265" y="869918"/>
                  </a:lnTo>
                  <a:lnTo>
                    <a:pt x="217265" y="869918"/>
                  </a:lnTo>
                  <a:lnTo>
                    <a:pt x="218694" y="870013"/>
                  </a:lnTo>
                  <a:lnTo>
                    <a:pt x="218694" y="870013"/>
                  </a:lnTo>
                  <a:lnTo>
                    <a:pt x="220123" y="870109"/>
                  </a:lnTo>
                  <a:lnTo>
                    <a:pt x="220123" y="870109"/>
                  </a:lnTo>
                  <a:lnTo>
                    <a:pt x="220599" y="870109"/>
                  </a:lnTo>
                  <a:cubicBezTo>
                    <a:pt x="221646" y="870109"/>
                    <a:pt x="222599" y="870204"/>
                    <a:pt x="223742" y="870204"/>
                  </a:cubicBezTo>
                  <a:lnTo>
                    <a:pt x="236505" y="870204"/>
                  </a:lnTo>
                  <a:lnTo>
                    <a:pt x="251270" y="870204"/>
                  </a:lnTo>
                  <a:cubicBezTo>
                    <a:pt x="295846" y="870204"/>
                    <a:pt x="332232" y="906590"/>
                    <a:pt x="332232" y="951167"/>
                  </a:cubicBezTo>
                  <a:lnTo>
                    <a:pt x="332232" y="1014508"/>
                  </a:lnTo>
                  <a:lnTo>
                    <a:pt x="332232" y="1109472"/>
                  </a:lnTo>
                  <a:lnTo>
                    <a:pt x="332232" y="1112615"/>
                  </a:lnTo>
                  <a:cubicBezTo>
                    <a:pt x="332232" y="1144238"/>
                    <a:pt x="358140" y="1170242"/>
                    <a:pt x="389858" y="1170242"/>
                  </a:cubicBezTo>
                  <a:lnTo>
                    <a:pt x="564737" y="1170242"/>
                  </a:lnTo>
                  <a:cubicBezTo>
                    <a:pt x="596455" y="1170242"/>
                    <a:pt x="622363" y="1144333"/>
                    <a:pt x="622363" y="1112615"/>
                  </a:cubicBezTo>
                  <a:lnTo>
                    <a:pt x="622363" y="1104519"/>
                  </a:lnTo>
                  <a:lnTo>
                    <a:pt x="624364" y="600646"/>
                  </a:lnTo>
                  <a:cubicBezTo>
                    <a:pt x="623983" y="579501"/>
                    <a:pt x="613696" y="559403"/>
                    <a:pt x="572928" y="559403"/>
                  </a:cubicBezTo>
                  <a:lnTo>
                    <a:pt x="529494" y="559403"/>
                  </a:lnTo>
                  <a:cubicBezTo>
                    <a:pt x="497777" y="559403"/>
                    <a:pt x="471868" y="533495"/>
                    <a:pt x="471868" y="501777"/>
                  </a:cubicBezTo>
                  <a:lnTo>
                    <a:pt x="471868" y="481774"/>
                  </a:lnTo>
                  <a:cubicBezTo>
                    <a:pt x="471868" y="450056"/>
                    <a:pt x="497777" y="424148"/>
                    <a:pt x="529494" y="424148"/>
                  </a:cubicBezTo>
                  <a:cubicBezTo>
                    <a:pt x="649034" y="424148"/>
                    <a:pt x="767810" y="423100"/>
                    <a:pt x="888302" y="423100"/>
                  </a:cubicBezTo>
                  <a:cubicBezTo>
                    <a:pt x="920019" y="423100"/>
                    <a:pt x="945928" y="397192"/>
                    <a:pt x="945928" y="365474"/>
                  </a:cubicBezTo>
                  <a:lnTo>
                    <a:pt x="945928" y="208312"/>
                  </a:lnTo>
                  <a:cubicBezTo>
                    <a:pt x="945928" y="205359"/>
                    <a:pt x="945928" y="202501"/>
                    <a:pt x="945452" y="202025"/>
                  </a:cubicBezTo>
                  <a:lnTo>
                    <a:pt x="945452" y="0"/>
                  </a:lnTo>
                  <a:lnTo>
                    <a:pt x="857726" y="0"/>
                  </a:lnTo>
                  <a:cubicBezTo>
                    <a:pt x="831818" y="0"/>
                    <a:pt x="809720" y="17431"/>
                    <a:pt x="802577" y="41053"/>
                  </a:cubicBezTo>
                  <a:lnTo>
                    <a:pt x="802577" y="83058"/>
                  </a:lnTo>
                  <a:cubicBezTo>
                    <a:pt x="802577" y="114681"/>
                    <a:pt x="776668" y="140684"/>
                    <a:pt x="744950" y="140684"/>
                  </a:cubicBezTo>
                  <a:lnTo>
                    <a:pt x="635508" y="140684"/>
                  </a:lnTo>
                  <a:lnTo>
                    <a:pt x="635508" y="230505"/>
                  </a:lnTo>
                  <a:cubicBezTo>
                    <a:pt x="635508" y="262128"/>
                    <a:pt x="609600" y="288131"/>
                    <a:pt x="577882" y="288131"/>
                  </a:cubicBezTo>
                  <a:lnTo>
                    <a:pt x="168402" y="288131"/>
                  </a:lnTo>
                  <a:close/>
                  <a:moveTo>
                    <a:pt x="165640" y="812483"/>
                  </a:moveTo>
                  <a:lnTo>
                    <a:pt x="165640" y="812483"/>
                  </a:lnTo>
                  <a:lnTo>
                    <a:pt x="165640" y="812483"/>
                  </a:lnTo>
                  <a:lnTo>
                    <a:pt x="165640" y="812483"/>
                  </a:lnTo>
                  <a:close/>
                  <a:moveTo>
                    <a:pt x="0" y="664083"/>
                  </a:moveTo>
                  <a:lnTo>
                    <a:pt x="0" y="664083"/>
                  </a:lnTo>
                  <a:lnTo>
                    <a:pt x="0" y="664083"/>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20" name="Freeform: Shape 119">
              <a:extLst>
                <a:ext uri="{FF2B5EF4-FFF2-40B4-BE49-F238E27FC236}">
                  <a16:creationId xmlns:a16="http://schemas.microsoft.com/office/drawing/2014/main" id="{22FCF579-D6C2-4B89-B667-A6F686154050}"/>
                </a:ext>
              </a:extLst>
            </p:cNvPr>
            <p:cNvSpPr/>
            <p:nvPr/>
          </p:nvSpPr>
          <p:spPr>
            <a:xfrm>
              <a:off x="5763689" y="4552457"/>
              <a:ext cx="678846" cy="1020508"/>
            </a:xfrm>
            <a:custGeom>
              <a:avLst/>
              <a:gdLst>
                <a:gd name="connsiteX0" fmla="*/ 374332 w 678846"/>
                <a:gd name="connsiteY0" fmla="*/ 1020509 h 1020508"/>
                <a:gd name="connsiteX1" fmla="*/ 678847 w 678846"/>
                <a:gd name="connsiteY1" fmla="*/ 1020509 h 1020508"/>
                <a:gd name="connsiteX2" fmla="*/ 678847 w 678846"/>
                <a:gd name="connsiteY2" fmla="*/ 0 h 1020508"/>
                <a:gd name="connsiteX3" fmla="*/ 544925 w 678846"/>
                <a:gd name="connsiteY3" fmla="*/ 0 h 1020508"/>
                <a:gd name="connsiteX4" fmla="*/ 474916 w 678846"/>
                <a:gd name="connsiteY4" fmla="*/ 70009 h 1020508"/>
                <a:gd name="connsiteX5" fmla="*/ 474916 w 678846"/>
                <a:gd name="connsiteY5" fmla="*/ 153258 h 1020508"/>
                <a:gd name="connsiteX6" fmla="*/ 234410 w 678846"/>
                <a:gd name="connsiteY6" fmla="*/ 153258 h 1020508"/>
                <a:gd name="connsiteX7" fmla="*/ 164402 w 678846"/>
                <a:gd name="connsiteY7" fmla="*/ 223266 h 1020508"/>
                <a:gd name="connsiteX8" fmla="*/ 164402 w 678846"/>
                <a:gd name="connsiteY8" fmla="*/ 284893 h 1020508"/>
                <a:gd name="connsiteX9" fmla="*/ 70009 w 678846"/>
                <a:gd name="connsiteY9" fmla="*/ 284893 h 1020508"/>
                <a:gd name="connsiteX10" fmla="*/ 0 w 678846"/>
                <a:gd name="connsiteY10" fmla="*/ 354902 h 1020508"/>
                <a:gd name="connsiteX11" fmla="*/ 0 w 678846"/>
                <a:gd name="connsiteY11" fmla="*/ 662845 h 1020508"/>
                <a:gd name="connsiteX12" fmla="*/ 70009 w 678846"/>
                <a:gd name="connsiteY12" fmla="*/ 732854 h 1020508"/>
                <a:gd name="connsiteX13" fmla="*/ 122682 w 678846"/>
                <a:gd name="connsiteY13" fmla="*/ 732854 h 1020508"/>
                <a:gd name="connsiteX14" fmla="*/ 164402 w 678846"/>
                <a:gd name="connsiteY14" fmla="*/ 777145 h 1020508"/>
                <a:gd name="connsiteX15" fmla="*/ 164402 w 678846"/>
                <a:gd name="connsiteY15" fmla="*/ 806292 h 1020508"/>
                <a:gd name="connsiteX16" fmla="*/ 234410 w 678846"/>
                <a:gd name="connsiteY16" fmla="*/ 876300 h 1020508"/>
                <a:gd name="connsiteX17" fmla="*/ 316706 w 678846"/>
                <a:gd name="connsiteY17" fmla="*/ 876300 h 1020508"/>
                <a:gd name="connsiteX18" fmla="*/ 316706 w 678846"/>
                <a:gd name="connsiteY18" fmla="*/ 962692 h 1020508"/>
                <a:gd name="connsiteX19" fmla="*/ 374332 w 678846"/>
                <a:gd name="connsiteY19" fmla="*/ 1020509 h 1020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8846" h="1020508">
                  <a:moveTo>
                    <a:pt x="374332" y="1020509"/>
                  </a:moveTo>
                  <a:lnTo>
                    <a:pt x="678847" y="1020509"/>
                  </a:lnTo>
                  <a:lnTo>
                    <a:pt x="678847" y="0"/>
                  </a:lnTo>
                  <a:lnTo>
                    <a:pt x="544925" y="0"/>
                  </a:lnTo>
                  <a:cubicBezTo>
                    <a:pt x="506444" y="0"/>
                    <a:pt x="474916" y="31528"/>
                    <a:pt x="474916" y="70009"/>
                  </a:cubicBezTo>
                  <a:lnTo>
                    <a:pt x="474916" y="153258"/>
                  </a:lnTo>
                  <a:lnTo>
                    <a:pt x="234410" y="153258"/>
                  </a:lnTo>
                  <a:cubicBezTo>
                    <a:pt x="195929" y="153258"/>
                    <a:pt x="164402" y="184785"/>
                    <a:pt x="164402" y="223266"/>
                  </a:cubicBezTo>
                  <a:lnTo>
                    <a:pt x="164402" y="284893"/>
                  </a:lnTo>
                  <a:lnTo>
                    <a:pt x="70009" y="284893"/>
                  </a:lnTo>
                  <a:cubicBezTo>
                    <a:pt x="31528" y="284893"/>
                    <a:pt x="0" y="316421"/>
                    <a:pt x="0" y="354902"/>
                  </a:cubicBezTo>
                  <a:lnTo>
                    <a:pt x="0" y="662845"/>
                  </a:lnTo>
                  <a:cubicBezTo>
                    <a:pt x="0" y="701326"/>
                    <a:pt x="31528" y="732854"/>
                    <a:pt x="70009" y="732854"/>
                  </a:cubicBezTo>
                  <a:lnTo>
                    <a:pt x="122682" y="732854"/>
                  </a:lnTo>
                  <a:cubicBezTo>
                    <a:pt x="149066" y="734854"/>
                    <a:pt x="165545" y="754475"/>
                    <a:pt x="164402" y="777145"/>
                  </a:cubicBezTo>
                  <a:lnTo>
                    <a:pt x="164402" y="806292"/>
                  </a:lnTo>
                  <a:cubicBezTo>
                    <a:pt x="164402" y="844772"/>
                    <a:pt x="195929" y="876300"/>
                    <a:pt x="234410" y="876300"/>
                  </a:cubicBezTo>
                  <a:lnTo>
                    <a:pt x="316706" y="876300"/>
                  </a:lnTo>
                  <a:lnTo>
                    <a:pt x="316706" y="962692"/>
                  </a:lnTo>
                  <a:cubicBezTo>
                    <a:pt x="316706" y="994600"/>
                    <a:pt x="342615" y="1020509"/>
                    <a:pt x="374332" y="102050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21" name="Freeform: Shape 120">
              <a:extLst>
                <a:ext uri="{FF2B5EF4-FFF2-40B4-BE49-F238E27FC236}">
                  <a16:creationId xmlns:a16="http://schemas.microsoft.com/office/drawing/2014/main" id="{1B5151B4-4356-44BA-84DE-1C04644E6D16}"/>
                </a:ext>
              </a:extLst>
            </p:cNvPr>
            <p:cNvSpPr/>
            <p:nvPr/>
          </p:nvSpPr>
          <p:spPr>
            <a:xfrm>
              <a:off x="5282867" y="4139834"/>
              <a:ext cx="864774" cy="563117"/>
            </a:xfrm>
            <a:custGeom>
              <a:avLst/>
              <a:gdLst>
                <a:gd name="connsiteX0" fmla="*/ 0 w 864774"/>
                <a:gd name="connsiteY0" fmla="*/ 208979 h 563117"/>
                <a:gd name="connsiteX1" fmla="*/ 0 w 864774"/>
                <a:gd name="connsiteY1" fmla="*/ 563118 h 563117"/>
                <a:gd name="connsiteX2" fmla="*/ 101251 w 864774"/>
                <a:gd name="connsiteY2" fmla="*/ 563118 h 563117"/>
                <a:gd name="connsiteX3" fmla="*/ 158877 w 864774"/>
                <a:gd name="connsiteY3" fmla="*/ 505492 h 563117"/>
                <a:gd name="connsiteX4" fmla="*/ 158877 w 864774"/>
                <a:gd name="connsiteY4" fmla="*/ 415671 h 563117"/>
                <a:gd name="connsiteX5" fmla="*/ 268319 w 864774"/>
                <a:gd name="connsiteY5" fmla="*/ 415671 h 563117"/>
                <a:gd name="connsiteX6" fmla="*/ 325945 w 864774"/>
                <a:gd name="connsiteY6" fmla="*/ 358045 h 563117"/>
                <a:gd name="connsiteX7" fmla="*/ 325945 w 864774"/>
                <a:gd name="connsiteY7" fmla="*/ 321564 h 563117"/>
                <a:gd name="connsiteX8" fmla="*/ 381095 w 864774"/>
                <a:gd name="connsiteY8" fmla="*/ 280511 h 563117"/>
                <a:gd name="connsiteX9" fmla="*/ 864775 w 864774"/>
                <a:gd name="connsiteY9" fmla="*/ 280416 h 563117"/>
                <a:gd name="connsiteX10" fmla="*/ 864775 w 864774"/>
                <a:gd name="connsiteY10" fmla="*/ 278416 h 563117"/>
                <a:gd name="connsiteX11" fmla="*/ 856679 w 864774"/>
                <a:gd name="connsiteY11" fmla="*/ 278416 h 563117"/>
                <a:gd name="connsiteX12" fmla="*/ 799052 w 864774"/>
                <a:gd name="connsiteY12" fmla="*/ 220789 h 563117"/>
                <a:gd name="connsiteX13" fmla="*/ 799052 w 864774"/>
                <a:gd name="connsiteY13" fmla="*/ 1143 h 563117"/>
                <a:gd name="connsiteX14" fmla="*/ 786575 w 864774"/>
                <a:gd name="connsiteY14" fmla="*/ 0 h 563117"/>
                <a:gd name="connsiteX15" fmla="*/ 453580 w 864774"/>
                <a:gd name="connsiteY15" fmla="*/ 0 h 563117"/>
                <a:gd name="connsiteX16" fmla="*/ 404050 w 864774"/>
                <a:gd name="connsiteY16" fmla="*/ 0 h 563117"/>
                <a:gd name="connsiteX17" fmla="*/ 288703 w 864774"/>
                <a:gd name="connsiteY17" fmla="*/ 0 h 563117"/>
                <a:gd name="connsiteX18" fmla="*/ 218884 w 864774"/>
                <a:gd name="connsiteY18" fmla="*/ 64389 h 563117"/>
                <a:gd name="connsiteX19" fmla="*/ 138113 w 864774"/>
                <a:gd name="connsiteY19" fmla="*/ 138874 h 563117"/>
                <a:gd name="connsiteX20" fmla="*/ 69913 w 864774"/>
                <a:gd name="connsiteY20" fmla="*/ 138874 h 563117"/>
                <a:gd name="connsiteX21" fmla="*/ 0 w 864774"/>
                <a:gd name="connsiteY21" fmla="*/ 208979 h 56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4774" h="563117">
                  <a:moveTo>
                    <a:pt x="0" y="208979"/>
                  </a:moveTo>
                  <a:lnTo>
                    <a:pt x="0" y="563118"/>
                  </a:lnTo>
                  <a:lnTo>
                    <a:pt x="101251" y="563118"/>
                  </a:lnTo>
                  <a:cubicBezTo>
                    <a:pt x="132969" y="563118"/>
                    <a:pt x="158877" y="537210"/>
                    <a:pt x="158877" y="505492"/>
                  </a:cubicBezTo>
                  <a:lnTo>
                    <a:pt x="158877" y="415671"/>
                  </a:lnTo>
                  <a:lnTo>
                    <a:pt x="268319" y="415671"/>
                  </a:lnTo>
                  <a:cubicBezTo>
                    <a:pt x="300038" y="415671"/>
                    <a:pt x="325945" y="389763"/>
                    <a:pt x="325945" y="358045"/>
                  </a:cubicBezTo>
                  <a:lnTo>
                    <a:pt x="325945" y="321564"/>
                  </a:lnTo>
                  <a:cubicBezTo>
                    <a:pt x="333089" y="297847"/>
                    <a:pt x="355187" y="280511"/>
                    <a:pt x="381095" y="280511"/>
                  </a:cubicBezTo>
                  <a:cubicBezTo>
                    <a:pt x="546449" y="280511"/>
                    <a:pt x="390430" y="280416"/>
                    <a:pt x="864775" y="280416"/>
                  </a:cubicBezTo>
                  <a:lnTo>
                    <a:pt x="864775" y="278416"/>
                  </a:lnTo>
                  <a:lnTo>
                    <a:pt x="856679" y="278416"/>
                  </a:lnTo>
                  <a:cubicBezTo>
                    <a:pt x="825055" y="278416"/>
                    <a:pt x="799052" y="252508"/>
                    <a:pt x="799052" y="220789"/>
                  </a:cubicBezTo>
                  <a:lnTo>
                    <a:pt x="799052" y="1143"/>
                  </a:lnTo>
                  <a:cubicBezTo>
                    <a:pt x="795052" y="381"/>
                    <a:pt x="790860" y="0"/>
                    <a:pt x="786575" y="0"/>
                  </a:cubicBezTo>
                  <a:lnTo>
                    <a:pt x="453580" y="0"/>
                  </a:lnTo>
                  <a:lnTo>
                    <a:pt x="404050" y="0"/>
                  </a:lnTo>
                  <a:lnTo>
                    <a:pt x="288703" y="0"/>
                  </a:lnTo>
                  <a:cubicBezTo>
                    <a:pt x="252126" y="0"/>
                    <a:pt x="221742" y="28480"/>
                    <a:pt x="218884" y="64389"/>
                  </a:cubicBezTo>
                  <a:cubicBezTo>
                    <a:pt x="215551" y="106585"/>
                    <a:pt x="180499" y="138874"/>
                    <a:pt x="138113" y="138874"/>
                  </a:cubicBezTo>
                  <a:lnTo>
                    <a:pt x="69913" y="138874"/>
                  </a:lnTo>
                  <a:cubicBezTo>
                    <a:pt x="31528" y="138970"/>
                    <a:pt x="0" y="170497"/>
                    <a:pt x="0" y="20897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22" name="Freeform: Shape 121">
              <a:extLst>
                <a:ext uri="{FF2B5EF4-FFF2-40B4-BE49-F238E27FC236}">
                  <a16:creationId xmlns:a16="http://schemas.microsoft.com/office/drawing/2014/main" id="{2196E3EC-3083-4807-880D-1039E101BB0A}"/>
                </a:ext>
              </a:extLst>
            </p:cNvPr>
            <p:cNvSpPr/>
            <p:nvPr/>
          </p:nvSpPr>
          <p:spPr>
            <a:xfrm>
              <a:off x="4017848" y="3391550"/>
              <a:ext cx="1149861" cy="437387"/>
            </a:xfrm>
            <a:custGeom>
              <a:avLst/>
              <a:gdLst>
                <a:gd name="connsiteX0" fmla="*/ 16292 w 1149861"/>
                <a:gd name="connsiteY0" fmla="*/ 437388 h 437387"/>
                <a:gd name="connsiteX1" fmla="*/ 927834 w 1149861"/>
                <a:gd name="connsiteY1" fmla="*/ 437388 h 437387"/>
                <a:gd name="connsiteX2" fmla="*/ 985460 w 1149861"/>
                <a:gd name="connsiteY2" fmla="*/ 379762 h 437387"/>
                <a:gd name="connsiteX3" fmla="*/ 985460 w 1149861"/>
                <a:gd name="connsiteY3" fmla="*/ 216217 h 437387"/>
                <a:gd name="connsiteX4" fmla="*/ 1066423 w 1149861"/>
                <a:gd name="connsiteY4" fmla="*/ 135255 h 437387"/>
                <a:gd name="connsiteX5" fmla="*/ 1092236 w 1149861"/>
                <a:gd name="connsiteY5" fmla="*/ 135255 h 437387"/>
                <a:gd name="connsiteX6" fmla="*/ 1149862 w 1149861"/>
                <a:gd name="connsiteY6" fmla="*/ 77629 h 437387"/>
                <a:gd name="connsiteX7" fmla="*/ 1149862 w 1149861"/>
                <a:gd name="connsiteY7" fmla="*/ 57626 h 437387"/>
                <a:gd name="connsiteX8" fmla="*/ 1092236 w 1149861"/>
                <a:gd name="connsiteY8" fmla="*/ 0 h 437387"/>
                <a:gd name="connsiteX9" fmla="*/ 927834 w 1149861"/>
                <a:gd name="connsiteY9" fmla="*/ 0 h 437387"/>
                <a:gd name="connsiteX10" fmla="*/ 698662 w 1149861"/>
                <a:gd name="connsiteY10" fmla="*/ 0 h 437387"/>
                <a:gd name="connsiteX11" fmla="*/ 641322 w 1149861"/>
                <a:gd name="connsiteY11" fmla="*/ 71056 h 437387"/>
                <a:gd name="connsiteX12" fmla="*/ 571504 w 1149861"/>
                <a:gd name="connsiteY12" fmla="*/ 135446 h 437387"/>
                <a:gd name="connsiteX13" fmla="*/ 456156 w 1149861"/>
                <a:gd name="connsiteY13" fmla="*/ 135446 h 437387"/>
                <a:gd name="connsiteX14" fmla="*/ 406626 w 1149861"/>
                <a:gd name="connsiteY14" fmla="*/ 135446 h 437387"/>
                <a:gd name="connsiteX15" fmla="*/ 165262 w 1149861"/>
                <a:gd name="connsiteY15" fmla="*/ 135446 h 437387"/>
                <a:gd name="connsiteX16" fmla="*/ 165262 w 1149861"/>
                <a:gd name="connsiteY16" fmla="*/ 232696 h 437387"/>
                <a:gd name="connsiteX17" fmla="*/ 107636 w 1149861"/>
                <a:gd name="connsiteY17" fmla="*/ 290322 h 437387"/>
                <a:gd name="connsiteX18" fmla="*/ 72775 w 1149861"/>
                <a:gd name="connsiteY18" fmla="*/ 290322 h 437387"/>
                <a:gd name="connsiteX19" fmla="*/ 99 w 1149861"/>
                <a:gd name="connsiteY19" fmla="*/ 366998 h 437387"/>
                <a:gd name="connsiteX20" fmla="*/ 99 w 1149861"/>
                <a:gd name="connsiteY20" fmla="*/ 435007 h 437387"/>
                <a:gd name="connsiteX21" fmla="*/ 16292 w 1149861"/>
                <a:gd name="connsiteY21" fmla="*/ 437388 h 4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49861" h="437387">
                  <a:moveTo>
                    <a:pt x="16292" y="437388"/>
                  </a:moveTo>
                  <a:lnTo>
                    <a:pt x="927834" y="437388"/>
                  </a:lnTo>
                  <a:cubicBezTo>
                    <a:pt x="959552" y="437388"/>
                    <a:pt x="985460" y="411480"/>
                    <a:pt x="985460" y="379762"/>
                  </a:cubicBezTo>
                  <a:lnTo>
                    <a:pt x="985460" y="216217"/>
                  </a:lnTo>
                  <a:cubicBezTo>
                    <a:pt x="985460" y="171640"/>
                    <a:pt x="1021846" y="135255"/>
                    <a:pt x="1066423" y="135255"/>
                  </a:cubicBezTo>
                  <a:lnTo>
                    <a:pt x="1092236" y="135255"/>
                  </a:lnTo>
                  <a:cubicBezTo>
                    <a:pt x="1123954" y="135255"/>
                    <a:pt x="1149862" y="109347"/>
                    <a:pt x="1149862" y="77629"/>
                  </a:cubicBezTo>
                  <a:lnTo>
                    <a:pt x="1149862" y="57626"/>
                  </a:lnTo>
                  <a:cubicBezTo>
                    <a:pt x="1149862" y="25908"/>
                    <a:pt x="1123954" y="0"/>
                    <a:pt x="1092236" y="0"/>
                  </a:cubicBezTo>
                  <a:lnTo>
                    <a:pt x="927834" y="0"/>
                  </a:lnTo>
                  <a:lnTo>
                    <a:pt x="698662" y="0"/>
                  </a:lnTo>
                  <a:cubicBezTo>
                    <a:pt x="667420" y="9334"/>
                    <a:pt x="644084" y="36957"/>
                    <a:pt x="641322" y="71056"/>
                  </a:cubicBezTo>
                  <a:cubicBezTo>
                    <a:pt x="638465" y="106966"/>
                    <a:pt x="608175" y="135446"/>
                    <a:pt x="571504" y="135446"/>
                  </a:cubicBezTo>
                  <a:lnTo>
                    <a:pt x="456156" y="135446"/>
                  </a:lnTo>
                  <a:lnTo>
                    <a:pt x="406626" y="135446"/>
                  </a:lnTo>
                  <a:lnTo>
                    <a:pt x="165262" y="135446"/>
                  </a:lnTo>
                  <a:lnTo>
                    <a:pt x="165262" y="232696"/>
                  </a:lnTo>
                  <a:cubicBezTo>
                    <a:pt x="165262" y="264414"/>
                    <a:pt x="139354" y="290322"/>
                    <a:pt x="107636" y="290322"/>
                  </a:cubicBezTo>
                  <a:lnTo>
                    <a:pt x="72775" y="290322"/>
                  </a:lnTo>
                  <a:cubicBezTo>
                    <a:pt x="16482" y="290322"/>
                    <a:pt x="-1520" y="345376"/>
                    <a:pt x="99" y="366998"/>
                  </a:cubicBezTo>
                  <a:lnTo>
                    <a:pt x="99" y="435007"/>
                  </a:lnTo>
                  <a:cubicBezTo>
                    <a:pt x="5338" y="436626"/>
                    <a:pt x="10672" y="437388"/>
                    <a:pt x="16292" y="437388"/>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23" name="Freeform: Shape 122">
              <a:extLst>
                <a:ext uri="{FF2B5EF4-FFF2-40B4-BE49-F238E27FC236}">
                  <a16:creationId xmlns:a16="http://schemas.microsoft.com/office/drawing/2014/main" id="{C6862D5D-B4FD-494B-8DB6-CCE1245FA70B}"/>
                </a:ext>
              </a:extLst>
            </p:cNvPr>
            <p:cNvSpPr/>
            <p:nvPr/>
          </p:nvSpPr>
          <p:spPr>
            <a:xfrm>
              <a:off x="4975781" y="4445015"/>
              <a:ext cx="307848" cy="259556"/>
            </a:xfrm>
            <a:custGeom>
              <a:avLst/>
              <a:gdLst>
                <a:gd name="connsiteX0" fmla="*/ 115157 w 307848"/>
                <a:gd name="connsiteY0" fmla="*/ 0 h 259556"/>
                <a:gd name="connsiteX1" fmla="*/ 0 w 307848"/>
                <a:gd name="connsiteY1" fmla="*/ 114300 h 259556"/>
                <a:gd name="connsiteX2" fmla="*/ 0 w 307848"/>
                <a:gd name="connsiteY2" fmla="*/ 259556 h 259556"/>
                <a:gd name="connsiteX3" fmla="*/ 115157 w 307848"/>
                <a:gd name="connsiteY3" fmla="*/ 259556 h 259556"/>
                <a:gd name="connsiteX4" fmla="*/ 154305 w 307848"/>
                <a:gd name="connsiteY4" fmla="*/ 259556 h 259556"/>
                <a:gd name="connsiteX5" fmla="*/ 307848 w 307848"/>
                <a:gd name="connsiteY5" fmla="*/ 259556 h 259556"/>
                <a:gd name="connsiteX6" fmla="*/ 307848 w 307848"/>
                <a:gd name="connsiteY6" fmla="*/ 0 h 259556"/>
                <a:gd name="connsiteX7" fmla="*/ 115157 w 307848"/>
                <a:gd name="connsiteY7" fmla="*/ 0 h 25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848" h="259556">
                  <a:moveTo>
                    <a:pt x="115157" y="0"/>
                  </a:moveTo>
                  <a:cubicBezTo>
                    <a:pt x="51816" y="0"/>
                    <a:pt x="0" y="51435"/>
                    <a:pt x="0" y="114300"/>
                  </a:cubicBezTo>
                  <a:lnTo>
                    <a:pt x="0" y="259556"/>
                  </a:lnTo>
                  <a:lnTo>
                    <a:pt x="115157" y="259556"/>
                  </a:lnTo>
                  <a:lnTo>
                    <a:pt x="154305" y="259556"/>
                  </a:lnTo>
                  <a:lnTo>
                    <a:pt x="307848" y="259556"/>
                  </a:lnTo>
                  <a:lnTo>
                    <a:pt x="307848" y="0"/>
                  </a:lnTo>
                  <a:lnTo>
                    <a:pt x="115157"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24" name="Freeform: Shape 123">
              <a:extLst>
                <a:ext uri="{FF2B5EF4-FFF2-40B4-BE49-F238E27FC236}">
                  <a16:creationId xmlns:a16="http://schemas.microsoft.com/office/drawing/2014/main" id="{BDEF878B-2EEC-44BB-BEB4-3E3EBB217931}"/>
                </a:ext>
              </a:extLst>
            </p:cNvPr>
            <p:cNvSpPr/>
            <p:nvPr/>
          </p:nvSpPr>
          <p:spPr>
            <a:xfrm>
              <a:off x="4180063" y="3970003"/>
              <a:ext cx="470820" cy="419195"/>
            </a:xfrm>
            <a:custGeom>
              <a:avLst/>
              <a:gdLst>
                <a:gd name="connsiteX0" fmla="*/ 57626 w 470820"/>
                <a:gd name="connsiteY0" fmla="*/ 571 h 419195"/>
                <a:gd name="connsiteX1" fmla="*/ 0 w 470820"/>
                <a:gd name="connsiteY1" fmla="*/ 58198 h 419195"/>
                <a:gd name="connsiteX2" fmla="*/ 0 w 470820"/>
                <a:gd name="connsiteY2" fmla="*/ 78200 h 419195"/>
                <a:gd name="connsiteX3" fmla="*/ 57626 w 470820"/>
                <a:gd name="connsiteY3" fmla="*/ 135827 h 419195"/>
                <a:gd name="connsiteX4" fmla="*/ 72771 w 470820"/>
                <a:gd name="connsiteY4" fmla="*/ 135827 h 419195"/>
                <a:gd name="connsiteX5" fmla="*/ 155353 w 470820"/>
                <a:gd name="connsiteY5" fmla="*/ 205073 h 419195"/>
                <a:gd name="connsiteX6" fmla="*/ 157448 w 470820"/>
                <a:gd name="connsiteY6" fmla="*/ 319945 h 419195"/>
                <a:gd name="connsiteX7" fmla="*/ 158877 w 470820"/>
                <a:gd name="connsiteY7" fmla="*/ 325946 h 419195"/>
                <a:gd name="connsiteX8" fmla="*/ 158877 w 470820"/>
                <a:gd name="connsiteY8" fmla="*/ 347853 h 419195"/>
                <a:gd name="connsiteX9" fmla="*/ 230219 w 470820"/>
                <a:gd name="connsiteY9" fmla="*/ 419195 h 419195"/>
                <a:gd name="connsiteX10" fmla="*/ 293275 w 470820"/>
                <a:gd name="connsiteY10" fmla="*/ 419195 h 419195"/>
                <a:gd name="connsiteX11" fmla="*/ 293275 w 470820"/>
                <a:gd name="connsiteY11" fmla="*/ 418338 h 419195"/>
                <a:gd name="connsiteX12" fmla="*/ 382714 w 470820"/>
                <a:gd name="connsiteY12" fmla="*/ 418338 h 419195"/>
                <a:gd name="connsiteX13" fmla="*/ 470821 w 470820"/>
                <a:gd name="connsiteY13" fmla="*/ 330232 h 419195"/>
                <a:gd name="connsiteX14" fmla="*/ 470821 w 470820"/>
                <a:gd name="connsiteY14" fmla="*/ 0 h 419195"/>
                <a:gd name="connsiteX15" fmla="*/ 57626 w 470820"/>
                <a:gd name="connsiteY15" fmla="*/ 571 h 41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0820" h="419195">
                  <a:moveTo>
                    <a:pt x="57626" y="571"/>
                  </a:moveTo>
                  <a:cubicBezTo>
                    <a:pt x="25908" y="571"/>
                    <a:pt x="0" y="26479"/>
                    <a:pt x="0" y="58198"/>
                  </a:cubicBezTo>
                  <a:lnTo>
                    <a:pt x="0" y="78200"/>
                  </a:lnTo>
                  <a:cubicBezTo>
                    <a:pt x="0" y="109919"/>
                    <a:pt x="25908" y="135827"/>
                    <a:pt x="57626" y="135827"/>
                  </a:cubicBezTo>
                  <a:lnTo>
                    <a:pt x="72771" y="135827"/>
                  </a:lnTo>
                  <a:cubicBezTo>
                    <a:pt x="88011" y="136303"/>
                    <a:pt x="154114" y="133160"/>
                    <a:pt x="155353" y="205073"/>
                  </a:cubicBezTo>
                  <a:lnTo>
                    <a:pt x="157448" y="319945"/>
                  </a:lnTo>
                  <a:cubicBezTo>
                    <a:pt x="158020" y="321850"/>
                    <a:pt x="158496" y="323850"/>
                    <a:pt x="158877" y="325946"/>
                  </a:cubicBezTo>
                  <a:lnTo>
                    <a:pt x="158877" y="347853"/>
                  </a:lnTo>
                  <a:cubicBezTo>
                    <a:pt x="158877" y="387096"/>
                    <a:pt x="190976" y="419195"/>
                    <a:pt x="230219" y="419195"/>
                  </a:cubicBezTo>
                  <a:lnTo>
                    <a:pt x="293275" y="419195"/>
                  </a:lnTo>
                  <a:lnTo>
                    <a:pt x="293275" y="418338"/>
                  </a:lnTo>
                  <a:lnTo>
                    <a:pt x="382714" y="418338"/>
                  </a:lnTo>
                  <a:cubicBezTo>
                    <a:pt x="431197" y="418338"/>
                    <a:pt x="470821" y="378714"/>
                    <a:pt x="470821" y="330232"/>
                  </a:cubicBezTo>
                  <a:lnTo>
                    <a:pt x="470821" y="0"/>
                  </a:lnTo>
                  <a:lnTo>
                    <a:pt x="57626" y="571"/>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25" name="Freeform: Shape 124">
              <a:extLst>
                <a:ext uri="{FF2B5EF4-FFF2-40B4-BE49-F238E27FC236}">
                  <a16:creationId xmlns:a16="http://schemas.microsoft.com/office/drawing/2014/main" id="{015E406B-7ED7-4D8F-8453-9FB621679AD5}"/>
                </a:ext>
              </a:extLst>
            </p:cNvPr>
            <p:cNvSpPr/>
            <p:nvPr/>
          </p:nvSpPr>
          <p:spPr>
            <a:xfrm>
              <a:off x="5003118" y="3381263"/>
              <a:ext cx="1432559" cy="951547"/>
            </a:xfrm>
            <a:custGeom>
              <a:avLst/>
              <a:gdLst>
                <a:gd name="connsiteX0" fmla="*/ 1331309 w 1432559"/>
                <a:gd name="connsiteY0" fmla="*/ 122872 h 951547"/>
                <a:gd name="connsiteX1" fmla="*/ 1217009 w 1432559"/>
                <a:gd name="connsiteY1" fmla="*/ 8572 h 951547"/>
                <a:gd name="connsiteX2" fmla="*/ 1217009 w 1432559"/>
                <a:gd name="connsiteY2" fmla="*/ 0 h 951547"/>
                <a:gd name="connsiteX3" fmla="*/ 508921 w 1432559"/>
                <a:gd name="connsiteY3" fmla="*/ 0 h 951547"/>
                <a:gd name="connsiteX4" fmla="*/ 459391 w 1432559"/>
                <a:gd name="connsiteY4" fmla="*/ 0 h 951547"/>
                <a:gd name="connsiteX5" fmla="*/ 344043 w 1432559"/>
                <a:gd name="connsiteY5" fmla="*/ 0 h 951547"/>
                <a:gd name="connsiteX6" fmla="*/ 274225 w 1432559"/>
                <a:gd name="connsiteY6" fmla="*/ 64389 h 951547"/>
                <a:gd name="connsiteX7" fmla="*/ 193453 w 1432559"/>
                <a:gd name="connsiteY7" fmla="*/ 138875 h 951547"/>
                <a:gd name="connsiteX8" fmla="*/ 70009 w 1432559"/>
                <a:gd name="connsiteY8" fmla="*/ 138875 h 951547"/>
                <a:gd name="connsiteX9" fmla="*/ 0 w 1432559"/>
                <a:gd name="connsiteY9" fmla="*/ 208883 h 951547"/>
                <a:gd name="connsiteX10" fmla="*/ 0 w 1432559"/>
                <a:gd name="connsiteY10" fmla="*/ 447008 h 951547"/>
                <a:gd name="connsiteX11" fmla="*/ 222980 w 1432559"/>
                <a:gd name="connsiteY11" fmla="*/ 447008 h 951547"/>
                <a:gd name="connsiteX12" fmla="*/ 281749 w 1432559"/>
                <a:gd name="connsiteY12" fmla="*/ 505778 h 951547"/>
                <a:gd name="connsiteX13" fmla="*/ 281749 w 1432559"/>
                <a:gd name="connsiteY13" fmla="*/ 542258 h 951547"/>
                <a:gd name="connsiteX14" fmla="*/ 281749 w 1432559"/>
                <a:gd name="connsiteY14" fmla="*/ 951547 h 951547"/>
                <a:gd name="connsiteX15" fmla="*/ 349853 w 1432559"/>
                <a:gd name="connsiteY15" fmla="*/ 897446 h 951547"/>
                <a:gd name="connsiteX16" fmla="*/ 418052 w 1432559"/>
                <a:gd name="connsiteY16" fmla="*/ 897446 h 951547"/>
                <a:gd name="connsiteX17" fmla="*/ 498824 w 1432559"/>
                <a:gd name="connsiteY17" fmla="*/ 822960 h 951547"/>
                <a:gd name="connsiteX18" fmla="*/ 568643 w 1432559"/>
                <a:gd name="connsiteY18" fmla="*/ 758571 h 951547"/>
                <a:gd name="connsiteX19" fmla="*/ 683990 w 1432559"/>
                <a:gd name="connsiteY19" fmla="*/ 758571 h 951547"/>
                <a:gd name="connsiteX20" fmla="*/ 733520 w 1432559"/>
                <a:gd name="connsiteY20" fmla="*/ 758571 h 951547"/>
                <a:gd name="connsiteX21" fmla="*/ 1066514 w 1432559"/>
                <a:gd name="connsiteY21" fmla="*/ 758571 h 951547"/>
                <a:gd name="connsiteX22" fmla="*/ 1078992 w 1432559"/>
                <a:gd name="connsiteY22" fmla="*/ 759714 h 951547"/>
                <a:gd name="connsiteX23" fmla="*/ 1078992 w 1432559"/>
                <a:gd name="connsiteY23" fmla="*/ 617506 h 951547"/>
                <a:gd name="connsiteX24" fmla="*/ 1136618 w 1432559"/>
                <a:gd name="connsiteY24" fmla="*/ 559880 h 951547"/>
                <a:gd name="connsiteX25" fmla="*/ 1156621 w 1432559"/>
                <a:gd name="connsiteY25" fmla="*/ 559880 h 951547"/>
                <a:gd name="connsiteX26" fmla="*/ 1158335 w 1432559"/>
                <a:gd name="connsiteY26" fmla="*/ 559880 h 951547"/>
                <a:gd name="connsiteX27" fmla="*/ 1209199 w 1432559"/>
                <a:gd name="connsiteY27" fmla="*/ 559880 h 951547"/>
                <a:gd name="connsiteX28" fmla="*/ 1266825 w 1432559"/>
                <a:gd name="connsiteY28" fmla="*/ 502253 h 951547"/>
                <a:gd name="connsiteX29" fmla="*/ 1266825 w 1432559"/>
                <a:gd name="connsiteY29" fmla="*/ 425768 h 951547"/>
                <a:gd name="connsiteX30" fmla="*/ 1349121 w 1432559"/>
                <a:gd name="connsiteY30" fmla="*/ 425768 h 951547"/>
                <a:gd name="connsiteX31" fmla="*/ 1432560 w 1432559"/>
                <a:gd name="connsiteY31" fmla="*/ 342329 h 951547"/>
                <a:gd name="connsiteX32" fmla="*/ 1432560 w 1432559"/>
                <a:gd name="connsiteY32" fmla="*/ 122777 h 951547"/>
                <a:gd name="connsiteX33" fmla="*/ 1331309 w 1432559"/>
                <a:gd name="connsiteY33" fmla="*/ 122777 h 95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32559" h="951547">
                  <a:moveTo>
                    <a:pt x="1331309" y="122872"/>
                  </a:moveTo>
                  <a:cubicBezTo>
                    <a:pt x="1268444" y="122872"/>
                    <a:pt x="1217009" y="71438"/>
                    <a:pt x="1217009" y="8572"/>
                  </a:cubicBezTo>
                  <a:lnTo>
                    <a:pt x="1217009" y="0"/>
                  </a:lnTo>
                  <a:lnTo>
                    <a:pt x="508921" y="0"/>
                  </a:lnTo>
                  <a:lnTo>
                    <a:pt x="459391" y="0"/>
                  </a:lnTo>
                  <a:lnTo>
                    <a:pt x="344043" y="0"/>
                  </a:lnTo>
                  <a:cubicBezTo>
                    <a:pt x="307467" y="0"/>
                    <a:pt x="277082" y="28480"/>
                    <a:pt x="274225" y="64389"/>
                  </a:cubicBezTo>
                  <a:cubicBezTo>
                    <a:pt x="270891" y="106585"/>
                    <a:pt x="235839" y="138875"/>
                    <a:pt x="193453" y="138875"/>
                  </a:cubicBezTo>
                  <a:lnTo>
                    <a:pt x="70009" y="138875"/>
                  </a:lnTo>
                  <a:cubicBezTo>
                    <a:pt x="31528" y="138875"/>
                    <a:pt x="0" y="170497"/>
                    <a:pt x="0" y="208883"/>
                  </a:cubicBezTo>
                  <a:lnTo>
                    <a:pt x="0" y="447008"/>
                  </a:lnTo>
                  <a:lnTo>
                    <a:pt x="222980" y="447008"/>
                  </a:lnTo>
                  <a:cubicBezTo>
                    <a:pt x="255270" y="447008"/>
                    <a:pt x="281749" y="473488"/>
                    <a:pt x="281749" y="505778"/>
                  </a:cubicBezTo>
                  <a:lnTo>
                    <a:pt x="281749" y="542258"/>
                  </a:lnTo>
                  <a:lnTo>
                    <a:pt x="281749" y="951547"/>
                  </a:lnTo>
                  <a:cubicBezTo>
                    <a:pt x="288988" y="920687"/>
                    <a:pt x="316896" y="897446"/>
                    <a:pt x="349853" y="897446"/>
                  </a:cubicBezTo>
                  <a:lnTo>
                    <a:pt x="418052" y="897446"/>
                  </a:lnTo>
                  <a:cubicBezTo>
                    <a:pt x="460343" y="897446"/>
                    <a:pt x="495395" y="865156"/>
                    <a:pt x="498824" y="822960"/>
                  </a:cubicBezTo>
                  <a:cubicBezTo>
                    <a:pt x="501682" y="787051"/>
                    <a:pt x="532066" y="758571"/>
                    <a:pt x="568643" y="758571"/>
                  </a:cubicBezTo>
                  <a:lnTo>
                    <a:pt x="683990" y="758571"/>
                  </a:lnTo>
                  <a:lnTo>
                    <a:pt x="733520" y="758571"/>
                  </a:lnTo>
                  <a:lnTo>
                    <a:pt x="1066514" y="758571"/>
                  </a:lnTo>
                  <a:cubicBezTo>
                    <a:pt x="1070800" y="758571"/>
                    <a:pt x="1074896" y="758952"/>
                    <a:pt x="1078992" y="759714"/>
                  </a:cubicBezTo>
                  <a:lnTo>
                    <a:pt x="1078992" y="617506"/>
                  </a:lnTo>
                  <a:cubicBezTo>
                    <a:pt x="1078992" y="585788"/>
                    <a:pt x="1104900" y="559880"/>
                    <a:pt x="1136618" y="559880"/>
                  </a:cubicBezTo>
                  <a:lnTo>
                    <a:pt x="1156621" y="559880"/>
                  </a:lnTo>
                  <a:cubicBezTo>
                    <a:pt x="1157192" y="559880"/>
                    <a:pt x="1157764" y="559880"/>
                    <a:pt x="1158335" y="559880"/>
                  </a:cubicBezTo>
                  <a:lnTo>
                    <a:pt x="1209199" y="559880"/>
                  </a:lnTo>
                  <a:cubicBezTo>
                    <a:pt x="1240917" y="559880"/>
                    <a:pt x="1266825" y="533972"/>
                    <a:pt x="1266825" y="502253"/>
                  </a:cubicBezTo>
                  <a:lnTo>
                    <a:pt x="1266825" y="425768"/>
                  </a:lnTo>
                  <a:lnTo>
                    <a:pt x="1349121" y="425768"/>
                  </a:lnTo>
                  <a:cubicBezTo>
                    <a:pt x="1395031" y="425768"/>
                    <a:pt x="1432560" y="388239"/>
                    <a:pt x="1432560" y="342329"/>
                  </a:cubicBezTo>
                  <a:lnTo>
                    <a:pt x="1432560" y="122777"/>
                  </a:lnTo>
                  <a:lnTo>
                    <a:pt x="1331309" y="122777"/>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26" name="Freeform: Shape 125">
              <a:extLst>
                <a:ext uri="{FF2B5EF4-FFF2-40B4-BE49-F238E27FC236}">
                  <a16:creationId xmlns:a16="http://schemas.microsoft.com/office/drawing/2014/main" id="{FDA9CE58-0B13-4CCA-AEB4-660DF867DAE3}"/>
                </a:ext>
              </a:extLst>
            </p:cNvPr>
            <p:cNvSpPr/>
            <p:nvPr/>
          </p:nvSpPr>
          <p:spPr>
            <a:xfrm>
              <a:off x="3245469" y="381555"/>
              <a:ext cx="1149858" cy="1834229"/>
            </a:xfrm>
            <a:custGeom>
              <a:avLst/>
              <a:gdLst>
                <a:gd name="connsiteX0" fmla="*/ 935450 w 1149858"/>
                <a:gd name="connsiteY0" fmla="*/ 0 h 1834229"/>
                <a:gd name="connsiteX1" fmla="*/ 644367 w 1149858"/>
                <a:gd name="connsiteY1" fmla="*/ 0 h 1834229"/>
                <a:gd name="connsiteX2" fmla="*/ 436912 w 1149858"/>
                <a:gd name="connsiteY2" fmla="*/ 0 h 1834229"/>
                <a:gd name="connsiteX3" fmla="*/ 340043 w 1149858"/>
                <a:gd name="connsiteY3" fmla="*/ 96869 h 1834229"/>
                <a:gd name="connsiteX4" fmla="*/ 340043 w 1149858"/>
                <a:gd name="connsiteY4" fmla="*/ 393764 h 1834229"/>
                <a:gd name="connsiteX5" fmla="*/ 98774 w 1149858"/>
                <a:gd name="connsiteY5" fmla="*/ 393764 h 1834229"/>
                <a:gd name="connsiteX6" fmla="*/ 1905 w 1149858"/>
                <a:gd name="connsiteY6" fmla="*/ 490633 h 1834229"/>
                <a:gd name="connsiteX7" fmla="*/ 1905 w 1149858"/>
                <a:gd name="connsiteY7" fmla="*/ 659606 h 1834229"/>
                <a:gd name="connsiteX8" fmla="*/ 0 w 1149858"/>
                <a:gd name="connsiteY8" fmla="*/ 659892 h 1834229"/>
                <a:gd name="connsiteX9" fmla="*/ 0 w 1149858"/>
                <a:gd name="connsiteY9" fmla="*/ 916305 h 1834229"/>
                <a:gd name="connsiteX10" fmla="*/ 0 w 1149858"/>
                <a:gd name="connsiteY10" fmla="*/ 998410 h 1834229"/>
                <a:gd name="connsiteX11" fmla="*/ 0 w 1149858"/>
                <a:gd name="connsiteY11" fmla="*/ 1315593 h 1834229"/>
                <a:gd name="connsiteX12" fmla="*/ 78486 w 1149858"/>
                <a:gd name="connsiteY12" fmla="*/ 1398842 h 1834229"/>
                <a:gd name="connsiteX13" fmla="*/ 154686 w 1149858"/>
                <a:gd name="connsiteY13" fmla="*/ 1479709 h 1834229"/>
                <a:gd name="connsiteX14" fmla="*/ 154686 w 1149858"/>
                <a:gd name="connsiteY14" fmla="*/ 1601343 h 1834229"/>
                <a:gd name="connsiteX15" fmla="*/ 234506 w 1149858"/>
                <a:gd name="connsiteY15" fmla="*/ 1684687 h 1834229"/>
                <a:gd name="connsiteX16" fmla="*/ 312039 w 1149858"/>
                <a:gd name="connsiteY16" fmla="*/ 1765649 h 1834229"/>
                <a:gd name="connsiteX17" fmla="*/ 312039 w 1149858"/>
                <a:gd name="connsiteY17" fmla="*/ 1776603 h 1834229"/>
                <a:gd name="connsiteX18" fmla="*/ 369665 w 1149858"/>
                <a:gd name="connsiteY18" fmla="*/ 1834229 h 1834229"/>
                <a:gd name="connsiteX19" fmla="*/ 389668 w 1149858"/>
                <a:gd name="connsiteY19" fmla="*/ 1834229 h 1834229"/>
                <a:gd name="connsiteX20" fmla="*/ 447294 w 1149858"/>
                <a:gd name="connsiteY20" fmla="*/ 1776603 h 1834229"/>
                <a:gd name="connsiteX21" fmla="*/ 447294 w 1149858"/>
                <a:gd name="connsiteY21" fmla="*/ 1765745 h 1834229"/>
                <a:gd name="connsiteX22" fmla="*/ 528257 w 1149858"/>
                <a:gd name="connsiteY22" fmla="*/ 1684782 h 1834229"/>
                <a:gd name="connsiteX23" fmla="*/ 681323 w 1149858"/>
                <a:gd name="connsiteY23" fmla="*/ 1684782 h 1834229"/>
                <a:gd name="connsiteX24" fmla="*/ 764762 w 1149858"/>
                <a:gd name="connsiteY24" fmla="*/ 1601343 h 1834229"/>
                <a:gd name="connsiteX25" fmla="*/ 764762 w 1149858"/>
                <a:gd name="connsiteY25" fmla="*/ 1348835 h 1834229"/>
                <a:gd name="connsiteX26" fmla="*/ 681323 w 1149858"/>
                <a:gd name="connsiteY26" fmla="*/ 1265396 h 1834229"/>
                <a:gd name="connsiteX27" fmla="*/ 602171 w 1149858"/>
                <a:gd name="connsiteY27" fmla="*/ 1186910 h 1834229"/>
                <a:gd name="connsiteX28" fmla="*/ 683133 w 1149858"/>
                <a:gd name="connsiteY28" fmla="*/ 1105948 h 1834229"/>
                <a:gd name="connsiteX29" fmla="*/ 860870 w 1149858"/>
                <a:gd name="connsiteY29" fmla="*/ 1105948 h 1834229"/>
                <a:gd name="connsiteX30" fmla="*/ 918496 w 1149858"/>
                <a:gd name="connsiteY30" fmla="*/ 1048322 h 1834229"/>
                <a:gd name="connsiteX31" fmla="*/ 918496 w 1149858"/>
                <a:gd name="connsiteY31" fmla="*/ 1028319 h 1834229"/>
                <a:gd name="connsiteX32" fmla="*/ 860870 w 1149858"/>
                <a:gd name="connsiteY32" fmla="*/ 970693 h 1834229"/>
                <a:gd name="connsiteX33" fmla="*/ 845725 w 1149858"/>
                <a:gd name="connsiteY33" fmla="*/ 970693 h 1834229"/>
                <a:gd name="connsiteX34" fmla="*/ 764762 w 1149858"/>
                <a:gd name="connsiteY34" fmla="*/ 889730 h 1834229"/>
                <a:gd name="connsiteX35" fmla="*/ 764762 w 1149858"/>
                <a:gd name="connsiteY35" fmla="*/ 759047 h 1834229"/>
                <a:gd name="connsiteX36" fmla="*/ 763905 w 1149858"/>
                <a:gd name="connsiteY36" fmla="*/ 730282 h 1834229"/>
                <a:gd name="connsiteX37" fmla="*/ 798862 w 1149858"/>
                <a:gd name="connsiteY37" fmla="*/ 730282 h 1834229"/>
                <a:gd name="connsiteX38" fmla="*/ 935355 w 1149858"/>
                <a:gd name="connsiteY38" fmla="*/ 640937 h 1834229"/>
                <a:gd name="connsiteX39" fmla="*/ 935355 w 1149858"/>
                <a:gd name="connsiteY39" fmla="*/ 636556 h 1834229"/>
                <a:gd name="connsiteX40" fmla="*/ 935355 w 1149858"/>
                <a:gd name="connsiteY40" fmla="*/ 626555 h 1834229"/>
                <a:gd name="connsiteX41" fmla="*/ 1006221 w 1149858"/>
                <a:gd name="connsiteY41" fmla="*/ 626555 h 1834229"/>
                <a:gd name="connsiteX42" fmla="*/ 1149858 w 1149858"/>
                <a:gd name="connsiteY42" fmla="*/ 490061 h 1834229"/>
                <a:gd name="connsiteX43" fmla="*/ 1149858 w 1149858"/>
                <a:gd name="connsiteY43" fmla="*/ 0 h 1834229"/>
                <a:gd name="connsiteX44" fmla="*/ 935450 w 1149858"/>
                <a:gd name="connsiteY44" fmla="*/ 0 h 183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149858" h="1834229">
                  <a:moveTo>
                    <a:pt x="935450" y="0"/>
                  </a:moveTo>
                  <a:lnTo>
                    <a:pt x="644367" y="0"/>
                  </a:lnTo>
                  <a:lnTo>
                    <a:pt x="436912" y="0"/>
                  </a:lnTo>
                  <a:cubicBezTo>
                    <a:pt x="383477" y="0"/>
                    <a:pt x="340043" y="43339"/>
                    <a:pt x="340043" y="96869"/>
                  </a:cubicBezTo>
                  <a:lnTo>
                    <a:pt x="340043" y="393764"/>
                  </a:lnTo>
                  <a:lnTo>
                    <a:pt x="98774" y="393764"/>
                  </a:lnTo>
                  <a:cubicBezTo>
                    <a:pt x="45339" y="393764"/>
                    <a:pt x="1905" y="437102"/>
                    <a:pt x="1905" y="490633"/>
                  </a:cubicBezTo>
                  <a:lnTo>
                    <a:pt x="1905" y="659606"/>
                  </a:lnTo>
                  <a:lnTo>
                    <a:pt x="0" y="659892"/>
                  </a:lnTo>
                  <a:lnTo>
                    <a:pt x="0" y="916305"/>
                  </a:lnTo>
                  <a:lnTo>
                    <a:pt x="0" y="998410"/>
                  </a:lnTo>
                  <a:lnTo>
                    <a:pt x="0" y="1315593"/>
                  </a:lnTo>
                  <a:cubicBezTo>
                    <a:pt x="0" y="1359789"/>
                    <a:pt x="34862" y="1396270"/>
                    <a:pt x="78486" y="1398842"/>
                  </a:cubicBezTo>
                  <a:cubicBezTo>
                    <a:pt x="121349" y="1401413"/>
                    <a:pt x="154686" y="1436751"/>
                    <a:pt x="154686" y="1479709"/>
                  </a:cubicBezTo>
                  <a:lnTo>
                    <a:pt x="154686" y="1601343"/>
                  </a:lnTo>
                  <a:cubicBezTo>
                    <a:pt x="154686" y="1646015"/>
                    <a:pt x="190310" y="1682782"/>
                    <a:pt x="234506" y="1684687"/>
                  </a:cubicBezTo>
                  <a:cubicBezTo>
                    <a:pt x="277844" y="1686592"/>
                    <a:pt x="312039" y="1722215"/>
                    <a:pt x="312039" y="1765649"/>
                  </a:cubicBezTo>
                  <a:lnTo>
                    <a:pt x="312039" y="1776603"/>
                  </a:lnTo>
                  <a:cubicBezTo>
                    <a:pt x="312039" y="1808321"/>
                    <a:pt x="337947" y="1834229"/>
                    <a:pt x="369665" y="1834229"/>
                  </a:cubicBezTo>
                  <a:lnTo>
                    <a:pt x="389668" y="1834229"/>
                  </a:lnTo>
                  <a:cubicBezTo>
                    <a:pt x="421386" y="1834229"/>
                    <a:pt x="447294" y="1808321"/>
                    <a:pt x="447294" y="1776603"/>
                  </a:cubicBezTo>
                  <a:lnTo>
                    <a:pt x="447294" y="1765745"/>
                  </a:lnTo>
                  <a:cubicBezTo>
                    <a:pt x="447294" y="1721168"/>
                    <a:pt x="483680" y="1684782"/>
                    <a:pt x="528257" y="1684782"/>
                  </a:cubicBezTo>
                  <a:lnTo>
                    <a:pt x="681323" y="1684782"/>
                  </a:lnTo>
                  <a:cubicBezTo>
                    <a:pt x="727234" y="1684782"/>
                    <a:pt x="764762" y="1647254"/>
                    <a:pt x="764762" y="1601343"/>
                  </a:cubicBezTo>
                  <a:lnTo>
                    <a:pt x="764762" y="1348835"/>
                  </a:lnTo>
                  <a:cubicBezTo>
                    <a:pt x="764762" y="1302925"/>
                    <a:pt x="726662" y="1258253"/>
                    <a:pt x="681323" y="1265396"/>
                  </a:cubicBezTo>
                  <a:cubicBezTo>
                    <a:pt x="633508" y="1272921"/>
                    <a:pt x="601028" y="1256348"/>
                    <a:pt x="602171" y="1186910"/>
                  </a:cubicBezTo>
                  <a:cubicBezTo>
                    <a:pt x="602933" y="1142333"/>
                    <a:pt x="638556" y="1105948"/>
                    <a:pt x="683133" y="1105948"/>
                  </a:cubicBezTo>
                  <a:lnTo>
                    <a:pt x="860870" y="1105948"/>
                  </a:lnTo>
                  <a:cubicBezTo>
                    <a:pt x="892588" y="1105948"/>
                    <a:pt x="918496" y="1080040"/>
                    <a:pt x="918496" y="1048322"/>
                  </a:cubicBezTo>
                  <a:lnTo>
                    <a:pt x="918496" y="1028319"/>
                  </a:lnTo>
                  <a:cubicBezTo>
                    <a:pt x="918496" y="996601"/>
                    <a:pt x="892588" y="970693"/>
                    <a:pt x="860870" y="970693"/>
                  </a:cubicBezTo>
                  <a:lnTo>
                    <a:pt x="845725" y="970693"/>
                  </a:lnTo>
                  <a:cubicBezTo>
                    <a:pt x="801148" y="970693"/>
                    <a:pt x="764762" y="934307"/>
                    <a:pt x="764762" y="889730"/>
                  </a:cubicBezTo>
                  <a:lnTo>
                    <a:pt x="764762" y="759047"/>
                  </a:lnTo>
                  <a:cubicBezTo>
                    <a:pt x="764762" y="748951"/>
                    <a:pt x="764381" y="740950"/>
                    <a:pt x="763905" y="730282"/>
                  </a:cubicBezTo>
                  <a:lnTo>
                    <a:pt x="798862" y="730282"/>
                  </a:lnTo>
                  <a:cubicBezTo>
                    <a:pt x="874300" y="730282"/>
                    <a:pt x="935355" y="716375"/>
                    <a:pt x="935355" y="640937"/>
                  </a:cubicBezTo>
                  <a:lnTo>
                    <a:pt x="935355" y="636556"/>
                  </a:lnTo>
                  <a:lnTo>
                    <a:pt x="935355" y="626555"/>
                  </a:lnTo>
                  <a:lnTo>
                    <a:pt x="1006221" y="626555"/>
                  </a:lnTo>
                  <a:cubicBezTo>
                    <a:pt x="1081659" y="626555"/>
                    <a:pt x="1149858" y="565404"/>
                    <a:pt x="1149858" y="490061"/>
                  </a:cubicBezTo>
                  <a:lnTo>
                    <a:pt x="1149858" y="0"/>
                  </a:lnTo>
                  <a:lnTo>
                    <a:pt x="93545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27" name="Freeform: Shape 126">
              <a:extLst>
                <a:ext uri="{FF2B5EF4-FFF2-40B4-BE49-F238E27FC236}">
                  <a16:creationId xmlns:a16="http://schemas.microsoft.com/office/drawing/2014/main" id="{81C07194-EC3B-408A-AFC7-945F624F9FBE}"/>
                </a:ext>
              </a:extLst>
            </p:cNvPr>
            <p:cNvSpPr/>
            <p:nvPr/>
          </p:nvSpPr>
          <p:spPr>
            <a:xfrm>
              <a:off x="4395518" y="260683"/>
              <a:ext cx="1290351" cy="1074229"/>
            </a:xfrm>
            <a:custGeom>
              <a:avLst/>
              <a:gdLst>
                <a:gd name="connsiteX0" fmla="*/ 1290352 w 1290351"/>
                <a:gd name="connsiteY0" fmla="*/ 314516 h 1074229"/>
                <a:gd name="connsiteX1" fmla="*/ 626555 w 1290351"/>
                <a:gd name="connsiteY1" fmla="*/ 314516 h 1074229"/>
                <a:gd name="connsiteX2" fmla="*/ 626555 w 1290351"/>
                <a:gd name="connsiteY2" fmla="*/ 136493 h 1074229"/>
                <a:gd name="connsiteX3" fmla="*/ 490061 w 1290351"/>
                <a:gd name="connsiteY3" fmla="*/ 0 h 1074229"/>
                <a:gd name="connsiteX4" fmla="*/ 407765 w 1290351"/>
                <a:gd name="connsiteY4" fmla="*/ 0 h 1074229"/>
                <a:gd name="connsiteX5" fmla="*/ 407765 w 1290351"/>
                <a:gd name="connsiteY5" fmla="*/ 286 h 1074229"/>
                <a:gd name="connsiteX6" fmla="*/ 248983 w 1290351"/>
                <a:gd name="connsiteY6" fmla="*/ 286 h 1074229"/>
                <a:gd name="connsiteX7" fmla="*/ 248983 w 1290351"/>
                <a:gd name="connsiteY7" fmla="*/ 28861 h 1074229"/>
                <a:gd name="connsiteX8" fmla="*/ 156877 w 1290351"/>
                <a:gd name="connsiteY8" fmla="*/ 120967 h 1074229"/>
                <a:gd name="connsiteX9" fmla="*/ 0 w 1290351"/>
                <a:gd name="connsiteY9" fmla="*/ 120967 h 1074229"/>
                <a:gd name="connsiteX10" fmla="*/ 0 w 1290351"/>
                <a:gd name="connsiteY10" fmla="*/ 595408 h 1074229"/>
                <a:gd name="connsiteX11" fmla="*/ 270986 w 1290351"/>
                <a:gd name="connsiteY11" fmla="*/ 595408 h 1074229"/>
                <a:gd name="connsiteX12" fmla="*/ 270986 w 1290351"/>
                <a:gd name="connsiteY12" fmla="*/ 990791 h 1074229"/>
                <a:gd name="connsiteX13" fmla="*/ 354425 w 1290351"/>
                <a:gd name="connsiteY13" fmla="*/ 1074230 h 1074229"/>
                <a:gd name="connsiteX14" fmla="*/ 954500 w 1290351"/>
                <a:gd name="connsiteY14" fmla="*/ 1074230 h 1074229"/>
                <a:gd name="connsiteX15" fmla="*/ 1034415 w 1290351"/>
                <a:gd name="connsiteY15" fmla="*/ 1074230 h 1074229"/>
                <a:gd name="connsiteX16" fmla="*/ 1034701 w 1290351"/>
                <a:gd name="connsiteY16" fmla="*/ 1004602 h 1074229"/>
                <a:gd name="connsiteX17" fmla="*/ 1113186 w 1290351"/>
                <a:gd name="connsiteY17" fmla="*/ 932974 h 1074229"/>
                <a:gd name="connsiteX18" fmla="*/ 1189386 w 1290351"/>
                <a:gd name="connsiteY18" fmla="*/ 863251 h 1074229"/>
                <a:gd name="connsiteX19" fmla="*/ 1272064 w 1290351"/>
                <a:gd name="connsiteY19" fmla="*/ 791337 h 1074229"/>
                <a:gd name="connsiteX20" fmla="*/ 1287780 w 1290351"/>
                <a:gd name="connsiteY20" fmla="*/ 791337 h 1074229"/>
                <a:gd name="connsiteX21" fmla="*/ 1290352 w 1290351"/>
                <a:gd name="connsiteY21" fmla="*/ 314516 h 107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90351" h="1074229">
                  <a:moveTo>
                    <a:pt x="1290352" y="314516"/>
                  </a:moveTo>
                  <a:lnTo>
                    <a:pt x="626555" y="314516"/>
                  </a:lnTo>
                  <a:lnTo>
                    <a:pt x="626555" y="136493"/>
                  </a:lnTo>
                  <a:cubicBezTo>
                    <a:pt x="626555" y="61055"/>
                    <a:pt x="565404" y="0"/>
                    <a:pt x="490061" y="0"/>
                  </a:cubicBezTo>
                  <a:lnTo>
                    <a:pt x="407765" y="0"/>
                  </a:lnTo>
                  <a:lnTo>
                    <a:pt x="407765" y="286"/>
                  </a:lnTo>
                  <a:lnTo>
                    <a:pt x="248983" y="286"/>
                  </a:lnTo>
                  <a:lnTo>
                    <a:pt x="248983" y="28861"/>
                  </a:lnTo>
                  <a:cubicBezTo>
                    <a:pt x="248983" y="79724"/>
                    <a:pt x="207740" y="120967"/>
                    <a:pt x="156877" y="120967"/>
                  </a:cubicBezTo>
                  <a:lnTo>
                    <a:pt x="0" y="120967"/>
                  </a:lnTo>
                  <a:lnTo>
                    <a:pt x="0" y="595408"/>
                  </a:lnTo>
                  <a:lnTo>
                    <a:pt x="270986" y="595408"/>
                  </a:lnTo>
                  <a:lnTo>
                    <a:pt x="270986" y="990791"/>
                  </a:lnTo>
                  <a:cubicBezTo>
                    <a:pt x="270986" y="1036701"/>
                    <a:pt x="308515" y="1074230"/>
                    <a:pt x="354425" y="1074230"/>
                  </a:cubicBezTo>
                  <a:lnTo>
                    <a:pt x="954500" y="1074230"/>
                  </a:lnTo>
                  <a:lnTo>
                    <a:pt x="1034415" y="1074230"/>
                  </a:lnTo>
                  <a:lnTo>
                    <a:pt x="1034701" y="1004602"/>
                  </a:lnTo>
                  <a:cubicBezTo>
                    <a:pt x="1034891" y="965168"/>
                    <a:pt x="1073087" y="934879"/>
                    <a:pt x="1113186" y="932974"/>
                  </a:cubicBezTo>
                  <a:cubicBezTo>
                    <a:pt x="1152430" y="931069"/>
                    <a:pt x="1183958" y="902113"/>
                    <a:pt x="1189386" y="863251"/>
                  </a:cubicBezTo>
                  <a:cubicBezTo>
                    <a:pt x="1195006" y="822770"/>
                    <a:pt x="1230058" y="791337"/>
                    <a:pt x="1272064" y="791337"/>
                  </a:cubicBezTo>
                  <a:lnTo>
                    <a:pt x="1287780" y="791337"/>
                  </a:lnTo>
                  <a:cubicBezTo>
                    <a:pt x="1287208" y="673227"/>
                    <a:pt x="1290352" y="511397"/>
                    <a:pt x="1290352" y="314516"/>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28" name="Freeform: Shape 127">
              <a:extLst>
                <a:ext uri="{FF2B5EF4-FFF2-40B4-BE49-F238E27FC236}">
                  <a16:creationId xmlns:a16="http://schemas.microsoft.com/office/drawing/2014/main" id="{6B2906E9-2D4B-4CB3-AE59-72F915171DA2}"/>
                </a:ext>
              </a:extLst>
            </p:cNvPr>
            <p:cNvSpPr/>
            <p:nvPr/>
          </p:nvSpPr>
          <p:spPr>
            <a:xfrm>
              <a:off x="2456609" y="-24876"/>
              <a:ext cx="2346960" cy="1813083"/>
            </a:xfrm>
            <a:custGeom>
              <a:avLst/>
              <a:gdLst>
                <a:gd name="connsiteX0" fmla="*/ 862298 w 2346960"/>
                <a:gd name="connsiteY0" fmla="*/ 0 h 1813083"/>
                <a:gd name="connsiteX1" fmla="*/ 654368 w 2346960"/>
                <a:gd name="connsiteY1" fmla="*/ 207931 h 1813083"/>
                <a:gd name="connsiteX2" fmla="*/ 654368 w 2346960"/>
                <a:gd name="connsiteY2" fmla="*/ 444437 h 1813083"/>
                <a:gd name="connsiteX3" fmla="*/ 513112 w 2346960"/>
                <a:gd name="connsiteY3" fmla="*/ 444437 h 1813083"/>
                <a:gd name="connsiteX4" fmla="*/ 305181 w 2346960"/>
                <a:gd name="connsiteY4" fmla="*/ 652367 h 1813083"/>
                <a:gd name="connsiteX5" fmla="*/ 305181 w 2346960"/>
                <a:gd name="connsiteY5" fmla="*/ 1066514 h 1813083"/>
                <a:gd name="connsiteX6" fmla="*/ 268319 w 2346960"/>
                <a:gd name="connsiteY6" fmla="*/ 1078135 h 1813083"/>
                <a:gd name="connsiteX7" fmla="*/ 235458 w 2346960"/>
                <a:gd name="connsiteY7" fmla="*/ 1090327 h 1813083"/>
                <a:gd name="connsiteX8" fmla="*/ 162497 w 2346960"/>
                <a:gd name="connsiteY8" fmla="*/ 1173099 h 1813083"/>
                <a:gd name="connsiteX9" fmla="*/ 162497 w 2346960"/>
                <a:gd name="connsiteY9" fmla="*/ 1441228 h 1813083"/>
                <a:gd name="connsiteX10" fmla="*/ 81915 w 2346960"/>
                <a:gd name="connsiteY10" fmla="*/ 1522190 h 1813083"/>
                <a:gd name="connsiteX11" fmla="*/ 0 w 2346960"/>
                <a:gd name="connsiteY11" fmla="*/ 1605629 h 1813083"/>
                <a:gd name="connsiteX12" fmla="*/ 0 w 2346960"/>
                <a:gd name="connsiteY12" fmla="*/ 1729645 h 1813083"/>
                <a:gd name="connsiteX13" fmla="*/ 83439 w 2346960"/>
                <a:gd name="connsiteY13" fmla="*/ 1813084 h 1813083"/>
                <a:gd name="connsiteX14" fmla="*/ 364141 w 2346960"/>
                <a:gd name="connsiteY14" fmla="*/ 1813084 h 1813083"/>
                <a:gd name="connsiteX15" fmla="*/ 447484 w 2346960"/>
                <a:gd name="connsiteY15" fmla="*/ 1733264 h 1813083"/>
                <a:gd name="connsiteX16" fmla="*/ 527590 w 2346960"/>
                <a:gd name="connsiteY16" fmla="*/ 1655731 h 1813083"/>
                <a:gd name="connsiteX17" fmla="*/ 609600 w 2346960"/>
                <a:gd name="connsiteY17" fmla="*/ 1581817 h 1813083"/>
                <a:gd name="connsiteX18" fmla="*/ 687896 w 2346960"/>
                <a:gd name="connsiteY18" fmla="*/ 1508951 h 1813083"/>
                <a:gd name="connsiteX19" fmla="*/ 708184 w 2346960"/>
                <a:gd name="connsiteY19" fmla="*/ 1508951 h 1813083"/>
                <a:gd name="connsiteX20" fmla="*/ 789146 w 2346960"/>
                <a:gd name="connsiteY20" fmla="*/ 1589913 h 1813083"/>
                <a:gd name="connsiteX21" fmla="*/ 789146 w 2346960"/>
                <a:gd name="connsiteY21" fmla="*/ 1404557 h 1813083"/>
                <a:gd name="connsiteX22" fmla="*/ 789146 w 2346960"/>
                <a:gd name="connsiteY22" fmla="*/ 1322451 h 1813083"/>
                <a:gd name="connsiteX23" fmla="*/ 789146 w 2346960"/>
                <a:gd name="connsiteY23" fmla="*/ 1066038 h 1813083"/>
                <a:gd name="connsiteX24" fmla="*/ 787908 w 2346960"/>
                <a:gd name="connsiteY24" fmla="*/ 1066038 h 1813083"/>
                <a:gd name="connsiteX25" fmla="*/ 787908 w 2346960"/>
                <a:gd name="connsiteY25" fmla="*/ 876300 h 1813083"/>
                <a:gd name="connsiteX26" fmla="*/ 793337 w 2346960"/>
                <a:gd name="connsiteY26" fmla="*/ 876300 h 1813083"/>
                <a:gd name="connsiteX27" fmla="*/ 887921 w 2346960"/>
                <a:gd name="connsiteY27" fmla="*/ 800100 h 1813083"/>
                <a:gd name="connsiteX28" fmla="*/ 1129189 w 2346960"/>
                <a:gd name="connsiteY28" fmla="*/ 800100 h 1813083"/>
                <a:gd name="connsiteX29" fmla="*/ 1129189 w 2346960"/>
                <a:gd name="connsiteY29" fmla="*/ 503301 h 1813083"/>
                <a:gd name="connsiteX30" fmla="*/ 1226058 w 2346960"/>
                <a:gd name="connsiteY30" fmla="*/ 406432 h 1813083"/>
                <a:gd name="connsiteX31" fmla="*/ 1433513 w 2346960"/>
                <a:gd name="connsiteY31" fmla="*/ 406432 h 1813083"/>
                <a:gd name="connsiteX32" fmla="*/ 1724597 w 2346960"/>
                <a:gd name="connsiteY32" fmla="*/ 406432 h 1813083"/>
                <a:gd name="connsiteX33" fmla="*/ 2096072 w 2346960"/>
                <a:gd name="connsiteY33" fmla="*/ 406432 h 1813083"/>
                <a:gd name="connsiteX34" fmla="*/ 2188178 w 2346960"/>
                <a:gd name="connsiteY34" fmla="*/ 314325 h 1813083"/>
                <a:gd name="connsiteX35" fmla="*/ 2188178 w 2346960"/>
                <a:gd name="connsiteY35" fmla="*/ 285750 h 1813083"/>
                <a:gd name="connsiteX36" fmla="*/ 2346960 w 2346960"/>
                <a:gd name="connsiteY36" fmla="*/ 285750 h 1813083"/>
                <a:gd name="connsiteX37" fmla="*/ 2346960 w 2346960"/>
                <a:gd name="connsiteY37" fmla="*/ 0 h 1813083"/>
                <a:gd name="connsiteX38" fmla="*/ 862298 w 2346960"/>
                <a:gd name="connsiteY38" fmla="*/ 0 h 181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46960" h="1813083">
                  <a:moveTo>
                    <a:pt x="862298" y="0"/>
                  </a:moveTo>
                  <a:cubicBezTo>
                    <a:pt x="747427" y="0"/>
                    <a:pt x="654368" y="93155"/>
                    <a:pt x="654368" y="207931"/>
                  </a:cubicBezTo>
                  <a:lnTo>
                    <a:pt x="654368" y="444437"/>
                  </a:lnTo>
                  <a:lnTo>
                    <a:pt x="513112" y="444437"/>
                  </a:lnTo>
                  <a:cubicBezTo>
                    <a:pt x="398240" y="444437"/>
                    <a:pt x="305181" y="537591"/>
                    <a:pt x="305181" y="652367"/>
                  </a:cubicBezTo>
                  <a:lnTo>
                    <a:pt x="305181" y="1066514"/>
                  </a:lnTo>
                  <a:cubicBezTo>
                    <a:pt x="291846" y="1067562"/>
                    <a:pt x="279273" y="1071563"/>
                    <a:pt x="268319" y="1078135"/>
                  </a:cubicBezTo>
                  <a:cubicBezTo>
                    <a:pt x="258223" y="1084231"/>
                    <a:pt x="247174" y="1088803"/>
                    <a:pt x="235458" y="1090327"/>
                  </a:cubicBezTo>
                  <a:cubicBezTo>
                    <a:pt x="194405" y="1095470"/>
                    <a:pt x="162497" y="1130713"/>
                    <a:pt x="162497" y="1173099"/>
                  </a:cubicBezTo>
                  <a:lnTo>
                    <a:pt x="162497" y="1441228"/>
                  </a:lnTo>
                  <a:cubicBezTo>
                    <a:pt x="162497" y="1485519"/>
                    <a:pt x="126206" y="1521428"/>
                    <a:pt x="81915" y="1522190"/>
                  </a:cubicBezTo>
                  <a:cubicBezTo>
                    <a:pt x="36671" y="1522952"/>
                    <a:pt x="0" y="1560195"/>
                    <a:pt x="0" y="1605629"/>
                  </a:cubicBezTo>
                  <a:lnTo>
                    <a:pt x="0" y="1729645"/>
                  </a:lnTo>
                  <a:cubicBezTo>
                    <a:pt x="0" y="1775555"/>
                    <a:pt x="37529" y="1813084"/>
                    <a:pt x="83439" y="1813084"/>
                  </a:cubicBezTo>
                  <a:lnTo>
                    <a:pt x="364141" y="1813084"/>
                  </a:lnTo>
                  <a:cubicBezTo>
                    <a:pt x="408813" y="1813084"/>
                    <a:pt x="445580" y="1777460"/>
                    <a:pt x="447484" y="1733264"/>
                  </a:cubicBezTo>
                  <a:cubicBezTo>
                    <a:pt x="449390" y="1690211"/>
                    <a:pt x="484442" y="1656207"/>
                    <a:pt x="527590" y="1655731"/>
                  </a:cubicBezTo>
                  <a:cubicBezTo>
                    <a:pt x="569881" y="1655255"/>
                    <a:pt x="604838" y="1622965"/>
                    <a:pt x="609600" y="1581817"/>
                  </a:cubicBezTo>
                  <a:cubicBezTo>
                    <a:pt x="614267" y="1540859"/>
                    <a:pt x="646748" y="1508951"/>
                    <a:pt x="687896" y="1508951"/>
                  </a:cubicBezTo>
                  <a:lnTo>
                    <a:pt x="708184" y="1508951"/>
                  </a:lnTo>
                  <a:cubicBezTo>
                    <a:pt x="752761" y="1508951"/>
                    <a:pt x="789146" y="1545336"/>
                    <a:pt x="789146" y="1589913"/>
                  </a:cubicBezTo>
                  <a:lnTo>
                    <a:pt x="789146" y="1404557"/>
                  </a:lnTo>
                  <a:lnTo>
                    <a:pt x="789146" y="1322451"/>
                  </a:lnTo>
                  <a:lnTo>
                    <a:pt x="789146" y="1066038"/>
                  </a:lnTo>
                  <a:lnTo>
                    <a:pt x="787908" y="1066038"/>
                  </a:lnTo>
                  <a:lnTo>
                    <a:pt x="787908" y="876300"/>
                  </a:lnTo>
                  <a:lnTo>
                    <a:pt x="793337" y="876300"/>
                  </a:lnTo>
                  <a:cubicBezTo>
                    <a:pt x="802767" y="832771"/>
                    <a:pt x="841534" y="800100"/>
                    <a:pt x="887921" y="800100"/>
                  </a:cubicBezTo>
                  <a:lnTo>
                    <a:pt x="1129189" y="800100"/>
                  </a:lnTo>
                  <a:lnTo>
                    <a:pt x="1129189" y="503301"/>
                  </a:lnTo>
                  <a:cubicBezTo>
                    <a:pt x="1129189" y="449866"/>
                    <a:pt x="1172527" y="406432"/>
                    <a:pt x="1226058" y="406432"/>
                  </a:cubicBezTo>
                  <a:lnTo>
                    <a:pt x="1433513" y="406432"/>
                  </a:lnTo>
                  <a:lnTo>
                    <a:pt x="1724597" y="406432"/>
                  </a:lnTo>
                  <a:lnTo>
                    <a:pt x="2096072" y="406432"/>
                  </a:lnTo>
                  <a:cubicBezTo>
                    <a:pt x="2146935" y="406432"/>
                    <a:pt x="2188178" y="365189"/>
                    <a:pt x="2188178" y="314325"/>
                  </a:cubicBezTo>
                  <a:lnTo>
                    <a:pt x="2188178" y="285750"/>
                  </a:lnTo>
                  <a:lnTo>
                    <a:pt x="2346960" y="285750"/>
                  </a:lnTo>
                  <a:lnTo>
                    <a:pt x="2346960" y="0"/>
                  </a:lnTo>
                  <a:lnTo>
                    <a:pt x="86229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29" name="Freeform: Shape 128">
              <a:extLst>
                <a:ext uri="{FF2B5EF4-FFF2-40B4-BE49-F238E27FC236}">
                  <a16:creationId xmlns:a16="http://schemas.microsoft.com/office/drawing/2014/main" id="{51D0CF0F-4233-4970-B46B-65DA292542AA}"/>
                </a:ext>
              </a:extLst>
            </p:cNvPr>
            <p:cNvSpPr/>
            <p:nvPr/>
          </p:nvSpPr>
          <p:spPr>
            <a:xfrm>
              <a:off x="4963684" y="2644504"/>
              <a:ext cx="1471421" cy="875728"/>
            </a:xfrm>
            <a:custGeom>
              <a:avLst/>
              <a:gdLst>
                <a:gd name="connsiteX0" fmla="*/ 157829 w 1471421"/>
                <a:gd name="connsiteY0" fmla="*/ 0 h 875728"/>
                <a:gd name="connsiteX1" fmla="*/ 157829 w 1471421"/>
                <a:gd name="connsiteY1" fmla="*/ 53245 h 875728"/>
                <a:gd name="connsiteX2" fmla="*/ 157829 w 1471421"/>
                <a:gd name="connsiteY2" fmla="*/ 105632 h 875728"/>
                <a:gd name="connsiteX3" fmla="*/ 200406 w 1471421"/>
                <a:gd name="connsiteY3" fmla="*/ 163354 h 875728"/>
                <a:gd name="connsiteX4" fmla="*/ 218313 w 1471421"/>
                <a:gd name="connsiteY4" fmla="*/ 166116 h 875728"/>
                <a:gd name="connsiteX5" fmla="*/ 312515 w 1471421"/>
                <a:gd name="connsiteY5" fmla="*/ 166116 h 875728"/>
                <a:gd name="connsiteX6" fmla="*/ 314134 w 1471421"/>
                <a:gd name="connsiteY6" fmla="*/ 166116 h 875728"/>
                <a:gd name="connsiteX7" fmla="*/ 314801 w 1471421"/>
                <a:gd name="connsiteY7" fmla="*/ 442722 h 875728"/>
                <a:gd name="connsiteX8" fmla="*/ 314801 w 1471421"/>
                <a:gd name="connsiteY8" fmla="*/ 444913 h 875728"/>
                <a:gd name="connsiteX9" fmla="*/ 314801 w 1471421"/>
                <a:gd name="connsiteY9" fmla="*/ 444913 h 875728"/>
                <a:gd name="connsiteX10" fmla="*/ 232982 w 1471421"/>
                <a:gd name="connsiteY10" fmla="*/ 444913 h 875728"/>
                <a:gd name="connsiteX11" fmla="*/ 162020 w 1471421"/>
                <a:gd name="connsiteY11" fmla="*/ 498538 h 875728"/>
                <a:gd name="connsiteX12" fmla="*/ 160401 w 1471421"/>
                <a:gd name="connsiteY12" fmla="*/ 512540 h 875728"/>
                <a:gd name="connsiteX13" fmla="*/ 160211 w 1471421"/>
                <a:gd name="connsiteY13" fmla="*/ 543497 h 875728"/>
                <a:gd name="connsiteX14" fmla="*/ 99726 w 1471421"/>
                <a:gd name="connsiteY14" fmla="*/ 603980 h 875728"/>
                <a:gd name="connsiteX15" fmla="*/ 381 w 1471421"/>
                <a:gd name="connsiteY15" fmla="*/ 603980 h 875728"/>
                <a:gd name="connsiteX16" fmla="*/ 381 w 1471421"/>
                <a:gd name="connsiteY16" fmla="*/ 743712 h 875728"/>
                <a:gd name="connsiteX17" fmla="*/ 0 w 1471421"/>
                <a:gd name="connsiteY17" fmla="*/ 743712 h 875728"/>
                <a:gd name="connsiteX18" fmla="*/ 0 w 1471421"/>
                <a:gd name="connsiteY18" fmla="*/ 747141 h 875728"/>
                <a:gd name="connsiteX19" fmla="*/ 146114 w 1471421"/>
                <a:gd name="connsiteY19" fmla="*/ 747141 h 875728"/>
                <a:gd name="connsiteX20" fmla="*/ 203740 w 1471421"/>
                <a:gd name="connsiteY20" fmla="*/ 804767 h 875728"/>
                <a:gd name="connsiteX21" fmla="*/ 203740 w 1471421"/>
                <a:gd name="connsiteY21" fmla="*/ 824770 h 875728"/>
                <a:gd name="connsiteX22" fmla="*/ 172879 w 1471421"/>
                <a:gd name="connsiteY22" fmla="*/ 875729 h 875728"/>
                <a:gd name="connsiteX23" fmla="*/ 232600 w 1471421"/>
                <a:gd name="connsiteY23" fmla="*/ 875729 h 875728"/>
                <a:gd name="connsiteX24" fmla="*/ 313373 w 1471421"/>
                <a:gd name="connsiteY24" fmla="*/ 801243 h 875728"/>
                <a:gd name="connsiteX25" fmla="*/ 383191 w 1471421"/>
                <a:gd name="connsiteY25" fmla="*/ 736854 h 875728"/>
                <a:gd name="connsiteX26" fmla="*/ 498539 w 1471421"/>
                <a:gd name="connsiteY26" fmla="*/ 736854 h 875728"/>
                <a:gd name="connsiteX27" fmla="*/ 548068 w 1471421"/>
                <a:gd name="connsiteY27" fmla="*/ 736854 h 875728"/>
                <a:gd name="connsiteX28" fmla="*/ 1256157 w 1471421"/>
                <a:gd name="connsiteY28" fmla="*/ 736854 h 875728"/>
                <a:gd name="connsiteX29" fmla="*/ 1256157 w 1471421"/>
                <a:gd name="connsiteY29" fmla="*/ 745427 h 875728"/>
                <a:gd name="connsiteX30" fmla="*/ 1370457 w 1471421"/>
                <a:gd name="connsiteY30" fmla="*/ 859727 h 875728"/>
                <a:gd name="connsiteX31" fmla="*/ 1471422 w 1471421"/>
                <a:gd name="connsiteY31" fmla="*/ 859727 h 875728"/>
                <a:gd name="connsiteX32" fmla="*/ 1471422 w 1471421"/>
                <a:gd name="connsiteY32" fmla="*/ 843439 h 875728"/>
                <a:gd name="connsiteX33" fmla="*/ 1471422 w 1471421"/>
                <a:gd name="connsiteY33" fmla="*/ 390620 h 875728"/>
                <a:gd name="connsiteX34" fmla="*/ 1471422 w 1471421"/>
                <a:gd name="connsiteY34" fmla="*/ 191 h 875728"/>
                <a:gd name="connsiteX35" fmla="*/ 157829 w 1471421"/>
                <a:gd name="connsiteY35" fmla="*/ 191 h 875728"/>
                <a:gd name="connsiteX36" fmla="*/ 1255395 w 1471421"/>
                <a:gd name="connsiteY36" fmla="*/ 736663 h 875728"/>
                <a:gd name="connsiteX37" fmla="*/ 947452 w 1471421"/>
                <a:gd name="connsiteY37" fmla="*/ 736663 h 875728"/>
                <a:gd name="connsiteX38" fmla="*/ 947452 w 1471421"/>
                <a:gd name="connsiteY38" fmla="*/ 496157 h 875728"/>
                <a:gd name="connsiteX39" fmla="*/ 1062609 w 1471421"/>
                <a:gd name="connsiteY39" fmla="*/ 381857 h 875728"/>
                <a:gd name="connsiteX40" fmla="*/ 1255395 w 1471421"/>
                <a:gd name="connsiteY40" fmla="*/ 381857 h 875728"/>
                <a:gd name="connsiteX41" fmla="*/ 1255395 w 1471421"/>
                <a:gd name="connsiteY41" fmla="*/ 736663 h 87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71421" h="875728">
                  <a:moveTo>
                    <a:pt x="157829" y="0"/>
                  </a:moveTo>
                  <a:lnTo>
                    <a:pt x="157829" y="53245"/>
                  </a:lnTo>
                  <a:lnTo>
                    <a:pt x="157829" y="105632"/>
                  </a:lnTo>
                  <a:cubicBezTo>
                    <a:pt x="157829" y="132683"/>
                    <a:pt x="175832" y="155638"/>
                    <a:pt x="200406" y="163354"/>
                  </a:cubicBezTo>
                  <a:cubicBezTo>
                    <a:pt x="206121" y="165163"/>
                    <a:pt x="212122" y="166116"/>
                    <a:pt x="218313" y="166116"/>
                  </a:cubicBezTo>
                  <a:lnTo>
                    <a:pt x="312515" y="166116"/>
                  </a:lnTo>
                  <a:lnTo>
                    <a:pt x="314134" y="166116"/>
                  </a:lnTo>
                  <a:lnTo>
                    <a:pt x="314801" y="442722"/>
                  </a:lnTo>
                  <a:lnTo>
                    <a:pt x="314801" y="444913"/>
                  </a:lnTo>
                  <a:lnTo>
                    <a:pt x="314801" y="444913"/>
                  </a:lnTo>
                  <a:lnTo>
                    <a:pt x="232982" y="444913"/>
                  </a:lnTo>
                  <a:cubicBezTo>
                    <a:pt x="199263" y="444913"/>
                    <a:pt x="169164" y="467201"/>
                    <a:pt x="162020" y="498538"/>
                  </a:cubicBezTo>
                  <a:cubicBezTo>
                    <a:pt x="160973" y="503015"/>
                    <a:pt x="160496" y="507683"/>
                    <a:pt x="160401" y="512540"/>
                  </a:cubicBezTo>
                  <a:lnTo>
                    <a:pt x="160211" y="543497"/>
                  </a:lnTo>
                  <a:cubicBezTo>
                    <a:pt x="160020" y="576739"/>
                    <a:pt x="132969" y="603980"/>
                    <a:pt x="99726" y="603980"/>
                  </a:cubicBezTo>
                  <a:lnTo>
                    <a:pt x="381" y="603980"/>
                  </a:lnTo>
                  <a:lnTo>
                    <a:pt x="381" y="743712"/>
                  </a:lnTo>
                  <a:lnTo>
                    <a:pt x="0" y="743712"/>
                  </a:lnTo>
                  <a:lnTo>
                    <a:pt x="0" y="747141"/>
                  </a:lnTo>
                  <a:lnTo>
                    <a:pt x="146114" y="747141"/>
                  </a:lnTo>
                  <a:cubicBezTo>
                    <a:pt x="177832" y="747141"/>
                    <a:pt x="203740" y="773049"/>
                    <a:pt x="203740" y="804767"/>
                  </a:cubicBezTo>
                  <a:lnTo>
                    <a:pt x="203740" y="824770"/>
                  </a:lnTo>
                  <a:cubicBezTo>
                    <a:pt x="203740" y="846773"/>
                    <a:pt x="191167" y="866013"/>
                    <a:pt x="172879" y="875729"/>
                  </a:cubicBezTo>
                  <a:lnTo>
                    <a:pt x="232600" y="875729"/>
                  </a:lnTo>
                  <a:cubicBezTo>
                    <a:pt x="274891" y="875729"/>
                    <a:pt x="309943" y="843439"/>
                    <a:pt x="313373" y="801243"/>
                  </a:cubicBezTo>
                  <a:cubicBezTo>
                    <a:pt x="316230" y="765334"/>
                    <a:pt x="346615" y="736854"/>
                    <a:pt x="383191" y="736854"/>
                  </a:cubicBezTo>
                  <a:lnTo>
                    <a:pt x="498539" y="736854"/>
                  </a:lnTo>
                  <a:lnTo>
                    <a:pt x="548068" y="736854"/>
                  </a:lnTo>
                  <a:lnTo>
                    <a:pt x="1256157" y="736854"/>
                  </a:lnTo>
                  <a:lnTo>
                    <a:pt x="1256157" y="745427"/>
                  </a:lnTo>
                  <a:cubicBezTo>
                    <a:pt x="1256157" y="808292"/>
                    <a:pt x="1307592" y="859727"/>
                    <a:pt x="1370457" y="859727"/>
                  </a:cubicBezTo>
                  <a:lnTo>
                    <a:pt x="1471422" y="859727"/>
                  </a:lnTo>
                  <a:lnTo>
                    <a:pt x="1471422" y="843439"/>
                  </a:lnTo>
                  <a:lnTo>
                    <a:pt x="1471422" y="390620"/>
                  </a:lnTo>
                  <a:lnTo>
                    <a:pt x="1471422" y="191"/>
                  </a:lnTo>
                  <a:lnTo>
                    <a:pt x="157829" y="191"/>
                  </a:lnTo>
                  <a:close/>
                  <a:moveTo>
                    <a:pt x="1255395" y="736663"/>
                  </a:moveTo>
                  <a:lnTo>
                    <a:pt x="947452" y="736663"/>
                  </a:lnTo>
                  <a:lnTo>
                    <a:pt x="947452" y="496157"/>
                  </a:lnTo>
                  <a:cubicBezTo>
                    <a:pt x="947452" y="433292"/>
                    <a:pt x="999268" y="381857"/>
                    <a:pt x="1062609" y="381857"/>
                  </a:cubicBezTo>
                  <a:lnTo>
                    <a:pt x="1255395" y="381857"/>
                  </a:lnTo>
                  <a:lnTo>
                    <a:pt x="1255395" y="736663"/>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30" name="Freeform: Shape 129">
              <a:extLst>
                <a:ext uri="{FF2B5EF4-FFF2-40B4-BE49-F238E27FC236}">
                  <a16:creationId xmlns:a16="http://schemas.microsoft.com/office/drawing/2014/main" id="{F365C1AE-BE6C-4275-82BA-282E4009909E}"/>
                </a:ext>
              </a:extLst>
            </p:cNvPr>
            <p:cNvSpPr/>
            <p:nvPr/>
          </p:nvSpPr>
          <p:spPr>
            <a:xfrm>
              <a:off x="5911136" y="3026362"/>
              <a:ext cx="307943" cy="354806"/>
            </a:xfrm>
            <a:custGeom>
              <a:avLst/>
              <a:gdLst>
                <a:gd name="connsiteX0" fmla="*/ 115158 w 307943"/>
                <a:gd name="connsiteY0" fmla="*/ 0 h 354806"/>
                <a:gd name="connsiteX1" fmla="*/ 0 w 307943"/>
                <a:gd name="connsiteY1" fmla="*/ 114300 h 354806"/>
                <a:gd name="connsiteX2" fmla="*/ 0 w 307943"/>
                <a:gd name="connsiteY2" fmla="*/ 354806 h 354806"/>
                <a:gd name="connsiteX3" fmla="*/ 307943 w 307943"/>
                <a:gd name="connsiteY3" fmla="*/ 354806 h 354806"/>
                <a:gd name="connsiteX4" fmla="*/ 307943 w 307943"/>
                <a:gd name="connsiteY4" fmla="*/ 0 h 354806"/>
                <a:gd name="connsiteX5" fmla="*/ 115158 w 307943"/>
                <a:gd name="connsiteY5" fmla="*/ 0 h 35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943" h="354806">
                  <a:moveTo>
                    <a:pt x="115158" y="0"/>
                  </a:moveTo>
                  <a:cubicBezTo>
                    <a:pt x="51816" y="0"/>
                    <a:pt x="0" y="51435"/>
                    <a:pt x="0" y="114300"/>
                  </a:cubicBezTo>
                  <a:lnTo>
                    <a:pt x="0" y="354806"/>
                  </a:lnTo>
                  <a:lnTo>
                    <a:pt x="307943" y="354806"/>
                  </a:lnTo>
                  <a:lnTo>
                    <a:pt x="307943" y="0"/>
                  </a:lnTo>
                  <a:lnTo>
                    <a:pt x="11515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31" name="Freeform: Shape 130">
              <a:extLst>
                <a:ext uri="{FF2B5EF4-FFF2-40B4-BE49-F238E27FC236}">
                  <a16:creationId xmlns:a16="http://schemas.microsoft.com/office/drawing/2014/main" id="{2B3D20F9-63D4-4DC8-9C2C-A0EE3A910E57}"/>
                </a:ext>
              </a:extLst>
            </p:cNvPr>
            <p:cNvSpPr/>
            <p:nvPr/>
          </p:nvSpPr>
          <p:spPr>
            <a:xfrm>
              <a:off x="4803283" y="-24876"/>
              <a:ext cx="1632204" cy="2667095"/>
            </a:xfrm>
            <a:custGeom>
              <a:avLst/>
              <a:gdLst>
                <a:gd name="connsiteX0" fmla="*/ 1496949 w 1632204"/>
                <a:gd name="connsiteY0" fmla="*/ 1233678 h 2667095"/>
                <a:gd name="connsiteX1" fmla="*/ 1436942 w 1632204"/>
                <a:gd name="connsiteY1" fmla="*/ 1173671 h 2667095"/>
                <a:gd name="connsiteX2" fmla="*/ 1436942 w 1632204"/>
                <a:gd name="connsiteY2" fmla="*/ 1152811 h 2667095"/>
                <a:gd name="connsiteX3" fmla="*/ 1496949 w 1632204"/>
                <a:gd name="connsiteY3" fmla="*/ 1092803 h 2667095"/>
                <a:gd name="connsiteX4" fmla="*/ 1629346 w 1632204"/>
                <a:gd name="connsiteY4" fmla="*/ 1092803 h 2667095"/>
                <a:gd name="connsiteX5" fmla="*/ 1629823 w 1632204"/>
                <a:gd name="connsiteY5" fmla="*/ 596932 h 2667095"/>
                <a:gd name="connsiteX6" fmla="*/ 1264444 w 1632204"/>
                <a:gd name="connsiteY6" fmla="*/ 596932 h 2667095"/>
                <a:gd name="connsiteX7" fmla="*/ 1264444 w 1632204"/>
                <a:gd name="connsiteY7" fmla="*/ 96869 h 2667095"/>
                <a:gd name="connsiteX8" fmla="*/ 1167574 w 1632204"/>
                <a:gd name="connsiteY8" fmla="*/ 0 h 2667095"/>
                <a:gd name="connsiteX9" fmla="*/ 0 w 1632204"/>
                <a:gd name="connsiteY9" fmla="*/ 0 h 2667095"/>
                <a:gd name="connsiteX10" fmla="*/ 0 w 1632204"/>
                <a:gd name="connsiteY10" fmla="*/ 285464 h 2667095"/>
                <a:gd name="connsiteX11" fmla="*/ 82296 w 1632204"/>
                <a:gd name="connsiteY11" fmla="*/ 285464 h 2667095"/>
                <a:gd name="connsiteX12" fmla="*/ 218789 w 1632204"/>
                <a:gd name="connsiteY12" fmla="*/ 421958 h 2667095"/>
                <a:gd name="connsiteX13" fmla="*/ 218789 w 1632204"/>
                <a:gd name="connsiteY13" fmla="*/ 599980 h 2667095"/>
                <a:gd name="connsiteX14" fmla="*/ 882587 w 1632204"/>
                <a:gd name="connsiteY14" fmla="*/ 599980 h 2667095"/>
                <a:gd name="connsiteX15" fmla="*/ 879919 w 1632204"/>
                <a:gd name="connsiteY15" fmla="*/ 1064324 h 2667095"/>
                <a:gd name="connsiteX16" fmla="*/ 879919 w 1632204"/>
                <a:gd name="connsiteY16" fmla="*/ 1076516 h 2667095"/>
                <a:gd name="connsiteX17" fmla="*/ 872966 w 1632204"/>
                <a:gd name="connsiteY17" fmla="*/ 1076516 h 2667095"/>
                <a:gd name="connsiteX18" fmla="*/ 864203 w 1632204"/>
                <a:gd name="connsiteY18" fmla="*/ 1076516 h 2667095"/>
                <a:gd name="connsiteX19" fmla="*/ 856011 w 1632204"/>
                <a:gd name="connsiteY19" fmla="*/ 1076897 h 2667095"/>
                <a:gd name="connsiteX20" fmla="*/ 853440 w 1632204"/>
                <a:gd name="connsiteY20" fmla="*/ 1077278 h 2667095"/>
                <a:gd name="connsiteX21" fmla="*/ 848106 w 1632204"/>
                <a:gd name="connsiteY21" fmla="*/ 1078135 h 2667095"/>
                <a:gd name="connsiteX22" fmla="*/ 847439 w 1632204"/>
                <a:gd name="connsiteY22" fmla="*/ 1078325 h 2667095"/>
                <a:gd name="connsiteX23" fmla="*/ 845153 w 1632204"/>
                <a:gd name="connsiteY23" fmla="*/ 1078897 h 2667095"/>
                <a:gd name="connsiteX24" fmla="*/ 840486 w 1632204"/>
                <a:gd name="connsiteY24" fmla="*/ 1080135 h 2667095"/>
                <a:gd name="connsiteX25" fmla="*/ 837438 w 1632204"/>
                <a:gd name="connsiteY25" fmla="*/ 1081183 h 2667095"/>
                <a:gd name="connsiteX26" fmla="*/ 833056 w 1632204"/>
                <a:gd name="connsiteY26" fmla="*/ 1082802 h 2667095"/>
                <a:gd name="connsiteX27" fmla="*/ 830104 w 1632204"/>
                <a:gd name="connsiteY27" fmla="*/ 1084136 h 2667095"/>
                <a:gd name="connsiteX28" fmla="*/ 826008 w 1632204"/>
                <a:gd name="connsiteY28" fmla="*/ 1086136 h 2667095"/>
                <a:gd name="connsiteX29" fmla="*/ 824484 w 1632204"/>
                <a:gd name="connsiteY29" fmla="*/ 1086993 h 2667095"/>
                <a:gd name="connsiteX30" fmla="*/ 823055 w 1632204"/>
                <a:gd name="connsiteY30" fmla="*/ 1087755 h 2667095"/>
                <a:gd name="connsiteX31" fmla="*/ 819150 w 1632204"/>
                <a:gd name="connsiteY31" fmla="*/ 1090136 h 2667095"/>
                <a:gd name="connsiteX32" fmla="*/ 818674 w 1632204"/>
                <a:gd name="connsiteY32" fmla="*/ 1090422 h 2667095"/>
                <a:gd name="connsiteX33" fmla="*/ 816483 w 1632204"/>
                <a:gd name="connsiteY33" fmla="*/ 1091946 h 2667095"/>
                <a:gd name="connsiteX34" fmla="*/ 812768 w 1632204"/>
                <a:gd name="connsiteY34" fmla="*/ 1094708 h 2667095"/>
                <a:gd name="connsiteX35" fmla="*/ 810292 w 1632204"/>
                <a:gd name="connsiteY35" fmla="*/ 1096709 h 2667095"/>
                <a:gd name="connsiteX36" fmla="*/ 806767 w 1632204"/>
                <a:gd name="connsiteY36" fmla="*/ 1099852 h 2667095"/>
                <a:gd name="connsiteX37" fmla="*/ 804577 w 1632204"/>
                <a:gd name="connsiteY37" fmla="*/ 1101947 h 2667095"/>
                <a:gd name="connsiteX38" fmla="*/ 801148 w 1632204"/>
                <a:gd name="connsiteY38" fmla="*/ 1105662 h 2667095"/>
                <a:gd name="connsiteX39" fmla="*/ 799434 w 1632204"/>
                <a:gd name="connsiteY39" fmla="*/ 1107662 h 2667095"/>
                <a:gd name="connsiteX40" fmla="*/ 795909 w 1632204"/>
                <a:gd name="connsiteY40" fmla="*/ 1112330 h 2667095"/>
                <a:gd name="connsiteX41" fmla="*/ 795814 w 1632204"/>
                <a:gd name="connsiteY41" fmla="*/ 1112520 h 2667095"/>
                <a:gd name="connsiteX42" fmla="*/ 794861 w 1632204"/>
                <a:gd name="connsiteY42" fmla="*/ 1113854 h 2667095"/>
                <a:gd name="connsiteX43" fmla="*/ 790765 w 1632204"/>
                <a:gd name="connsiteY43" fmla="*/ 1120521 h 2667095"/>
                <a:gd name="connsiteX44" fmla="*/ 790480 w 1632204"/>
                <a:gd name="connsiteY44" fmla="*/ 1121093 h 2667095"/>
                <a:gd name="connsiteX45" fmla="*/ 787337 w 1632204"/>
                <a:gd name="connsiteY45" fmla="*/ 1127570 h 2667095"/>
                <a:gd name="connsiteX46" fmla="*/ 786479 w 1632204"/>
                <a:gd name="connsiteY46" fmla="*/ 1129951 h 2667095"/>
                <a:gd name="connsiteX47" fmla="*/ 784669 w 1632204"/>
                <a:gd name="connsiteY47" fmla="*/ 1134904 h 2667095"/>
                <a:gd name="connsiteX48" fmla="*/ 783908 w 1632204"/>
                <a:gd name="connsiteY48" fmla="*/ 1137666 h 2667095"/>
                <a:gd name="connsiteX49" fmla="*/ 783908 w 1632204"/>
                <a:gd name="connsiteY49" fmla="*/ 1137857 h 2667095"/>
                <a:gd name="connsiteX50" fmla="*/ 782669 w 1632204"/>
                <a:gd name="connsiteY50" fmla="*/ 1142524 h 2667095"/>
                <a:gd name="connsiteX51" fmla="*/ 782574 w 1632204"/>
                <a:gd name="connsiteY51" fmla="*/ 1143000 h 2667095"/>
                <a:gd name="connsiteX52" fmla="*/ 782098 w 1632204"/>
                <a:gd name="connsiteY52" fmla="*/ 1145762 h 2667095"/>
                <a:gd name="connsiteX53" fmla="*/ 780764 w 1632204"/>
                <a:gd name="connsiteY53" fmla="*/ 1160336 h 2667095"/>
                <a:gd name="connsiteX54" fmla="*/ 709517 w 1632204"/>
                <a:gd name="connsiteY54" fmla="*/ 1218438 h 2667095"/>
                <a:gd name="connsiteX55" fmla="*/ 702850 w 1632204"/>
                <a:gd name="connsiteY55" fmla="*/ 1218819 h 2667095"/>
                <a:gd name="connsiteX56" fmla="*/ 700754 w 1632204"/>
                <a:gd name="connsiteY56" fmla="*/ 1219010 h 2667095"/>
                <a:gd name="connsiteX57" fmla="*/ 699802 w 1632204"/>
                <a:gd name="connsiteY57" fmla="*/ 1219105 h 2667095"/>
                <a:gd name="connsiteX58" fmla="*/ 693801 w 1632204"/>
                <a:gd name="connsiteY58" fmla="*/ 1220057 h 2667095"/>
                <a:gd name="connsiteX59" fmla="*/ 692563 w 1632204"/>
                <a:gd name="connsiteY59" fmla="*/ 1220248 h 2667095"/>
                <a:gd name="connsiteX60" fmla="*/ 627031 w 1632204"/>
                <a:gd name="connsiteY60" fmla="*/ 1290923 h 2667095"/>
                <a:gd name="connsiteX61" fmla="*/ 626745 w 1632204"/>
                <a:gd name="connsiteY61" fmla="*/ 1359884 h 2667095"/>
                <a:gd name="connsiteX62" fmla="*/ 626174 w 1632204"/>
                <a:gd name="connsiteY62" fmla="*/ 1359884 h 2667095"/>
                <a:gd name="connsiteX63" fmla="*/ 626174 w 1632204"/>
                <a:gd name="connsiteY63" fmla="*/ 1359884 h 2667095"/>
                <a:gd name="connsiteX64" fmla="*/ 887349 w 1632204"/>
                <a:gd name="connsiteY64" fmla="*/ 1359884 h 2667095"/>
                <a:gd name="connsiteX65" fmla="*/ 957358 w 1632204"/>
                <a:gd name="connsiteY65" fmla="*/ 1429893 h 2667095"/>
                <a:gd name="connsiteX66" fmla="*/ 957358 w 1632204"/>
                <a:gd name="connsiteY66" fmla="*/ 1454277 h 2667095"/>
                <a:gd name="connsiteX67" fmla="*/ 887349 w 1632204"/>
                <a:gd name="connsiteY67" fmla="*/ 1524286 h 2667095"/>
                <a:gd name="connsiteX68" fmla="*/ 626174 w 1632204"/>
                <a:gd name="connsiteY68" fmla="*/ 1524286 h 2667095"/>
                <a:gd name="connsiteX69" fmla="*/ 626174 w 1632204"/>
                <a:gd name="connsiteY69" fmla="*/ 1814417 h 2667095"/>
                <a:gd name="connsiteX70" fmla="*/ 626174 w 1632204"/>
                <a:gd name="connsiteY70" fmla="*/ 1959959 h 2667095"/>
                <a:gd name="connsiteX71" fmla="*/ 1134046 w 1632204"/>
                <a:gd name="connsiteY71" fmla="*/ 1959959 h 2667095"/>
                <a:gd name="connsiteX72" fmla="*/ 1249204 w 1632204"/>
                <a:gd name="connsiteY72" fmla="*/ 2074259 h 2667095"/>
                <a:gd name="connsiteX73" fmla="*/ 1249204 w 1632204"/>
                <a:gd name="connsiteY73" fmla="*/ 2667095 h 2667095"/>
                <a:gd name="connsiteX74" fmla="*/ 1632204 w 1632204"/>
                <a:gd name="connsiteY74" fmla="*/ 2667095 h 2667095"/>
                <a:gd name="connsiteX75" fmla="*/ 1632204 w 1632204"/>
                <a:gd name="connsiteY75" fmla="*/ 1233678 h 2667095"/>
                <a:gd name="connsiteX76" fmla="*/ 1496949 w 1632204"/>
                <a:gd name="connsiteY76" fmla="*/ 1233678 h 2667095"/>
                <a:gd name="connsiteX77" fmla="*/ 1277398 w 1632204"/>
                <a:gd name="connsiteY77" fmla="*/ 1311974 h 2667095"/>
                <a:gd name="connsiteX78" fmla="*/ 1217390 w 1632204"/>
                <a:gd name="connsiteY78" fmla="*/ 1371981 h 2667095"/>
                <a:gd name="connsiteX79" fmla="*/ 1196530 w 1632204"/>
                <a:gd name="connsiteY79" fmla="*/ 1371981 h 2667095"/>
                <a:gd name="connsiteX80" fmla="*/ 1136523 w 1632204"/>
                <a:gd name="connsiteY80" fmla="*/ 1313117 h 2667095"/>
                <a:gd name="connsiteX81" fmla="*/ 1055560 w 1632204"/>
                <a:gd name="connsiteY81" fmla="*/ 1233583 h 2667095"/>
                <a:gd name="connsiteX82" fmla="*/ 1016222 w 1632204"/>
                <a:gd name="connsiteY82" fmla="*/ 1233583 h 2667095"/>
                <a:gd name="connsiteX83" fmla="*/ 956215 w 1632204"/>
                <a:gd name="connsiteY83" fmla="*/ 1173575 h 2667095"/>
                <a:gd name="connsiteX84" fmla="*/ 956215 w 1632204"/>
                <a:gd name="connsiteY84" fmla="*/ 1152716 h 2667095"/>
                <a:gd name="connsiteX85" fmla="*/ 1016222 w 1632204"/>
                <a:gd name="connsiteY85" fmla="*/ 1092708 h 2667095"/>
                <a:gd name="connsiteX86" fmla="*/ 1181005 w 1632204"/>
                <a:gd name="connsiteY86" fmla="*/ 1092708 h 2667095"/>
                <a:gd name="connsiteX87" fmla="*/ 1189959 w 1632204"/>
                <a:gd name="connsiteY87" fmla="*/ 1092232 h 2667095"/>
                <a:gd name="connsiteX88" fmla="*/ 1196530 w 1632204"/>
                <a:gd name="connsiteY88" fmla="*/ 1091851 h 2667095"/>
                <a:gd name="connsiteX89" fmla="*/ 1217390 w 1632204"/>
                <a:gd name="connsiteY89" fmla="*/ 1091851 h 2667095"/>
                <a:gd name="connsiteX90" fmla="*/ 1277398 w 1632204"/>
                <a:gd name="connsiteY90" fmla="*/ 1151858 h 2667095"/>
                <a:gd name="connsiteX91" fmla="*/ 1277398 w 1632204"/>
                <a:gd name="connsiteY91" fmla="*/ 1311974 h 266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632204" h="2667095">
                  <a:moveTo>
                    <a:pt x="1496949" y="1233678"/>
                  </a:moveTo>
                  <a:cubicBezTo>
                    <a:pt x="1463992" y="1233678"/>
                    <a:pt x="1436942" y="1206627"/>
                    <a:pt x="1436942" y="1173671"/>
                  </a:cubicBezTo>
                  <a:lnTo>
                    <a:pt x="1436942" y="1152811"/>
                  </a:lnTo>
                  <a:cubicBezTo>
                    <a:pt x="1436942" y="1119854"/>
                    <a:pt x="1463897" y="1092803"/>
                    <a:pt x="1496949" y="1092803"/>
                  </a:cubicBezTo>
                  <a:lnTo>
                    <a:pt x="1629346" y="1092803"/>
                  </a:lnTo>
                  <a:lnTo>
                    <a:pt x="1629823" y="596932"/>
                  </a:lnTo>
                  <a:lnTo>
                    <a:pt x="1264444" y="596932"/>
                  </a:lnTo>
                  <a:lnTo>
                    <a:pt x="1264444" y="96869"/>
                  </a:lnTo>
                  <a:cubicBezTo>
                    <a:pt x="1264444" y="43434"/>
                    <a:pt x="1221105" y="0"/>
                    <a:pt x="1167574" y="0"/>
                  </a:cubicBezTo>
                  <a:lnTo>
                    <a:pt x="0" y="0"/>
                  </a:lnTo>
                  <a:lnTo>
                    <a:pt x="0" y="285464"/>
                  </a:lnTo>
                  <a:lnTo>
                    <a:pt x="82296" y="285464"/>
                  </a:lnTo>
                  <a:cubicBezTo>
                    <a:pt x="157734" y="285464"/>
                    <a:pt x="218789" y="346615"/>
                    <a:pt x="218789" y="421958"/>
                  </a:cubicBezTo>
                  <a:lnTo>
                    <a:pt x="218789" y="599980"/>
                  </a:lnTo>
                  <a:lnTo>
                    <a:pt x="882587" y="599980"/>
                  </a:lnTo>
                  <a:cubicBezTo>
                    <a:pt x="882587" y="790861"/>
                    <a:pt x="879634" y="920306"/>
                    <a:pt x="879919" y="1064324"/>
                  </a:cubicBezTo>
                  <a:cubicBezTo>
                    <a:pt x="880967" y="1072229"/>
                    <a:pt x="881062" y="1076516"/>
                    <a:pt x="879919" y="1076516"/>
                  </a:cubicBezTo>
                  <a:lnTo>
                    <a:pt x="872966" y="1076516"/>
                  </a:lnTo>
                  <a:cubicBezTo>
                    <a:pt x="869537" y="1076611"/>
                    <a:pt x="866489" y="1076516"/>
                    <a:pt x="864203" y="1076516"/>
                  </a:cubicBezTo>
                  <a:cubicBezTo>
                    <a:pt x="861441" y="1076516"/>
                    <a:pt x="858679" y="1076706"/>
                    <a:pt x="856011" y="1076897"/>
                  </a:cubicBezTo>
                  <a:cubicBezTo>
                    <a:pt x="855155" y="1076992"/>
                    <a:pt x="854297" y="1077182"/>
                    <a:pt x="853440" y="1077278"/>
                  </a:cubicBezTo>
                  <a:cubicBezTo>
                    <a:pt x="851630" y="1077468"/>
                    <a:pt x="849821" y="1077754"/>
                    <a:pt x="848106" y="1078135"/>
                  </a:cubicBezTo>
                  <a:cubicBezTo>
                    <a:pt x="847915" y="1078135"/>
                    <a:pt x="847630" y="1078230"/>
                    <a:pt x="847439" y="1078325"/>
                  </a:cubicBezTo>
                  <a:cubicBezTo>
                    <a:pt x="846677" y="1078516"/>
                    <a:pt x="845915" y="1078706"/>
                    <a:pt x="845153" y="1078897"/>
                  </a:cubicBezTo>
                  <a:cubicBezTo>
                    <a:pt x="843534" y="1079278"/>
                    <a:pt x="842010" y="1079659"/>
                    <a:pt x="840486" y="1080135"/>
                  </a:cubicBezTo>
                  <a:cubicBezTo>
                    <a:pt x="839438" y="1080421"/>
                    <a:pt x="838486" y="1080802"/>
                    <a:pt x="837438" y="1081183"/>
                  </a:cubicBezTo>
                  <a:cubicBezTo>
                    <a:pt x="836009" y="1081659"/>
                    <a:pt x="834485" y="1082231"/>
                    <a:pt x="833056" y="1082802"/>
                  </a:cubicBezTo>
                  <a:cubicBezTo>
                    <a:pt x="832009" y="1083183"/>
                    <a:pt x="831056" y="1083659"/>
                    <a:pt x="830104" y="1084136"/>
                  </a:cubicBezTo>
                  <a:cubicBezTo>
                    <a:pt x="828675" y="1084802"/>
                    <a:pt x="827342" y="1085374"/>
                    <a:pt x="826008" y="1086136"/>
                  </a:cubicBezTo>
                  <a:cubicBezTo>
                    <a:pt x="825532" y="1086422"/>
                    <a:pt x="825055" y="1086707"/>
                    <a:pt x="824484" y="1086993"/>
                  </a:cubicBezTo>
                  <a:cubicBezTo>
                    <a:pt x="824008" y="1087279"/>
                    <a:pt x="823531" y="1087469"/>
                    <a:pt x="823055" y="1087755"/>
                  </a:cubicBezTo>
                  <a:cubicBezTo>
                    <a:pt x="821722" y="1088517"/>
                    <a:pt x="820483" y="1089279"/>
                    <a:pt x="819150" y="1090136"/>
                  </a:cubicBezTo>
                  <a:cubicBezTo>
                    <a:pt x="818960" y="1090232"/>
                    <a:pt x="818864" y="1090327"/>
                    <a:pt x="818674" y="1090422"/>
                  </a:cubicBezTo>
                  <a:cubicBezTo>
                    <a:pt x="817911" y="1090898"/>
                    <a:pt x="817150" y="1091375"/>
                    <a:pt x="816483" y="1091946"/>
                  </a:cubicBezTo>
                  <a:cubicBezTo>
                    <a:pt x="815245" y="1092803"/>
                    <a:pt x="814006" y="1093756"/>
                    <a:pt x="812768" y="1094708"/>
                  </a:cubicBezTo>
                  <a:cubicBezTo>
                    <a:pt x="811911" y="1095375"/>
                    <a:pt x="811149" y="1095947"/>
                    <a:pt x="810292" y="1096709"/>
                  </a:cubicBezTo>
                  <a:cubicBezTo>
                    <a:pt x="809053" y="1097756"/>
                    <a:pt x="807910" y="1098804"/>
                    <a:pt x="806767" y="1099852"/>
                  </a:cubicBezTo>
                  <a:cubicBezTo>
                    <a:pt x="806005" y="1100519"/>
                    <a:pt x="805339" y="1101185"/>
                    <a:pt x="804577" y="1101947"/>
                  </a:cubicBezTo>
                  <a:cubicBezTo>
                    <a:pt x="803434" y="1103186"/>
                    <a:pt x="802291" y="1104424"/>
                    <a:pt x="801148" y="1105662"/>
                  </a:cubicBezTo>
                  <a:cubicBezTo>
                    <a:pt x="800576" y="1106329"/>
                    <a:pt x="799910" y="1106996"/>
                    <a:pt x="799434" y="1107662"/>
                  </a:cubicBezTo>
                  <a:cubicBezTo>
                    <a:pt x="798195" y="1109186"/>
                    <a:pt x="797052" y="1110710"/>
                    <a:pt x="795909" y="1112330"/>
                  </a:cubicBezTo>
                  <a:cubicBezTo>
                    <a:pt x="795909" y="1112425"/>
                    <a:pt x="795814" y="1112425"/>
                    <a:pt x="795814" y="1112520"/>
                  </a:cubicBezTo>
                  <a:cubicBezTo>
                    <a:pt x="795528" y="1112996"/>
                    <a:pt x="795147" y="1113377"/>
                    <a:pt x="794861" y="1113854"/>
                  </a:cubicBezTo>
                  <a:cubicBezTo>
                    <a:pt x="793433" y="1116044"/>
                    <a:pt x="792004" y="1118235"/>
                    <a:pt x="790765" y="1120521"/>
                  </a:cubicBezTo>
                  <a:cubicBezTo>
                    <a:pt x="790670" y="1120712"/>
                    <a:pt x="790575" y="1120902"/>
                    <a:pt x="790480" y="1121093"/>
                  </a:cubicBezTo>
                  <a:cubicBezTo>
                    <a:pt x="789336" y="1123188"/>
                    <a:pt x="788289" y="1125379"/>
                    <a:pt x="787337" y="1127570"/>
                  </a:cubicBezTo>
                  <a:cubicBezTo>
                    <a:pt x="787051" y="1128332"/>
                    <a:pt x="786765" y="1129094"/>
                    <a:pt x="786479" y="1129951"/>
                  </a:cubicBezTo>
                  <a:cubicBezTo>
                    <a:pt x="785812" y="1131570"/>
                    <a:pt x="785146" y="1133285"/>
                    <a:pt x="784669" y="1134904"/>
                  </a:cubicBezTo>
                  <a:cubicBezTo>
                    <a:pt x="784384" y="1135856"/>
                    <a:pt x="784098" y="1136714"/>
                    <a:pt x="783908" y="1137666"/>
                  </a:cubicBezTo>
                  <a:cubicBezTo>
                    <a:pt x="783908" y="1137761"/>
                    <a:pt x="783908" y="1137761"/>
                    <a:pt x="783908" y="1137857"/>
                  </a:cubicBezTo>
                  <a:cubicBezTo>
                    <a:pt x="783431" y="1139381"/>
                    <a:pt x="783050" y="1141000"/>
                    <a:pt x="782669" y="1142524"/>
                  </a:cubicBezTo>
                  <a:cubicBezTo>
                    <a:pt x="782669" y="1142714"/>
                    <a:pt x="782574" y="1142905"/>
                    <a:pt x="782574" y="1143000"/>
                  </a:cubicBezTo>
                  <a:cubicBezTo>
                    <a:pt x="782383" y="1143953"/>
                    <a:pt x="782193" y="1144810"/>
                    <a:pt x="782098" y="1145762"/>
                  </a:cubicBezTo>
                  <a:cubicBezTo>
                    <a:pt x="781240" y="1150525"/>
                    <a:pt x="780764" y="1155287"/>
                    <a:pt x="780764" y="1160336"/>
                  </a:cubicBezTo>
                  <a:cubicBezTo>
                    <a:pt x="780288" y="1185863"/>
                    <a:pt x="744760" y="1217771"/>
                    <a:pt x="709517" y="1218438"/>
                  </a:cubicBezTo>
                  <a:cubicBezTo>
                    <a:pt x="707231" y="1218438"/>
                    <a:pt x="705040" y="1218628"/>
                    <a:pt x="702850" y="1218819"/>
                  </a:cubicBezTo>
                  <a:cubicBezTo>
                    <a:pt x="702183" y="1218914"/>
                    <a:pt x="701421" y="1218914"/>
                    <a:pt x="700754" y="1219010"/>
                  </a:cubicBezTo>
                  <a:cubicBezTo>
                    <a:pt x="700469" y="1219010"/>
                    <a:pt x="700087" y="1219105"/>
                    <a:pt x="699802" y="1219105"/>
                  </a:cubicBezTo>
                  <a:cubicBezTo>
                    <a:pt x="697801" y="1219391"/>
                    <a:pt x="695801" y="1219676"/>
                    <a:pt x="693801" y="1220057"/>
                  </a:cubicBezTo>
                  <a:cubicBezTo>
                    <a:pt x="693420" y="1220153"/>
                    <a:pt x="692943" y="1220248"/>
                    <a:pt x="692563" y="1220248"/>
                  </a:cubicBezTo>
                  <a:cubicBezTo>
                    <a:pt x="658273" y="1227487"/>
                    <a:pt x="631698" y="1255871"/>
                    <a:pt x="627031" y="1290923"/>
                  </a:cubicBezTo>
                  <a:lnTo>
                    <a:pt x="626745" y="1359884"/>
                  </a:lnTo>
                  <a:lnTo>
                    <a:pt x="626174" y="1359884"/>
                  </a:lnTo>
                  <a:lnTo>
                    <a:pt x="626174" y="1359884"/>
                  </a:lnTo>
                  <a:lnTo>
                    <a:pt x="887349" y="1359884"/>
                  </a:lnTo>
                  <a:cubicBezTo>
                    <a:pt x="925830" y="1359884"/>
                    <a:pt x="957358" y="1391412"/>
                    <a:pt x="957358" y="1429893"/>
                  </a:cubicBezTo>
                  <a:lnTo>
                    <a:pt x="957358" y="1454277"/>
                  </a:lnTo>
                  <a:cubicBezTo>
                    <a:pt x="957358" y="1492758"/>
                    <a:pt x="925830" y="1524286"/>
                    <a:pt x="887349" y="1524286"/>
                  </a:cubicBezTo>
                  <a:lnTo>
                    <a:pt x="626174" y="1524286"/>
                  </a:lnTo>
                  <a:lnTo>
                    <a:pt x="626174" y="1814417"/>
                  </a:lnTo>
                  <a:lnTo>
                    <a:pt x="626174" y="1959959"/>
                  </a:lnTo>
                  <a:lnTo>
                    <a:pt x="1134046" y="1959959"/>
                  </a:lnTo>
                  <a:cubicBezTo>
                    <a:pt x="1197388" y="1959959"/>
                    <a:pt x="1249204" y="2011394"/>
                    <a:pt x="1249204" y="2074259"/>
                  </a:cubicBezTo>
                  <a:lnTo>
                    <a:pt x="1249204" y="2667095"/>
                  </a:lnTo>
                  <a:lnTo>
                    <a:pt x="1632204" y="2667095"/>
                  </a:lnTo>
                  <a:lnTo>
                    <a:pt x="1632204" y="1233678"/>
                  </a:lnTo>
                  <a:lnTo>
                    <a:pt x="1496949" y="1233678"/>
                  </a:lnTo>
                  <a:close/>
                  <a:moveTo>
                    <a:pt x="1277398" y="1311974"/>
                  </a:moveTo>
                  <a:cubicBezTo>
                    <a:pt x="1277398" y="1344930"/>
                    <a:pt x="1250442" y="1371981"/>
                    <a:pt x="1217390" y="1371981"/>
                  </a:cubicBezTo>
                  <a:lnTo>
                    <a:pt x="1196530" y="1371981"/>
                  </a:lnTo>
                  <a:cubicBezTo>
                    <a:pt x="1163955" y="1371981"/>
                    <a:pt x="1137190" y="1345597"/>
                    <a:pt x="1136523" y="1313117"/>
                  </a:cubicBezTo>
                  <a:cubicBezTo>
                    <a:pt x="1135666" y="1269016"/>
                    <a:pt x="1099661" y="1233583"/>
                    <a:pt x="1055560" y="1233583"/>
                  </a:cubicBezTo>
                  <a:lnTo>
                    <a:pt x="1016222" y="1233583"/>
                  </a:lnTo>
                  <a:cubicBezTo>
                    <a:pt x="983266" y="1233583"/>
                    <a:pt x="956215" y="1206627"/>
                    <a:pt x="956215" y="1173575"/>
                  </a:cubicBezTo>
                  <a:lnTo>
                    <a:pt x="956215" y="1152716"/>
                  </a:lnTo>
                  <a:cubicBezTo>
                    <a:pt x="956215" y="1119759"/>
                    <a:pt x="983171" y="1092708"/>
                    <a:pt x="1016222" y="1092708"/>
                  </a:cubicBezTo>
                  <a:lnTo>
                    <a:pt x="1181005" y="1092708"/>
                  </a:lnTo>
                  <a:cubicBezTo>
                    <a:pt x="1184148" y="1092708"/>
                    <a:pt x="1186815" y="1092518"/>
                    <a:pt x="1189959" y="1092232"/>
                  </a:cubicBezTo>
                  <a:cubicBezTo>
                    <a:pt x="1192149" y="1091946"/>
                    <a:pt x="1194340" y="1091851"/>
                    <a:pt x="1196530" y="1091851"/>
                  </a:cubicBezTo>
                  <a:lnTo>
                    <a:pt x="1217390" y="1091851"/>
                  </a:lnTo>
                  <a:cubicBezTo>
                    <a:pt x="1250347" y="1091851"/>
                    <a:pt x="1277398" y="1118807"/>
                    <a:pt x="1277398" y="1151858"/>
                  </a:cubicBezTo>
                  <a:lnTo>
                    <a:pt x="1277398" y="1311974"/>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32" name="Freeform: Shape 131">
              <a:extLst>
                <a:ext uri="{FF2B5EF4-FFF2-40B4-BE49-F238E27FC236}">
                  <a16:creationId xmlns:a16="http://schemas.microsoft.com/office/drawing/2014/main" id="{AC70116A-7652-4811-8D66-234C32436A2F}"/>
                </a:ext>
              </a:extLst>
            </p:cNvPr>
            <p:cNvSpPr/>
            <p:nvPr/>
          </p:nvSpPr>
          <p:spPr>
            <a:xfrm>
              <a:off x="5121228" y="1934892"/>
              <a:ext cx="931164" cy="707326"/>
            </a:xfrm>
            <a:custGeom>
              <a:avLst/>
              <a:gdLst>
                <a:gd name="connsiteX0" fmla="*/ 931164 w 931164"/>
                <a:gd name="connsiteY0" fmla="*/ 114300 h 707326"/>
                <a:gd name="connsiteX1" fmla="*/ 816007 w 931164"/>
                <a:gd name="connsiteY1" fmla="*/ 0 h 707326"/>
                <a:gd name="connsiteX2" fmla="*/ 308134 w 931164"/>
                <a:gd name="connsiteY2" fmla="*/ 0 h 707326"/>
                <a:gd name="connsiteX3" fmla="*/ 308134 w 931164"/>
                <a:gd name="connsiteY3" fmla="*/ 143827 h 707326"/>
                <a:gd name="connsiteX4" fmla="*/ 308229 w 931164"/>
                <a:gd name="connsiteY4" fmla="*/ 143827 h 707326"/>
                <a:gd name="connsiteX5" fmla="*/ 308229 w 931164"/>
                <a:gd name="connsiteY5" fmla="*/ 206883 h 707326"/>
                <a:gd name="connsiteX6" fmla="*/ 308229 w 931164"/>
                <a:gd name="connsiteY6" fmla="*/ 219742 h 707326"/>
                <a:gd name="connsiteX7" fmla="*/ 308229 w 931164"/>
                <a:gd name="connsiteY7" fmla="*/ 227933 h 707326"/>
                <a:gd name="connsiteX8" fmla="*/ 308134 w 931164"/>
                <a:gd name="connsiteY8" fmla="*/ 229171 h 707326"/>
                <a:gd name="connsiteX9" fmla="*/ 308134 w 931164"/>
                <a:gd name="connsiteY9" fmla="*/ 230696 h 707326"/>
                <a:gd name="connsiteX10" fmla="*/ 307943 w 931164"/>
                <a:gd name="connsiteY10" fmla="*/ 232410 h 707326"/>
                <a:gd name="connsiteX11" fmla="*/ 307658 w 931164"/>
                <a:gd name="connsiteY11" fmla="*/ 235363 h 707326"/>
                <a:gd name="connsiteX12" fmla="*/ 307181 w 931164"/>
                <a:gd name="connsiteY12" fmla="*/ 238411 h 707326"/>
                <a:gd name="connsiteX13" fmla="*/ 306610 w 931164"/>
                <a:gd name="connsiteY13" fmla="*/ 241268 h 707326"/>
                <a:gd name="connsiteX14" fmla="*/ 305848 w 931164"/>
                <a:gd name="connsiteY14" fmla="*/ 244221 h 707326"/>
                <a:gd name="connsiteX15" fmla="*/ 304991 w 931164"/>
                <a:gd name="connsiteY15" fmla="*/ 246983 h 707326"/>
                <a:gd name="connsiteX16" fmla="*/ 303943 w 931164"/>
                <a:gd name="connsiteY16" fmla="*/ 249746 h 707326"/>
                <a:gd name="connsiteX17" fmla="*/ 302895 w 931164"/>
                <a:gd name="connsiteY17" fmla="*/ 252413 h 707326"/>
                <a:gd name="connsiteX18" fmla="*/ 301657 w 931164"/>
                <a:gd name="connsiteY18" fmla="*/ 254984 h 707326"/>
                <a:gd name="connsiteX19" fmla="*/ 300324 w 931164"/>
                <a:gd name="connsiteY19" fmla="*/ 257556 h 707326"/>
                <a:gd name="connsiteX20" fmla="*/ 298799 w 931164"/>
                <a:gd name="connsiteY20" fmla="*/ 260032 h 707326"/>
                <a:gd name="connsiteX21" fmla="*/ 297275 w 931164"/>
                <a:gd name="connsiteY21" fmla="*/ 262414 h 707326"/>
                <a:gd name="connsiteX22" fmla="*/ 295561 w 931164"/>
                <a:gd name="connsiteY22" fmla="*/ 264700 h 707326"/>
                <a:gd name="connsiteX23" fmla="*/ 293751 w 931164"/>
                <a:gd name="connsiteY23" fmla="*/ 266986 h 707326"/>
                <a:gd name="connsiteX24" fmla="*/ 291846 w 931164"/>
                <a:gd name="connsiteY24" fmla="*/ 269081 h 707326"/>
                <a:gd name="connsiteX25" fmla="*/ 289846 w 931164"/>
                <a:gd name="connsiteY25" fmla="*/ 271177 h 707326"/>
                <a:gd name="connsiteX26" fmla="*/ 287655 w 931164"/>
                <a:gd name="connsiteY26" fmla="*/ 273082 h 707326"/>
                <a:gd name="connsiteX27" fmla="*/ 285560 w 931164"/>
                <a:gd name="connsiteY27" fmla="*/ 274892 h 707326"/>
                <a:gd name="connsiteX28" fmla="*/ 283179 w 931164"/>
                <a:gd name="connsiteY28" fmla="*/ 276606 h 707326"/>
                <a:gd name="connsiteX29" fmla="*/ 280892 w 931164"/>
                <a:gd name="connsiteY29" fmla="*/ 278225 h 707326"/>
                <a:gd name="connsiteX30" fmla="*/ 278321 w 931164"/>
                <a:gd name="connsiteY30" fmla="*/ 279749 h 707326"/>
                <a:gd name="connsiteX31" fmla="*/ 275940 w 931164"/>
                <a:gd name="connsiteY31" fmla="*/ 281178 h 707326"/>
                <a:gd name="connsiteX32" fmla="*/ 273177 w 931164"/>
                <a:gd name="connsiteY32" fmla="*/ 282511 h 707326"/>
                <a:gd name="connsiteX33" fmla="*/ 270701 w 931164"/>
                <a:gd name="connsiteY33" fmla="*/ 283655 h 707326"/>
                <a:gd name="connsiteX34" fmla="*/ 267653 w 931164"/>
                <a:gd name="connsiteY34" fmla="*/ 284797 h 707326"/>
                <a:gd name="connsiteX35" fmla="*/ 265272 w 931164"/>
                <a:gd name="connsiteY35" fmla="*/ 285655 h 707326"/>
                <a:gd name="connsiteX36" fmla="*/ 261938 w 931164"/>
                <a:gd name="connsiteY36" fmla="*/ 286512 h 707326"/>
                <a:gd name="connsiteX37" fmla="*/ 259556 w 931164"/>
                <a:gd name="connsiteY37" fmla="*/ 287084 h 707326"/>
                <a:gd name="connsiteX38" fmla="*/ 255651 w 931164"/>
                <a:gd name="connsiteY38" fmla="*/ 287655 h 707326"/>
                <a:gd name="connsiteX39" fmla="*/ 253651 w 931164"/>
                <a:gd name="connsiteY39" fmla="*/ 287941 h 707326"/>
                <a:gd name="connsiteX40" fmla="*/ 247555 w 931164"/>
                <a:gd name="connsiteY40" fmla="*/ 288226 h 707326"/>
                <a:gd name="connsiteX41" fmla="*/ 157449 w 931164"/>
                <a:gd name="connsiteY41" fmla="*/ 288226 h 707326"/>
                <a:gd name="connsiteX42" fmla="*/ 157449 w 931164"/>
                <a:gd name="connsiteY42" fmla="*/ 363950 h 707326"/>
                <a:gd name="connsiteX43" fmla="*/ 96964 w 931164"/>
                <a:gd name="connsiteY43" fmla="*/ 424434 h 707326"/>
                <a:gd name="connsiteX44" fmla="*/ 0 w 931164"/>
                <a:gd name="connsiteY44" fmla="*/ 424434 h 707326"/>
                <a:gd name="connsiteX45" fmla="*/ 0 w 931164"/>
                <a:gd name="connsiteY45" fmla="*/ 707326 h 707326"/>
                <a:gd name="connsiteX46" fmla="*/ 930879 w 931164"/>
                <a:gd name="connsiteY46" fmla="*/ 707326 h 707326"/>
                <a:gd name="connsiteX47" fmla="*/ 930879 w 931164"/>
                <a:gd name="connsiteY47" fmla="*/ 114300 h 70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31164" h="707326">
                  <a:moveTo>
                    <a:pt x="931164" y="114300"/>
                  </a:moveTo>
                  <a:cubicBezTo>
                    <a:pt x="931164" y="51435"/>
                    <a:pt x="879348" y="0"/>
                    <a:pt x="816007" y="0"/>
                  </a:cubicBezTo>
                  <a:lnTo>
                    <a:pt x="308134" y="0"/>
                  </a:lnTo>
                  <a:lnTo>
                    <a:pt x="308134" y="143827"/>
                  </a:lnTo>
                  <a:lnTo>
                    <a:pt x="308229" y="143827"/>
                  </a:lnTo>
                  <a:lnTo>
                    <a:pt x="308229" y="206883"/>
                  </a:lnTo>
                  <a:lnTo>
                    <a:pt x="308229" y="219742"/>
                  </a:lnTo>
                  <a:lnTo>
                    <a:pt x="308229" y="227933"/>
                  </a:lnTo>
                  <a:cubicBezTo>
                    <a:pt x="308229" y="228314"/>
                    <a:pt x="308134" y="228790"/>
                    <a:pt x="308134" y="229171"/>
                  </a:cubicBezTo>
                  <a:lnTo>
                    <a:pt x="308134" y="230696"/>
                  </a:lnTo>
                  <a:cubicBezTo>
                    <a:pt x="308134" y="231267"/>
                    <a:pt x="308039" y="231838"/>
                    <a:pt x="307943" y="232410"/>
                  </a:cubicBezTo>
                  <a:cubicBezTo>
                    <a:pt x="307848" y="233363"/>
                    <a:pt x="307753" y="234315"/>
                    <a:pt x="307658" y="235363"/>
                  </a:cubicBezTo>
                  <a:cubicBezTo>
                    <a:pt x="307563" y="236410"/>
                    <a:pt x="307372" y="237363"/>
                    <a:pt x="307181" y="238411"/>
                  </a:cubicBezTo>
                  <a:cubicBezTo>
                    <a:pt x="306991" y="239363"/>
                    <a:pt x="306800" y="240316"/>
                    <a:pt x="306610" y="241268"/>
                  </a:cubicBezTo>
                  <a:cubicBezTo>
                    <a:pt x="306420" y="242221"/>
                    <a:pt x="306134" y="243173"/>
                    <a:pt x="305848" y="244221"/>
                  </a:cubicBezTo>
                  <a:cubicBezTo>
                    <a:pt x="305562" y="245173"/>
                    <a:pt x="305371" y="246031"/>
                    <a:pt x="304991" y="246983"/>
                  </a:cubicBezTo>
                  <a:cubicBezTo>
                    <a:pt x="304705" y="247936"/>
                    <a:pt x="304324" y="248793"/>
                    <a:pt x="303943" y="249746"/>
                  </a:cubicBezTo>
                  <a:cubicBezTo>
                    <a:pt x="303562" y="250603"/>
                    <a:pt x="303276" y="251555"/>
                    <a:pt x="302895" y="252413"/>
                  </a:cubicBezTo>
                  <a:cubicBezTo>
                    <a:pt x="302514" y="253270"/>
                    <a:pt x="302038" y="254127"/>
                    <a:pt x="301657" y="254984"/>
                  </a:cubicBezTo>
                  <a:cubicBezTo>
                    <a:pt x="301180" y="255842"/>
                    <a:pt x="300800" y="256699"/>
                    <a:pt x="300324" y="257556"/>
                  </a:cubicBezTo>
                  <a:cubicBezTo>
                    <a:pt x="299847" y="258413"/>
                    <a:pt x="299371" y="259175"/>
                    <a:pt x="298799" y="260032"/>
                  </a:cubicBezTo>
                  <a:cubicBezTo>
                    <a:pt x="298323" y="260794"/>
                    <a:pt x="297752" y="261652"/>
                    <a:pt x="297275" y="262414"/>
                  </a:cubicBezTo>
                  <a:cubicBezTo>
                    <a:pt x="296704" y="263176"/>
                    <a:pt x="296133" y="263938"/>
                    <a:pt x="295561" y="264700"/>
                  </a:cubicBezTo>
                  <a:cubicBezTo>
                    <a:pt x="294990" y="265462"/>
                    <a:pt x="294418" y="266224"/>
                    <a:pt x="293751" y="266986"/>
                  </a:cubicBezTo>
                  <a:cubicBezTo>
                    <a:pt x="293180" y="267748"/>
                    <a:pt x="292513" y="268414"/>
                    <a:pt x="291846" y="269081"/>
                  </a:cubicBezTo>
                  <a:cubicBezTo>
                    <a:pt x="291179" y="269748"/>
                    <a:pt x="290513" y="270510"/>
                    <a:pt x="289846" y="271177"/>
                  </a:cubicBezTo>
                  <a:cubicBezTo>
                    <a:pt x="289179" y="271843"/>
                    <a:pt x="288417" y="272510"/>
                    <a:pt x="287655" y="273082"/>
                  </a:cubicBezTo>
                  <a:cubicBezTo>
                    <a:pt x="286988" y="273748"/>
                    <a:pt x="286227" y="274320"/>
                    <a:pt x="285560" y="274892"/>
                  </a:cubicBezTo>
                  <a:cubicBezTo>
                    <a:pt x="284798" y="275463"/>
                    <a:pt x="284036" y="276034"/>
                    <a:pt x="283179" y="276606"/>
                  </a:cubicBezTo>
                  <a:cubicBezTo>
                    <a:pt x="282416" y="277177"/>
                    <a:pt x="281654" y="277749"/>
                    <a:pt x="280892" y="278225"/>
                  </a:cubicBezTo>
                  <a:cubicBezTo>
                    <a:pt x="280035" y="278797"/>
                    <a:pt x="279178" y="279273"/>
                    <a:pt x="278321" y="279749"/>
                  </a:cubicBezTo>
                  <a:cubicBezTo>
                    <a:pt x="277559" y="280225"/>
                    <a:pt x="276796" y="280702"/>
                    <a:pt x="275940" y="281178"/>
                  </a:cubicBezTo>
                  <a:cubicBezTo>
                    <a:pt x="274987" y="281654"/>
                    <a:pt x="274130" y="282130"/>
                    <a:pt x="273177" y="282511"/>
                  </a:cubicBezTo>
                  <a:cubicBezTo>
                    <a:pt x="272320" y="282892"/>
                    <a:pt x="271558" y="283273"/>
                    <a:pt x="270701" y="283655"/>
                  </a:cubicBezTo>
                  <a:cubicBezTo>
                    <a:pt x="269748" y="284035"/>
                    <a:pt x="268700" y="284417"/>
                    <a:pt x="267653" y="284797"/>
                  </a:cubicBezTo>
                  <a:cubicBezTo>
                    <a:pt x="266891" y="285083"/>
                    <a:pt x="266033" y="285369"/>
                    <a:pt x="265272" y="285655"/>
                  </a:cubicBezTo>
                  <a:cubicBezTo>
                    <a:pt x="264129" y="286036"/>
                    <a:pt x="263080" y="286226"/>
                    <a:pt x="261938" y="286512"/>
                  </a:cubicBezTo>
                  <a:cubicBezTo>
                    <a:pt x="261176" y="286702"/>
                    <a:pt x="260414" y="286988"/>
                    <a:pt x="259556" y="287084"/>
                  </a:cubicBezTo>
                  <a:cubicBezTo>
                    <a:pt x="258223" y="287369"/>
                    <a:pt x="256890" y="287464"/>
                    <a:pt x="255651" y="287655"/>
                  </a:cubicBezTo>
                  <a:cubicBezTo>
                    <a:pt x="254984" y="287750"/>
                    <a:pt x="254318" y="287846"/>
                    <a:pt x="253651" y="287941"/>
                  </a:cubicBezTo>
                  <a:cubicBezTo>
                    <a:pt x="251651" y="288131"/>
                    <a:pt x="249650" y="288226"/>
                    <a:pt x="247555" y="288226"/>
                  </a:cubicBezTo>
                  <a:lnTo>
                    <a:pt x="157449" y="288226"/>
                  </a:lnTo>
                  <a:lnTo>
                    <a:pt x="157449" y="363950"/>
                  </a:lnTo>
                  <a:cubicBezTo>
                    <a:pt x="157449" y="397192"/>
                    <a:pt x="130207" y="424434"/>
                    <a:pt x="96964" y="424434"/>
                  </a:cubicBezTo>
                  <a:lnTo>
                    <a:pt x="0" y="424434"/>
                  </a:lnTo>
                  <a:lnTo>
                    <a:pt x="0" y="707326"/>
                  </a:lnTo>
                  <a:lnTo>
                    <a:pt x="930879" y="707326"/>
                  </a:lnTo>
                  <a:lnTo>
                    <a:pt x="930879" y="11430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33" name="Freeform: Shape 132">
              <a:extLst>
                <a:ext uri="{FF2B5EF4-FFF2-40B4-BE49-F238E27FC236}">
                  <a16:creationId xmlns:a16="http://schemas.microsoft.com/office/drawing/2014/main" id="{B3880A1B-9EB4-45B9-9C91-A7B0300BDEE2}"/>
                </a:ext>
              </a:extLst>
            </p:cNvPr>
            <p:cNvSpPr/>
            <p:nvPr/>
          </p:nvSpPr>
          <p:spPr>
            <a:xfrm>
              <a:off x="4648978" y="4562649"/>
              <a:ext cx="325278" cy="429958"/>
            </a:xfrm>
            <a:custGeom>
              <a:avLst/>
              <a:gdLst>
                <a:gd name="connsiteX0" fmla="*/ 211741 w 325278"/>
                <a:gd name="connsiteY0" fmla="*/ 95 h 429958"/>
                <a:gd name="connsiteX1" fmla="*/ 172593 w 325278"/>
                <a:gd name="connsiteY1" fmla="*/ 95 h 429958"/>
                <a:gd name="connsiteX2" fmla="*/ 107252 w 325278"/>
                <a:gd name="connsiteY2" fmla="*/ 95 h 429958"/>
                <a:gd name="connsiteX3" fmla="*/ 95155 w 325278"/>
                <a:gd name="connsiteY3" fmla="*/ 95 h 429958"/>
                <a:gd name="connsiteX4" fmla="*/ 0 w 325278"/>
                <a:gd name="connsiteY4" fmla="*/ 95 h 429958"/>
                <a:gd name="connsiteX5" fmla="*/ 11621 w 325278"/>
                <a:gd name="connsiteY5" fmla="*/ 34004 h 429958"/>
                <a:gd name="connsiteX6" fmla="*/ 11049 w 325278"/>
                <a:gd name="connsiteY6" fmla="*/ 232791 h 429958"/>
                <a:gd name="connsiteX7" fmla="*/ 11049 w 325278"/>
                <a:gd name="connsiteY7" fmla="*/ 236315 h 429958"/>
                <a:gd name="connsiteX8" fmla="*/ 11049 w 325278"/>
                <a:gd name="connsiteY8" fmla="*/ 237839 h 429958"/>
                <a:gd name="connsiteX9" fmla="*/ 11049 w 325278"/>
                <a:gd name="connsiteY9" fmla="*/ 237839 h 429958"/>
                <a:gd name="connsiteX10" fmla="*/ 11144 w 325278"/>
                <a:gd name="connsiteY10" fmla="*/ 239268 h 429958"/>
                <a:gd name="connsiteX11" fmla="*/ 11144 w 325278"/>
                <a:gd name="connsiteY11" fmla="*/ 239268 h 429958"/>
                <a:gd name="connsiteX12" fmla="*/ 11239 w 325278"/>
                <a:gd name="connsiteY12" fmla="*/ 240697 h 429958"/>
                <a:gd name="connsiteX13" fmla="*/ 11239 w 325278"/>
                <a:gd name="connsiteY13" fmla="*/ 240697 h 429958"/>
                <a:gd name="connsiteX14" fmla="*/ 11335 w 325278"/>
                <a:gd name="connsiteY14" fmla="*/ 242126 h 429958"/>
                <a:gd name="connsiteX15" fmla="*/ 11335 w 325278"/>
                <a:gd name="connsiteY15" fmla="*/ 242126 h 429958"/>
                <a:gd name="connsiteX16" fmla="*/ 11525 w 325278"/>
                <a:gd name="connsiteY16" fmla="*/ 243554 h 429958"/>
                <a:gd name="connsiteX17" fmla="*/ 11525 w 325278"/>
                <a:gd name="connsiteY17" fmla="*/ 243554 h 429958"/>
                <a:gd name="connsiteX18" fmla="*/ 11716 w 325278"/>
                <a:gd name="connsiteY18" fmla="*/ 244983 h 429958"/>
                <a:gd name="connsiteX19" fmla="*/ 11716 w 325278"/>
                <a:gd name="connsiteY19" fmla="*/ 244983 h 429958"/>
                <a:gd name="connsiteX20" fmla="*/ 12002 w 325278"/>
                <a:gd name="connsiteY20" fmla="*/ 246412 h 429958"/>
                <a:gd name="connsiteX21" fmla="*/ 12002 w 325278"/>
                <a:gd name="connsiteY21" fmla="*/ 246412 h 429958"/>
                <a:gd name="connsiteX22" fmla="*/ 12287 w 325278"/>
                <a:gd name="connsiteY22" fmla="*/ 247841 h 429958"/>
                <a:gd name="connsiteX23" fmla="*/ 12287 w 325278"/>
                <a:gd name="connsiteY23" fmla="*/ 247841 h 429958"/>
                <a:gd name="connsiteX24" fmla="*/ 12573 w 325278"/>
                <a:gd name="connsiteY24" fmla="*/ 249269 h 429958"/>
                <a:gd name="connsiteX25" fmla="*/ 12573 w 325278"/>
                <a:gd name="connsiteY25" fmla="*/ 249269 h 429958"/>
                <a:gd name="connsiteX26" fmla="*/ 12954 w 325278"/>
                <a:gd name="connsiteY26" fmla="*/ 250698 h 429958"/>
                <a:gd name="connsiteX27" fmla="*/ 12954 w 325278"/>
                <a:gd name="connsiteY27" fmla="*/ 250698 h 429958"/>
                <a:gd name="connsiteX28" fmla="*/ 64294 w 325278"/>
                <a:gd name="connsiteY28" fmla="*/ 293751 h 429958"/>
                <a:gd name="connsiteX29" fmla="*/ 64294 w 325278"/>
                <a:gd name="connsiteY29" fmla="*/ 293751 h 429958"/>
                <a:gd name="connsiteX30" fmla="*/ 65722 w 325278"/>
                <a:gd name="connsiteY30" fmla="*/ 293846 h 429958"/>
                <a:gd name="connsiteX31" fmla="*/ 65722 w 325278"/>
                <a:gd name="connsiteY31" fmla="*/ 293846 h 429958"/>
                <a:gd name="connsiteX32" fmla="*/ 66199 w 325278"/>
                <a:gd name="connsiteY32" fmla="*/ 293846 h 429958"/>
                <a:gd name="connsiteX33" fmla="*/ 69342 w 325278"/>
                <a:gd name="connsiteY33" fmla="*/ 293941 h 429958"/>
                <a:gd name="connsiteX34" fmla="*/ 76771 w 325278"/>
                <a:gd name="connsiteY34" fmla="*/ 293941 h 429958"/>
                <a:gd name="connsiteX35" fmla="*/ 157734 w 325278"/>
                <a:gd name="connsiteY35" fmla="*/ 374904 h 429958"/>
                <a:gd name="connsiteX36" fmla="*/ 157734 w 325278"/>
                <a:gd name="connsiteY36" fmla="*/ 429959 h 429958"/>
                <a:gd name="connsiteX37" fmla="*/ 268510 w 325278"/>
                <a:gd name="connsiteY37" fmla="*/ 429959 h 429958"/>
                <a:gd name="connsiteX38" fmla="*/ 325279 w 325278"/>
                <a:gd name="connsiteY38" fmla="*/ 381476 h 429958"/>
                <a:gd name="connsiteX39" fmla="*/ 325279 w 325278"/>
                <a:gd name="connsiteY39" fmla="*/ 0 h 429958"/>
                <a:gd name="connsiteX40" fmla="*/ 211741 w 325278"/>
                <a:gd name="connsiteY40" fmla="*/ 0 h 42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5278" h="429958">
                  <a:moveTo>
                    <a:pt x="211741" y="95"/>
                  </a:moveTo>
                  <a:lnTo>
                    <a:pt x="172593" y="95"/>
                  </a:lnTo>
                  <a:lnTo>
                    <a:pt x="107252" y="95"/>
                  </a:lnTo>
                  <a:lnTo>
                    <a:pt x="95155" y="95"/>
                  </a:lnTo>
                  <a:lnTo>
                    <a:pt x="0" y="95"/>
                  </a:lnTo>
                  <a:cubicBezTo>
                    <a:pt x="7239" y="7906"/>
                    <a:pt x="11716" y="18764"/>
                    <a:pt x="11621" y="34004"/>
                  </a:cubicBezTo>
                  <a:lnTo>
                    <a:pt x="11049" y="232791"/>
                  </a:lnTo>
                  <a:lnTo>
                    <a:pt x="11049" y="236315"/>
                  </a:lnTo>
                  <a:lnTo>
                    <a:pt x="11049" y="237839"/>
                  </a:lnTo>
                  <a:lnTo>
                    <a:pt x="11049" y="237839"/>
                  </a:lnTo>
                  <a:lnTo>
                    <a:pt x="11144" y="239268"/>
                  </a:lnTo>
                  <a:lnTo>
                    <a:pt x="11144" y="239268"/>
                  </a:lnTo>
                  <a:lnTo>
                    <a:pt x="11239" y="240697"/>
                  </a:lnTo>
                  <a:lnTo>
                    <a:pt x="11239" y="240697"/>
                  </a:lnTo>
                  <a:lnTo>
                    <a:pt x="11335" y="242126"/>
                  </a:lnTo>
                  <a:lnTo>
                    <a:pt x="11335" y="242126"/>
                  </a:lnTo>
                  <a:lnTo>
                    <a:pt x="11525" y="243554"/>
                  </a:lnTo>
                  <a:lnTo>
                    <a:pt x="11525" y="243554"/>
                  </a:lnTo>
                  <a:lnTo>
                    <a:pt x="11716" y="244983"/>
                  </a:lnTo>
                  <a:lnTo>
                    <a:pt x="11716" y="244983"/>
                  </a:lnTo>
                  <a:lnTo>
                    <a:pt x="12002" y="246412"/>
                  </a:lnTo>
                  <a:lnTo>
                    <a:pt x="12002" y="246412"/>
                  </a:lnTo>
                  <a:cubicBezTo>
                    <a:pt x="12097" y="246888"/>
                    <a:pt x="12192" y="247364"/>
                    <a:pt x="12287" y="247841"/>
                  </a:cubicBezTo>
                  <a:lnTo>
                    <a:pt x="12287" y="247841"/>
                  </a:lnTo>
                  <a:lnTo>
                    <a:pt x="12573" y="249269"/>
                  </a:lnTo>
                  <a:lnTo>
                    <a:pt x="12573" y="249269"/>
                  </a:lnTo>
                  <a:lnTo>
                    <a:pt x="12954" y="250698"/>
                  </a:lnTo>
                  <a:lnTo>
                    <a:pt x="12954" y="250698"/>
                  </a:lnTo>
                  <a:cubicBezTo>
                    <a:pt x="19145" y="273844"/>
                    <a:pt x="39434" y="291655"/>
                    <a:pt x="64294" y="293751"/>
                  </a:cubicBezTo>
                  <a:lnTo>
                    <a:pt x="64294" y="293751"/>
                  </a:lnTo>
                  <a:lnTo>
                    <a:pt x="65722" y="293846"/>
                  </a:lnTo>
                  <a:lnTo>
                    <a:pt x="65722" y="293846"/>
                  </a:lnTo>
                  <a:lnTo>
                    <a:pt x="66199" y="293846"/>
                  </a:lnTo>
                  <a:cubicBezTo>
                    <a:pt x="67342" y="293846"/>
                    <a:pt x="68199" y="293941"/>
                    <a:pt x="69342" y="293941"/>
                  </a:cubicBezTo>
                  <a:lnTo>
                    <a:pt x="76771" y="293941"/>
                  </a:lnTo>
                  <a:cubicBezTo>
                    <a:pt x="121349" y="293941"/>
                    <a:pt x="157734" y="330327"/>
                    <a:pt x="157734" y="374904"/>
                  </a:cubicBezTo>
                  <a:lnTo>
                    <a:pt x="157734" y="429959"/>
                  </a:lnTo>
                  <a:lnTo>
                    <a:pt x="268510" y="429959"/>
                  </a:lnTo>
                  <a:cubicBezTo>
                    <a:pt x="297085" y="429959"/>
                    <a:pt x="320898" y="408813"/>
                    <a:pt x="325279" y="381476"/>
                  </a:cubicBezTo>
                  <a:cubicBezTo>
                    <a:pt x="325279" y="381476"/>
                    <a:pt x="325279" y="80201"/>
                    <a:pt x="325279" y="0"/>
                  </a:cubicBezTo>
                  <a:lnTo>
                    <a:pt x="211741"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34" name="Freeform: Shape 133">
              <a:extLst>
                <a:ext uri="{FF2B5EF4-FFF2-40B4-BE49-F238E27FC236}">
                  <a16:creationId xmlns:a16="http://schemas.microsoft.com/office/drawing/2014/main" id="{5BC2B00C-9F8A-4C22-AADA-E14BA6C13698}"/>
                </a:ext>
              </a:extLst>
            </p:cNvPr>
            <p:cNvSpPr/>
            <p:nvPr/>
          </p:nvSpPr>
          <p:spPr>
            <a:xfrm>
              <a:off x="4486386" y="4284043"/>
              <a:ext cx="276796" cy="278606"/>
            </a:xfrm>
            <a:custGeom>
              <a:avLst/>
              <a:gdLst>
                <a:gd name="connsiteX0" fmla="*/ 115158 w 276796"/>
                <a:gd name="connsiteY0" fmla="*/ 95 h 278606"/>
                <a:gd name="connsiteX1" fmla="*/ 0 w 276796"/>
                <a:gd name="connsiteY1" fmla="*/ 114395 h 278606"/>
                <a:gd name="connsiteX2" fmla="*/ 0 w 276796"/>
                <a:gd name="connsiteY2" fmla="*/ 164402 h 278606"/>
                <a:gd name="connsiteX3" fmla="*/ 191 w 276796"/>
                <a:gd name="connsiteY3" fmla="*/ 167545 h 278606"/>
                <a:gd name="connsiteX4" fmla="*/ 0 w 276796"/>
                <a:gd name="connsiteY4" fmla="*/ 170688 h 278606"/>
                <a:gd name="connsiteX5" fmla="*/ 0 w 276796"/>
                <a:gd name="connsiteY5" fmla="*/ 278606 h 278606"/>
                <a:gd name="connsiteX6" fmla="*/ 115158 w 276796"/>
                <a:gd name="connsiteY6" fmla="*/ 278606 h 278606"/>
                <a:gd name="connsiteX7" fmla="*/ 154305 w 276796"/>
                <a:gd name="connsiteY7" fmla="*/ 278606 h 278606"/>
                <a:gd name="connsiteX8" fmla="*/ 276797 w 276796"/>
                <a:gd name="connsiteY8" fmla="*/ 278606 h 278606"/>
                <a:gd name="connsiteX9" fmla="*/ 276797 w 276796"/>
                <a:gd name="connsiteY9" fmla="*/ 0 h 278606"/>
                <a:gd name="connsiteX10" fmla="*/ 115158 w 276796"/>
                <a:gd name="connsiteY10" fmla="*/ 0 h 2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796" h="278606">
                  <a:moveTo>
                    <a:pt x="115158" y="95"/>
                  </a:moveTo>
                  <a:cubicBezTo>
                    <a:pt x="51816" y="95"/>
                    <a:pt x="0" y="51530"/>
                    <a:pt x="0" y="114395"/>
                  </a:cubicBezTo>
                  <a:lnTo>
                    <a:pt x="0" y="164402"/>
                  </a:lnTo>
                  <a:cubicBezTo>
                    <a:pt x="0" y="165449"/>
                    <a:pt x="95" y="166497"/>
                    <a:pt x="191" y="167545"/>
                  </a:cubicBezTo>
                  <a:cubicBezTo>
                    <a:pt x="95" y="168593"/>
                    <a:pt x="0" y="169640"/>
                    <a:pt x="0" y="170688"/>
                  </a:cubicBezTo>
                  <a:lnTo>
                    <a:pt x="0" y="278606"/>
                  </a:lnTo>
                  <a:lnTo>
                    <a:pt x="115158" y="278606"/>
                  </a:lnTo>
                  <a:lnTo>
                    <a:pt x="154305" y="278606"/>
                  </a:lnTo>
                  <a:lnTo>
                    <a:pt x="276797" y="278606"/>
                  </a:lnTo>
                  <a:lnTo>
                    <a:pt x="276797" y="0"/>
                  </a:lnTo>
                  <a:lnTo>
                    <a:pt x="11515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35" name="Freeform: Shape 134">
              <a:extLst>
                <a:ext uri="{FF2B5EF4-FFF2-40B4-BE49-F238E27FC236}">
                  <a16:creationId xmlns:a16="http://schemas.microsoft.com/office/drawing/2014/main" id="{A918E8A8-378C-4B35-8CB9-04D03B86D1E2}"/>
                </a:ext>
              </a:extLst>
            </p:cNvPr>
            <p:cNvSpPr/>
            <p:nvPr/>
          </p:nvSpPr>
          <p:spPr>
            <a:xfrm>
              <a:off x="4651074" y="3828367"/>
              <a:ext cx="633888" cy="734377"/>
            </a:xfrm>
            <a:custGeom>
              <a:avLst/>
              <a:gdLst>
                <a:gd name="connsiteX0" fmla="*/ 575024 w 633888"/>
                <a:gd name="connsiteY0" fmla="*/ 0 h 734377"/>
                <a:gd name="connsiteX1" fmla="*/ 472916 w 633888"/>
                <a:gd name="connsiteY1" fmla="*/ 0 h 734377"/>
                <a:gd name="connsiteX2" fmla="*/ 273463 w 633888"/>
                <a:gd name="connsiteY2" fmla="*/ 0 h 734377"/>
                <a:gd name="connsiteX3" fmla="*/ 247079 w 633888"/>
                <a:gd name="connsiteY3" fmla="*/ 0 h 734377"/>
                <a:gd name="connsiteX4" fmla="*/ 233648 w 633888"/>
                <a:gd name="connsiteY4" fmla="*/ 857 h 734377"/>
                <a:gd name="connsiteX5" fmla="*/ 82487 w 633888"/>
                <a:gd name="connsiteY5" fmla="*/ 1238 h 734377"/>
                <a:gd name="connsiteX6" fmla="*/ 762 w 633888"/>
                <a:gd name="connsiteY6" fmla="*/ 762 h 734377"/>
                <a:gd name="connsiteX7" fmla="*/ 762 w 633888"/>
                <a:gd name="connsiteY7" fmla="*/ 141637 h 734377"/>
                <a:gd name="connsiteX8" fmla="*/ 0 w 633888"/>
                <a:gd name="connsiteY8" fmla="*/ 141637 h 734377"/>
                <a:gd name="connsiteX9" fmla="*/ 0 w 633888"/>
                <a:gd name="connsiteY9" fmla="*/ 455771 h 734377"/>
                <a:gd name="connsiteX10" fmla="*/ 93250 w 633888"/>
                <a:gd name="connsiteY10" fmla="*/ 455771 h 734377"/>
                <a:gd name="connsiteX11" fmla="*/ 105346 w 633888"/>
                <a:gd name="connsiteY11" fmla="*/ 455771 h 734377"/>
                <a:gd name="connsiteX12" fmla="*/ 110776 w 633888"/>
                <a:gd name="connsiteY12" fmla="*/ 455771 h 734377"/>
                <a:gd name="connsiteX13" fmla="*/ 110776 w 633888"/>
                <a:gd name="connsiteY13" fmla="*/ 734378 h 734377"/>
                <a:gd name="connsiteX14" fmla="*/ 182309 w 633888"/>
                <a:gd name="connsiteY14" fmla="*/ 734378 h 734377"/>
                <a:gd name="connsiteX15" fmla="*/ 218504 w 633888"/>
                <a:gd name="connsiteY15" fmla="*/ 734378 h 734377"/>
                <a:gd name="connsiteX16" fmla="*/ 324993 w 633888"/>
                <a:gd name="connsiteY16" fmla="*/ 734378 h 734377"/>
                <a:gd name="connsiteX17" fmla="*/ 324993 w 633888"/>
                <a:gd name="connsiteY17" fmla="*/ 711232 h 734377"/>
                <a:gd name="connsiteX18" fmla="*/ 437674 w 633888"/>
                <a:gd name="connsiteY18" fmla="*/ 615029 h 734377"/>
                <a:gd name="connsiteX19" fmla="*/ 633889 w 633888"/>
                <a:gd name="connsiteY19" fmla="*/ 615029 h 734377"/>
                <a:gd name="connsiteX20" fmla="*/ 633889 w 633888"/>
                <a:gd name="connsiteY20" fmla="*/ 512731 h 734377"/>
                <a:gd name="connsiteX21" fmla="*/ 633889 w 633888"/>
                <a:gd name="connsiteY21" fmla="*/ 232886 h 734377"/>
                <a:gd name="connsiteX22" fmla="*/ 633889 w 633888"/>
                <a:gd name="connsiteY22" fmla="*/ 58769 h 734377"/>
                <a:gd name="connsiteX23" fmla="*/ 575024 w 633888"/>
                <a:gd name="connsiteY23" fmla="*/ 0 h 73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3888" h="734377">
                  <a:moveTo>
                    <a:pt x="575024" y="0"/>
                  </a:moveTo>
                  <a:lnTo>
                    <a:pt x="472916" y="0"/>
                  </a:lnTo>
                  <a:lnTo>
                    <a:pt x="273463" y="0"/>
                  </a:lnTo>
                  <a:lnTo>
                    <a:pt x="247079" y="0"/>
                  </a:lnTo>
                  <a:cubicBezTo>
                    <a:pt x="242506" y="0"/>
                    <a:pt x="238030" y="381"/>
                    <a:pt x="233648" y="857"/>
                  </a:cubicBezTo>
                  <a:lnTo>
                    <a:pt x="82487" y="1238"/>
                  </a:lnTo>
                  <a:lnTo>
                    <a:pt x="762" y="762"/>
                  </a:lnTo>
                  <a:lnTo>
                    <a:pt x="762" y="141637"/>
                  </a:lnTo>
                  <a:lnTo>
                    <a:pt x="0" y="141637"/>
                  </a:lnTo>
                  <a:lnTo>
                    <a:pt x="0" y="455771"/>
                  </a:lnTo>
                  <a:lnTo>
                    <a:pt x="93250" y="455771"/>
                  </a:lnTo>
                  <a:lnTo>
                    <a:pt x="105346" y="455771"/>
                  </a:lnTo>
                  <a:lnTo>
                    <a:pt x="110776" y="455771"/>
                  </a:lnTo>
                  <a:lnTo>
                    <a:pt x="110776" y="734378"/>
                  </a:lnTo>
                  <a:lnTo>
                    <a:pt x="182309" y="734378"/>
                  </a:lnTo>
                  <a:lnTo>
                    <a:pt x="218504" y="734378"/>
                  </a:lnTo>
                  <a:lnTo>
                    <a:pt x="324993" y="734378"/>
                  </a:lnTo>
                  <a:lnTo>
                    <a:pt x="324993" y="711232"/>
                  </a:lnTo>
                  <a:cubicBezTo>
                    <a:pt x="333756" y="656939"/>
                    <a:pt x="381000" y="615029"/>
                    <a:pt x="437674" y="615029"/>
                  </a:cubicBezTo>
                  <a:lnTo>
                    <a:pt x="633889" y="615029"/>
                  </a:lnTo>
                  <a:lnTo>
                    <a:pt x="633889" y="512731"/>
                  </a:lnTo>
                  <a:lnTo>
                    <a:pt x="633889" y="232886"/>
                  </a:lnTo>
                  <a:lnTo>
                    <a:pt x="633889" y="58769"/>
                  </a:lnTo>
                  <a:cubicBezTo>
                    <a:pt x="633699" y="26384"/>
                    <a:pt x="607314" y="0"/>
                    <a:pt x="575024" y="0"/>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grpSp>
      <p:sp>
        <p:nvSpPr>
          <p:cNvPr id="8" name="Footer Placeholder 7">
            <a:extLst>
              <a:ext uri="{FF2B5EF4-FFF2-40B4-BE49-F238E27FC236}">
                <a16:creationId xmlns:a16="http://schemas.microsoft.com/office/drawing/2014/main" id="{5628CF29-3142-8B4B-BA3F-FDB831D3CA22}"/>
              </a:ext>
            </a:extLst>
          </p:cNvPr>
          <p:cNvSpPr>
            <a:spLocks noGrp="1"/>
          </p:cNvSpPr>
          <p:nvPr>
            <p:ph type="ftr" sz="quarter" idx="3"/>
          </p:nvPr>
        </p:nvSpPr>
        <p:spPr>
          <a:xfrm>
            <a:off x="644770" y="6553201"/>
            <a:ext cx="4134645" cy="273089"/>
          </a:xfrm>
          <a:prstGeom prst="rect">
            <a:avLst/>
          </a:prstGeom>
        </p:spPr>
        <p:txBody>
          <a:bodyPr vert="horz" lIns="72000" tIns="45720" rIns="72000" bIns="45720" rtlCol="0" anchor="ctr"/>
          <a:lstStyle>
            <a:lvl1pPr algn="l">
              <a:defRPr lang="en-GB" sz="900" b="0" i="0" dirty="0">
                <a:solidFill>
                  <a:schemeClr val="bg1">
                    <a:lumMod val="50000"/>
                  </a:schemeClr>
                </a:solidFill>
                <a:latin typeface="+mn-lt"/>
                <a:ea typeface="Arial Unicode MS" panose="020B0604020202020204" pitchFamily="34" charset="-128"/>
                <a:cs typeface="Arial" panose="020B0604020202020204" pitchFamily="34" charset="0"/>
              </a:defRPr>
            </a:lvl1pPr>
          </a:lstStyle>
          <a:p>
            <a:r>
              <a:rPr lang="en-GB"/>
              <a:t>Core SG | DD/MM/2022</a:t>
            </a:r>
            <a:endParaRPr lang="en-NL"/>
          </a:p>
        </p:txBody>
      </p:sp>
    </p:spTree>
    <p:extLst>
      <p:ext uri="{BB962C8B-B14F-4D97-AF65-F5344CB8AC3E}">
        <p14:creationId xmlns:p14="http://schemas.microsoft.com/office/powerpoint/2010/main" val="830126139"/>
      </p:ext>
    </p:extLst>
  </p:cSld>
  <p:clrMap bg1="lt1" tx1="dk1" bg2="lt2" tx2="dk2" accent1="accent1" accent2="accent2" accent3="accent3" accent4="accent4" accent5="accent5" accent6="accent6" hlink="hlink" folHlink="folHlink"/>
  <p:sldLayoutIdLst>
    <p:sldLayoutId id="2147484008" r:id="rId1"/>
    <p:sldLayoutId id="2147484009" r:id="rId2"/>
    <p:sldLayoutId id="2147484010" r:id="rId3"/>
    <p:sldLayoutId id="2147484011" r:id="rId4"/>
  </p:sldLayoutIdLst>
  <p:hf hdr="0" dt="0"/>
  <p:txStyles>
    <p:titleStyle>
      <a:lvl1pPr marL="0" indent="0" algn="l" rtl="0" eaLnBrk="1" fontAlgn="base" hangingPunct="1">
        <a:spcBef>
          <a:spcPct val="0"/>
        </a:spcBef>
        <a:spcAft>
          <a:spcPct val="0"/>
        </a:spcAft>
        <a:defRPr sz="1600" b="1" i="0">
          <a:solidFill>
            <a:srgbClr val="3366FF"/>
          </a:solidFill>
          <a:latin typeface="+mj-lt"/>
          <a:ea typeface="Arial Unicode MS" panose="020B0604020202020204" pitchFamily="34" charset="-128"/>
          <a:cs typeface="Arial" panose="020B0604020202020204" pitchFamily="34" charset="0"/>
        </a:defRPr>
      </a:lvl1pPr>
      <a:lvl2pPr algn="l" rtl="0" eaLnBrk="1" fontAlgn="base" hangingPunct="1">
        <a:spcBef>
          <a:spcPct val="0"/>
        </a:spcBef>
        <a:spcAft>
          <a:spcPct val="0"/>
        </a:spcAft>
        <a:defRPr sz="1600">
          <a:solidFill>
            <a:schemeClr val="bg2"/>
          </a:solidFill>
          <a:latin typeface="+mj-lt"/>
          <a:ea typeface="Arial" panose="020B0604020202020204" pitchFamily="34" charset="0"/>
          <a:cs typeface="Arial" pitchFamily="34" charset="0"/>
        </a:defRPr>
      </a:lvl2pPr>
      <a:lvl3pPr algn="l" rtl="0" eaLnBrk="1" fontAlgn="base" hangingPunct="1">
        <a:spcBef>
          <a:spcPct val="0"/>
        </a:spcBef>
        <a:spcAft>
          <a:spcPct val="0"/>
        </a:spcAft>
        <a:defRPr sz="1600" b="1">
          <a:solidFill>
            <a:srgbClr val="3366FF"/>
          </a:solidFill>
          <a:latin typeface="Arial" panose="020B0604020202020204" pitchFamily="34" charset="0"/>
          <a:ea typeface="Arial" panose="020B0604020202020204" pitchFamily="34" charset="0"/>
          <a:cs typeface="Arial" pitchFamily="34" charset="0"/>
        </a:defRPr>
      </a:lvl3pPr>
      <a:lvl4pPr algn="l" rtl="0" eaLnBrk="1" fontAlgn="base" hangingPunct="1">
        <a:spcBef>
          <a:spcPct val="0"/>
        </a:spcBef>
        <a:spcAft>
          <a:spcPct val="0"/>
        </a:spcAft>
        <a:defRPr sz="1600">
          <a:solidFill>
            <a:schemeClr val="bg2"/>
          </a:solidFill>
          <a:latin typeface="+mj-lt"/>
          <a:ea typeface="MS PGothic"/>
          <a:cs typeface="Arial" pitchFamily="34" charset="0"/>
        </a:defRPr>
      </a:lvl4pPr>
      <a:lvl5pPr algn="l" rtl="0" eaLnBrk="1" fontAlgn="base" hangingPunct="1">
        <a:spcBef>
          <a:spcPct val="0"/>
        </a:spcBef>
        <a:spcAft>
          <a:spcPct val="0"/>
        </a:spcAft>
        <a:defRPr sz="1600">
          <a:solidFill>
            <a:schemeClr val="bg2"/>
          </a:solidFill>
          <a:latin typeface="+mj-lt"/>
          <a:ea typeface="MS PGothic"/>
          <a:cs typeface="Arial" pitchFamily="34" charset="0"/>
        </a:defRPr>
      </a:lvl5pPr>
      <a:lvl6pPr marL="440284" algn="l" rtl="0" eaLnBrk="1" fontAlgn="base" hangingPunct="1">
        <a:spcBef>
          <a:spcPct val="0"/>
        </a:spcBef>
        <a:spcAft>
          <a:spcPct val="0"/>
        </a:spcAft>
        <a:defRPr sz="1600">
          <a:solidFill>
            <a:schemeClr val="bg2"/>
          </a:solidFill>
          <a:latin typeface="+mj-lt"/>
        </a:defRPr>
      </a:lvl6pPr>
      <a:lvl7pPr marL="880567" algn="ctr" rtl="0" eaLnBrk="1" fontAlgn="base" hangingPunct="1">
        <a:spcBef>
          <a:spcPct val="0"/>
        </a:spcBef>
        <a:spcAft>
          <a:spcPct val="0"/>
        </a:spcAft>
        <a:defRPr sz="1600">
          <a:solidFill>
            <a:schemeClr val="bg2"/>
          </a:solidFill>
          <a:latin typeface="+mj-lt"/>
        </a:defRPr>
      </a:lvl7pPr>
      <a:lvl8pPr marL="1320851" algn="ctr" rtl="0" eaLnBrk="1" fontAlgn="base" hangingPunct="1">
        <a:spcBef>
          <a:spcPct val="0"/>
        </a:spcBef>
        <a:spcAft>
          <a:spcPct val="0"/>
        </a:spcAft>
        <a:defRPr sz="1600">
          <a:solidFill>
            <a:schemeClr val="bg2"/>
          </a:solidFill>
          <a:latin typeface="+mj-lt"/>
        </a:defRPr>
      </a:lvl8pPr>
      <a:lvl9pPr marL="1761134" algn="l" rtl="0" eaLnBrk="1" fontAlgn="base" hangingPunct="1">
        <a:spcBef>
          <a:spcPct val="0"/>
        </a:spcBef>
        <a:spcAft>
          <a:spcPct val="0"/>
        </a:spcAft>
        <a:defRPr sz="1000">
          <a:solidFill>
            <a:schemeClr val="bg2"/>
          </a:solidFill>
          <a:latin typeface="+mj-lt"/>
        </a:defRPr>
      </a:lvl9pPr>
    </p:titleStyle>
    <p:body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p:bodyStyle>
    <p:otherStyle>
      <a:defPPr>
        <a:defRPr lang="fr-FR"/>
      </a:defPPr>
      <a:lvl1pPr marL="0" algn="l" defTabSz="440284" rtl="0" eaLnBrk="1" latinLnBrk="0" hangingPunct="1">
        <a:defRPr sz="1733" kern="1200">
          <a:solidFill>
            <a:schemeClr val="tx1"/>
          </a:solidFill>
          <a:latin typeface="+mn-lt"/>
          <a:ea typeface="+mn-ea"/>
          <a:cs typeface="+mn-cs"/>
        </a:defRPr>
      </a:lvl1pPr>
      <a:lvl2pPr marL="440284" algn="l" defTabSz="440284" rtl="0" eaLnBrk="1" latinLnBrk="0" hangingPunct="1">
        <a:defRPr sz="1733" kern="1200">
          <a:solidFill>
            <a:schemeClr val="tx1"/>
          </a:solidFill>
          <a:latin typeface="+mn-lt"/>
          <a:ea typeface="+mn-ea"/>
          <a:cs typeface="+mn-cs"/>
        </a:defRPr>
      </a:lvl2pPr>
      <a:lvl3pPr marL="880567" algn="l" defTabSz="440284" rtl="0" eaLnBrk="1" latinLnBrk="0" hangingPunct="1">
        <a:defRPr sz="1733" kern="1200">
          <a:solidFill>
            <a:schemeClr val="tx1"/>
          </a:solidFill>
          <a:latin typeface="+mn-lt"/>
          <a:ea typeface="+mn-ea"/>
          <a:cs typeface="+mn-cs"/>
        </a:defRPr>
      </a:lvl3pPr>
      <a:lvl4pPr marL="1320851" algn="l" defTabSz="440284" rtl="0" eaLnBrk="1" latinLnBrk="0" hangingPunct="1">
        <a:defRPr sz="1733" kern="1200">
          <a:solidFill>
            <a:schemeClr val="tx1"/>
          </a:solidFill>
          <a:latin typeface="+mn-lt"/>
          <a:ea typeface="+mn-ea"/>
          <a:cs typeface="+mn-cs"/>
        </a:defRPr>
      </a:lvl4pPr>
      <a:lvl5pPr marL="1761134" algn="l" defTabSz="440284" rtl="0" eaLnBrk="1" latinLnBrk="0" hangingPunct="1">
        <a:defRPr sz="1733" kern="1200">
          <a:solidFill>
            <a:schemeClr val="tx1"/>
          </a:solidFill>
          <a:latin typeface="+mn-lt"/>
          <a:ea typeface="+mn-ea"/>
          <a:cs typeface="+mn-cs"/>
        </a:defRPr>
      </a:lvl5pPr>
      <a:lvl6pPr marL="2201418" algn="l" defTabSz="440284" rtl="0" eaLnBrk="1" latinLnBrk="0" hangingPunct="1">
        <a:defRPr sz="1733" kern="1200">
          <a:solidFill>
            <a:schemeClr val="tx1"/>
          </a:solidFill>
          <a:latin typeface="+mn-lt"/>
          <a:ea typeface="+mn-ea"/>
          <a:cs typeface="+mn-cs"/>
        </a:defRPr>
      </a:lvl6pPr>
      <a:lvl7pPr marL="2641702" algn="l" defTabSz="440284" rtl="0" eaLnBrk="1" latinLnBrk="0" hangingPunct="1">
        <a:defRPr sz="1733" kern="1200">
          <a:solidFill>
            <a:schemeClr val="tx1"/>
          </a:solidFill>
          <a:latin typeface="+mn-lt"/>
          <a:ea typeface="+mn-ea"/>
          <a:cs typeface="+mn-cs"/>
        </a:defRPr>
      </a:lvl7pPr>
      <a:lvl8pPr marL="3081985" algn="l" defTabSz="440284" rtl="0" eaLnBrk="1" latinLnBrk="0" hangingPunct="1">
        <a:defRPr sz="1733" kern="1200">
          <a:solidFill>
            <a:schemeClr val="tx1"/>
          </a:solidFill>
          <a:latin typeface="+mn-lt"/>
          <a:ea typeface="+mn-ea"/>
          <a:cs typeface="+mn-cs"/>
        </a:defRPr>
      </a:lvl8pPr>
      <a:lvl9pPr marL="3522269" algn="l" defTabSz="440284" rtl="0" eaLnBrk="1" latinLnBrk="0" hangingPunct="1">
        <a:defRPr sz="1733" kern="1200">
          <a:solidFill>
            <a:schemeClr val="tx1"/>
          </a:solidFill>
          <a:latin typeface="+mn-lt"/>
          <a:ea typeface="+mn-ea"/>
          <a:cs typeface="+mn-cs"/>
        </a:defRPr>
      </a:lvl9pPr>
    </p:otherStyle>
  </p:txStyles>
  <p:extLst>
    <p:ext uri="{27BBF7A9-308A-43DC-89C8-2F10F3537804}">
      <p15:sldGuideLst xmlns:p15="http://schemas.microsoft.com/office/powerpoint/2012/main">
        <p15:guide id="2" pos="6000">
          <p15:clr>
            <a:srgbClr val="F26B43"/>
          </p15:clr>
        </p15:guide>
        <p15:guide id="3" orient="horz" pos="663">
          <p15:clr>
            <a:srgbClr val="F26B43"/>
          </p15:clr>
        </p15:guide>
        <p15:guide id="4" pos="149">
          <p15:clr>
            <a:srgbClr val="F26B43"/>
          </p15:clr>
        </p15:guide>
        <p15:guide id="5" orient="horz" pos="4110">
          <p15:clr>
            <a:srgbClr val="F26B43"/>
          </p15:clr>
        </p15:guide>
        <p15:guide id="6" pos="33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object 4"/>
          <p:cNvSpPr/>
          <p:nvPr/>
        </p:nvSpPr>
        <p:spPr>
          <a:xfrm>
            <a:off x="11430000" y="6354000"/>
            <a:ext cx="0" cy="117475"/>
          </a:xfrm>
          <a:custGeom>
            <a:avLst/>
            <a:gdLst/>
            <a:ahLst/>
            <a:cxnLst/>
            <a:rect l="l" t="t" r="r" b="b"/>
            <a:pathLst>
              <a:path h="117475">
                <a:moveTo>
                  <a:pt x="0" y="0"/>
                </a:moveTo>
                <a:lnTo>
                  <a:pt x="0" y="117005"/>
                </a:lnTo>
              </a:path>
            </a:pathLst>
          </a:custGeom>
          <a:ln w="6350">
            <a:solidFill>
              <a:srgbClr val="EF7D14"/>
            </a:solidFill>
          </a:ln>
        </p:spPr>
        <p:txBody>
          <a:bodyPr wrap="square" lIns="0" tIns="0" rIns="0" bIns="0" rtlCol="0"/>
          <a:lstStyle/>
          <a:p>
            <a:endParaRPr/>
          </a:p>
        </p:txBody>
      </p:sp>
      <p:sp>
        <p:nvSpPr>
          <p:cNvPr id="8" name="Fußzeilenplatzhalter 46"/>
          <p:cNvSpPr>
            <a:spLocks noGrp="1"/>
          </p:cNvSpPr>
          <p:nvPr>
            <p:ph type="ftr" sz="quarter" idx="3"/>
          </p:nvPr>
        </p:nvSpPr>
        <p:spPr>
          <a:xfrm>
            <a:off x="9296400" y="6282000"/>
            <a:ext cx="2006600" cy="196850"/>
          </a:xfrm>
          <a:prstGeom prst="rect">
            <a:avLst/>
          </a:prstGeom>
        </p:spPr>
        <p:txBody>
          <a:bodyPr vert="horz" wrap="none" lIns="0" tIns="45720" rIns="0" bIns="0" rtlCol="0" anchor="ctr"/>
          <a:lstStyle>
            <a:lvl1pPr algn="r">
              <a:defRPr sz="900">
                <a:solidFill>
                  <a:srgbClr val="364D54"/>
                </a:solidFill>
                <a:latin typeface="Arial"/>
                <a:cs typeface="Arial"/>
              </a:defRPr>
            </a:lvl1pPr>
          </a:lstStyle>
          <a:p>
            <a:endParaRPr lang="en-GB"/>
          </a:p>
        </p:txBody>
      </p:sp>
      <p:sp>
        <p:nvSpPr>
          <p:cNvPr id="11" name="Titelplatzhalter 10"/>
          <p:cNvSpPr>
            <a:spLocks noGrp="1"/>
          </p:cNvSpPr>
          <p:nvPr>
            <p:ph type="title"/>
          </p:nvPr>
        </p:nvSpPr>
        <p:spPr>
          <a:xfrm>
            <a:off x="914400" y="3657600"/>
            <a:ext cx="9448800" cy="838200"/>
          </a:xfrm>
          <a:prstGeom prst="rect">
            <a:avLst/>
          </a:prstGeom>
        </p:spPr>
        <p:txBody>
          <a:bodyPr vert="horz" lIns="0" tIns="45720" rIns="0" bIns="0" rtlCol="0" anchor="t">
            <a:normAutofit/>
          </a:bodyPr>
          <a:lstStyle/>
          <a:p>
            <a:r>
              <a:rPr lang="en-GB"/>
              <a:t>Continuing page of text with a dark grey heading that may also be two lines long</a:t>
            </a:r>
            <a:endParaRPr lang="de-DE"/>
          </a:p>
        </p:txBody>
      </p:sp>
      <p:sp>
        <p:nvSpPr>
          <p:cNvPr id="10"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9" name="Textplatzhalter 15">
            <a:extLst>
              <a:ext uri="{FF2B5EF4-FFF2-40B4-BE49-F238E27FC236}">
                <a16:creationId xmlns:a16="http://schemas.microsoft.com/office/drawing/2014/main" id="{3B61F962-59A2-46AB-B66D-F9FA3495CC7E}"/>
              </a:ext>
            </a:extLst>
          </p:cNvPr>
          <p:cNvSpPr txBox="1">
            <a:spLocks/>
          </p:cNvSpPr>
          <p:nvPr userDrawn="1"/>
        </p:nvSpPr>
        <p:spPr>
          <a:xfrm>
            <a:off x="900000" y="2346016"/>
            <a:ext cx="8839200" cy="1227000"/>
          </a:xfrm>
          <a:prstGeom prst="rect">
            <a:avLst/>
          </a:prstGeom>
        </p:spPr>
        <p:txBody>
          <a:bodyPr vert="horz" lIns="0" tIns="0" rIns="0" bIns="0" rtlCol="0">
            <a:normAutofit/>
          </a:bodyPr>
          <a:lstStyle>
            <a:lvl1pPr marL="12700" marR="5080" indent="0" algn="l" defTabSz="457200" rtl="0" eaLnBrk="1" latinLnBrk="0" hangingPunct="1">
              <a:lnSpc>
                <a:spcPct val="100000"/>
              </a:lnSpc>
              <a:spcBef>
                <a:spcPts val="819"/>
              </a:spcBef>
              <a:buClr>
                <a:srgbClr val="FF7300"/>
              </a:buClr>
              <a:buFont typeface="Arial"/>
              <a:buNone/>
              <a:tabLst>
                <a:tab pos="237490" algn="l"/>
              </a:tabLst>
              <a:defRPr sz="3200" b="0" kern="1200">
                <a:solidFill>
                  <a:schemeClr val="tx2"/>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36854" indent="-224154">
              <a:buFont typeface="Arial"/>
              <a:buChar char="—"/>
            </a:pPr>
            <a:endParaRPr lang="de-DE" sz="1400">
              <a:solidFill>
                <a:schemeClr val="tx2"/>
              </a:solidFill>
              <a:cs typeface="Arial"/>
            </a:endParaRPr>
          </a:p>
        </p:txBody>
      </p:sp>
      <p:pic>
        <p:nvPicPr>
          <p:cNvPr id="15" name="Picture 14">
            <a:extLst>
              <a:ext uri="{FF2B5EF4-FFF2-40B4-BE49-F238E27FC236}">
                <a16:creationId xmlns:a16="http://schemas.microsoft.com/office/drawing/2014/main" id="{E4E8D398-613E-47CB-BE0B-066F34780EF5}"/>
              </a:ext>
            </a:extLst>
          </p:cNvPr>
          <p:cNvPicPr>
            <a:picLocks noChangeAspect="1"/>
          </p:cNvPicPr>
          <p:nvPr userDrawn="1"/>
        </p:nvPicPr>
        <p:blipFill>
          <a:blip r:embed="rId18" cstate="screen">
            <a:extLst>
              <a:ext uri="{28A0092B-C50C-407E-A947-70E740481C1C}">
                <a14:useLocalDpi xmlns:a14="http://schemas.microsoft.com/office/drawing/2010/main"/>
              </a:ext>
            </a:extLst>
          </a:blip>
          <a:srcRect/>
          <a:stretch/>
        </p:blipFill>
        <p:spPr>
          <a:xfrm>
            <a:off x="10272465" y="260648"/>
            <a:ext cx="1440163" cy="538922"/>
          </a:xfrm>
          <a:prstGeom prst="rect">
            <a:avLst/>
          </a:prstGeom>
        </p:spPr>
      </p:pic>
    </p:spTree>
    <p:extLst>
      <p:ext uri="{BB962C8B-B14F-4D97-AF65-F5344CB8AC3E}">
        <p14:creationId xmlns:p14="http://schemas.microsoft.com/office/powerpoint/2010/main" val="3122364108"/>
      </p:ext>
    </p:extLst>
  </p:cSld>
  <p:clrMap bg1="lt1" tx1="dk1" bg2="lt2" tx2="dk2" accent1="accent1" accent2="accent2" accent3="accent3" accent4="accent4" accent5="accent5" accent6="accent6" hlink="hlink" folHlink="folHlink"/>
  <p:sldLayoutIdLst>
    <p:sldLayoutId id="2147484022" r:id="rId1"/>
    <p:sldLayoutId id="2147484023" r:id="rId2"/>
    <p:sldLayoutId id="2147484024" r:id="rId3"/>
    <p:sldLayoutId id="2147484025" r:id="rId4"/>
    <p:sldLayoutId id="2147484026" r:id="rId5"/>
    <p:sldLayoutId id="2147484027" r:id="rId6"/>
    <p:sldLayoutId id="2147484028" r:id="rId7"/>
    <p:sldLayoutId id="2147484029" r:id="rId8"/>
    <p:sldLayoutId id="2147484030" r:id="rId9"/>
    <p:sldLayoutId id="2147484031" r:id="rId10"/>
    <p:sldLayoutId id="2147484032" r:id="rId11"/>
    <p:sldLayoutId id="2147484033" r:id="rId12"/>
    <p:sldLayoutId id="2147484034" r:id="rId13"/>
    <p:sldLayoutId id="2147484035" r:id="rId14"/>
    <p:sldLayoutId id="2147484036" r:id="rId15"/>
    <p:sldLayoutId id="2147484037" r:id="rId16"/>
  </p:sldLayoutIdLst>
  <p:hf hdr="0" dt="0"/>
  <p:txStyles>
    <p:titleStyle>
      <a:lvl1pPr algn="l" defTabSz="457200" rtl="0" eaLnBrk="1" latinLnBrk="0" hangingPunct="1">
        <a:spcBef>
          <a:spcPct val="0"/>
        </a:spcBef>
        <a:buNone/>
        <a:defRPr sz="2400" b="1" kern="1200" baseline="0">
          <a:solidFill>
            <a:schemeClr val="accent2"/>
          </a:solidFill>
          <a:latin typeface="Arial"/>
          <a:ea typeface="+mj-ea"/>
          <a:cs typeface="Arial"/>
        </a:defRPr>
      </a:lvl1pPr>
    </p:titleStyle>
    <p:bodyStyle>
      <a:lvl1pPr marL="12700" marR="5080" indent="0" algn="l" defTabSz="457200" rtl="0" eaLnBrk="1" latinLnBrk="0" hangingPunct="1">
        <a:lnSpc>
          <a:spcPct val="100000"/>
        </a:lnSpc>
        <a:spcBef>
          <a:spcPts val="819"/>
        </a:spcBef>
        <a:buClr>
          <a:srgbClr val="FF7300"/>
        </a:buClr>
        <a:buFont typeface="Arial"/>
        <a:buNone/>
        <a:tabLst>
          <a:tab pos="237490" algn="l"/>
        </a:tabLst>
        <a:defRPr sz="3200" b="0" kern="1200">
          <a:solidFill>
            <a:schemeClr val="tx2"/>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4" name="Logo"/>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10386558" y="364150"/>
            <a:ext cx="1433231" cy="173615"/>
          </a:xfrm>
          <a:prstGeom prst="rect">
            <a:avLst/>
          </a:prstGeom>
        </p:spPr>
      </p:pic>
      <p:sp>
        <p:nvSpPr>
          <p:cNvPr id="2" name="Title Placeholder 1"/>
          <p:cNvSpPr>
            <a:spLocks noGrp="1"/>
          </p:cNvSpPr>
          <p:nvPr>
            <p:ph type="title"/>
          </p:nvPr>
        </p:nvSpPr>
        <p:spPr>
          <a:xfrm>
            <a:off x="982663" y="1203699"/>
            <a:ext cx="10214464" cy="712414"/>
          </a:xfrm>
          <a:prstGeom prst="rect">
            <a:avLst/>
          </a:prstGeom>
        </p:spPr>
        <p:txBody>
          <a:bodyPr vert="horz" lIns="0" tIns="0" rIns="0" bIns="0" rtlCol="0" anchor="b" anchorCtr="0">
            <a:noAutofit/>
          </a:bodyPr>
          <a:lstStyle/>
          <a:p>
            <a:r>
              <a:rPr lang="da-DK"/>
              <a:t>Klik for at redigere i masteren</a:t>
            </a:r>
            <a:endParaRPr lang="en-GB"/>
          </a:p>
        </p:txBody>
      </p:sp>
      <p:sp>
        <p:nvSpPr>
          <p:cNvPr id="3" name="Text Placeholder 2"/>
          <p:cNvSpPr>
            <a:spLocks noGrp="1"/>
          </p:cNvSpPr>
          <p:nvPr>
            <p:ph type="body" idx="1"/>
          </p:nvPr>
        </p:nvSpPr>
        <p:spPr>
          <a:xfrm>
            <a:off x="982663" y="2852738"/>
            <a:ext cx="10226675" cy="3303587"/>
          </a:xfrm>
          <a:prstGeom prst="rect">
            <a:avLst/>
          </a:prstGeom>
        </p:spPr>
        <p:txBody>
          <a:bodyPr vert="horz" lIns="0" tIns="0" rIns="0" bIns="0" rtlCol="0">
            <a:noAutofit/>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a:p>
        </p:txBody>
      </p:sp>
      <p:sp>
        <p:nvSpPr>
          <p:cNvPr id="4" name="Date_DateCustomA"/>
          <p:cNvSpPr>
            <a:spLocks noGrp="1"/>
          </p:cNvSpPr>
          <p:nvPr>
            <p:ph type="dt" sz="half" idx="2"/>
          </p:nvPr>
        </p:nvSpPr>
        <p:spPr>
          <a:xfrm>
            <a:off x="8707583" y="6525816"/>
            <a:ext cx="2489544" cy="180000"/>
          </a:xfrm>
          <a:prstGeom prst="rect">
            <a:avLst/>
          </a:prstGeom>
        </p:spPr>
        <p:txBody>
          <a:bodyPr vert="horz" lIns="0" tIns="0" rIns="0" bIns="0" rtlCol="0" anchor="b" anchorCtr="0"/>
          <a:lstStyle>
            <a:lvl1pPr algn="r">
              <a:defRPr sz="1050">
                <a:solidFill>
                  <a:schemeClr val="tx2"/>
                </a:solidFill>
              </a:defRPr>
            </a:lvl1pPr>
          </a:lstStyle>
          <a:p>
            <a:endParaRPr lang="en-GB"/>
          </a:p>
        </p:txBody>
      </p:sp>
      <p:sp>
        <p:nvSpPr>
          <p:cNvPr id="5" name="FLD_PresentationTitle"/>
          <p:cNvSpPr>
            <a:spLocks noGrp="1"/>
          </p:cNvSpPr>
          <p:nvPr>
            <p:ph type="ftr" sz="quarter" idx="3"/>
          </p:nvPr>
        </p:nvSpPr>
        <p:spPr>
          <a:xfrm>
            <a:off x="368559" y="6525816"/>
            <a:ext cx="8182359" cy="180000"/>
          </a:xfrm>
          <a:prstGeom prst="rect">
            <a:avLst/>
          </a:prstGeom>
        </p:spPr>
        <p:txBody>
          <a:bodyPr vert="horz" lIns="0" tIns="0" rIns="0" bIns="0" rtlCol="0" anchor="b" anchorCtr="0"/>
          <a:lstStyle>
            <a:lvl1pPr algn="l">
              <a:defRPr sz="1050">
                <a:solidFill>
                  <a:schemeClr val="tx2"/>
                </a:solidFill>
              </a:defRPr>
            </a:lvl1pPr>
          </a:lstStyle>
          <a:p>
            <a:endParaRPr lang="en-GB"/>
          </a:p>
        </p:txBody>
      </p:sp>
      <p:sp>
        <p:nvSpPr>
          <p:cNvPr id="6" name="Slide Number Placeholder 5"/>
          <p:cNvSpPr>
            <a:spLocks noGrp="1"/>
          </p:cNvSpPr>
          <p:nvPr>
            <p:ph type="sldNum" sz="quarter" idx="4"/>
          </p:nvPr>
        </p:nvSpPr>
        <p:spPr>
          <a:xfrm>
            <a:off x="11209338" y="6525816"/>
            <a:ext cx="610451" cy="180000"/>
          </a:xfrm>
          <a:prstGeom prst="rect">
            <a:avLst/>
          </a:prstGeom>
        </p:spPr>
        <p:txBody>
          <a:bodyPr vert="horz" lIns="0" tIns="0" rIns="0" bIns="0" rtlCol="0" anchor="b" anchorCtr="0"/>
          <a:lstStyle>
            <a:lvl1pPr algn="r">
              <a:defRPr sz="1050">
                <a:solidFill>
                  <a:schemeClr val="tx2"/>
                </a:solid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354842080"/>
      </p:ext>
    </p:extLst>
  </p:cSld>
  <p:clrMap bg1="lt1" tx1="dk1" bg2="lt2" tx2="dk2" accent1="accent1" accent2="accent2" accent3="accent3" accent4="accent4" accent5="accent5" accent6="accent6" hlink="hlink" folHlink="folHlink"/>
  <p:sldLayoutIdLst>
    <p:sldLayoutId id="2147484041" r:id="rId1"/>
    <p:sldLayoutId id="2147484042" r:id="rId2"/>
    <p:sldLayoutId id="2147484043" r:id="rId3"/>
    <p:sldLayoutId id="2147484044" r:id="rId4"/>
    <p:sldLayoutId id="2147484045" r:id="rId5"/>
    <p:sldLayoutId id="2147484046" r:id="rId6"/>
    <p:sldLayoutId id="2147484047" r:id="rId7"/>
    <p:sldLayoutId id="2147484048" r:id="rId8"/>
    <p:sldLayoutId id="2147484049" r:id="rId9"/>
    <p:sldLayoutId id="2147484050" r:id="rId10"/>
    <p:sldLayoutId id="2147484051" r:id="rId11"/>
    <p:sldLayoutId id="2147484052" r:id="rId12"/>
    <p:sldLayoutId id="2147484053" r:id="rId13"/>
    <p:sldLayoutId id="2147484054" r:id="rId14"/>
    <p:sldLayoutId id="2147484055" r:id="rId15"/>
    <p:sldLayoutId id="2147484056" r:id="rId16"/>
    <p:sldLayoutId id="2147484057" r:id="rId17"/>
    <p:sldLayoutId id="2147484058" r:id="rId18"/>
    <p:sldLayoutId id="2147484059" r:id="rId19"/>
    <p:sldLayoutId id="2147484060" r:id="rId20"/>
    <p:sldLayoutId id="2147484061" r:id="rId21"/>
    <p:sldLayoutId id="2147484062" r:id="rId22"/>
    <p:sldLayoutId id="2147484063" r:id="rId23"/>
    <p:sldLayoutId id="2147484064" r:id="rId24"/>
  </p:sldLayoutIdLst>
  <p:hf hdr="0"/>
  <p:txStyles>
    <p:titleStyle>
      <a:lvl1pPr algn="l" defTabSz="914400" rtl="0" eaLnBrk="1" latinLnBrk="0" hangingPunct="1">
        <a:lnSpc>
          <a:spcPct val="83000"/>
        </a:lnSpc>
        <a:spcBef>
          <a:spcPct val="0"/>
        </a:spcBef>
        <a:buNone/>
        <a:defRPr sz="4000" kern="1200" cap="all" baseline="0">
          <a:solidFill>
            <a:schemeClr val="accent1"/>
          </a:solidFill>
          <a:latin typeface="Calibri Light" panose="020F0302020204030204" pitchFamily="34" charset="0"/>
          <a:ea typeface="+mj-ea"/>
          <a:cs typeface="+mj-cs"/>
        </a:defRPr>
      </a:lvl1pPr>
    </p:titleStyle>
    <p:bodyStyle>
      <a:lvl1pPr marL="0" indent="0" algn="l" defTabSz="914400" rtl="0" eaLnBrk="1" latinLnBrk="0" hangingPunct="1">
        <a:lnSpc>
          <a:spcPct val="90000"/>
        </a:lnSpc>
        <a:spcBef>
          <a:spcPts val="750"/>
        </a:spcBef>
        <a:buFont typeface="Arial" panose="020B0604020202020204" pitchFamily="34" charset="0"/>
        <a:buNone/>
        <a:defRPr sz="2000" kern="1200">
          <a:solidFill>
            <a:schemeClr val="tx1"/>
          </a:solidFill>
          <a:latin typeface="+mn-lt"/>
          <a:ea typeface="+mn-ea"/>
          <a:cs typeface="+mn-cs"/>
        </a:defRPr>
      </a:lvl1pPr>
      <a:lvl2pPr marL="432000" indent="-216000" algn="l" defTabSz="914400" rtl="0" eaLnBrk="1" latinLnBrk="0" hangingPunct="1">
        <a:lnSpc>
          <a:spcPct val="90000"/>
        </a:lnSpc>
        <a:spcBef>
          <a:spcPts val="75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90000"/>
        </a:lnSpc>
        <a:spcBef>
          <a:spcPts val="750"/>
        </a:spcBef>
        <a:buFont typeface="Arial" panose="020B0604020202020204" pitchFamily="34" charset="0"/>
        <a:buChar char="•"/>
        <a:defRPr sz="1600" kern="1200">
          <a:solidFill>
            <a:schemeClr val="tx1"/>
          </a:solidFill>
          <a:latin typeface="+mn-lt"/>
          <a:ea typeface="+mn-ea"/>
          <a:cs typeface="+mn-cs"/>
        </a:defRPr>
      </a:lvl3pPr>
      <a:lvl4pPr marL="864000" indent="-216000" algn="l" defTabSz="914400" rtl="0" eaLnBrk="1" latinLnBrk="0" hangingPunct="1">
        <a:lnSpc>
          <a:spcPct val="90000"/>
        </a:lnSpc>
        <a:spcBef>
          <a:spcPts val="750"/>
        </a:spcBef>
        <a:buFont typeface="Arial" panose="020B0604020202020204" pitchFamily="34" charset="0"/>
        <a:buChar char="•"/>
        <a:defRPr sz="1400" kern="1200">
          <a:solidFill>
            <a:schemeClr val="tx1"/>
          </a:solidFill>
          <a:latin typeface="+mn-lt"/>
          <a:ea typeface="+mn-ea"/>
          <a:cs typeface="+mn-cs"/>
        </a:defRPr>
      </a:lvl4pPr>
      <a:lvl5pPr marL="1080000" indent="-216000" algn="l" defTabSz="914400" rtl="0" eaLnBrk="1" latinLnBrk="0" hangingPunct="1">
        <a:lnSpc>
          <a:spcPct val="90000"/>
        </a:lnSpc>
        <a:spcBef>
          <a:spcPts val="750"/>
        </a:spcBef>
        <a:buFont typeface="Arial" panose="020B0604020202020204" pitchFamily="34" charset="0"/>
        <a:buChar char="•"/>
        <a:defRPr sz="1200" kern="1200">
          <a:solidFill>
            <a:schemeClr val="tx1"/>
          </a:solidFill>
          <a:latin typeface="+mn-lt"/>
          <a:ea typeface="+mn-ea"/>
          <a:cs typeface="+mn-cs"/>
        </a:defRPr>
      </a:lvl5pPr>
      <a:lvl6pPr marL="1080000" indent="-216000" algn="l" defTabSz="914400" rtl="0" eaLnBrk="1" latinLnBrk="0" hangingPunct="1">
        <a:lnSpc>
          <a:spcPct val="90000"/>
        </a:lnSpc>
        <a:spcBef>
          <a:spcPts val="750"/>
        </a:spcBef>
        <a:buFont typeface="Arial" panose="020B0604020202020204" pitchFamily="34" charset="0"/>
        <a:buChar char="•"/>
        <a:defRPr sz="1200" kern="1200">
          <a:solidFill>
            <a:schemeClr val="tx1"/>
          </a:solidFill>
          <a:latin typeface="+mn-lt"/>
          <a:ea typeface="+mn-ea"/>
          <a:cs typeface="+mn-cs"/>
        </a:defRPr>
      </a:lvl6pPr>
      <a:lvl7pPr marL="1080000" indent="-216000" algn="l" defTabSz="914400" rtl="0" eaLnBrk="1" latinLnBrk="0" hangingPunct="1">
        <a:lnSpc>
          <a:spcPct val="90000"/>
        </a:lnSpc>
        <a:spcBef>
          <a:spcPts val="750"/>
        </a:spcBef>
        <a:buFont typeface="Arial" panose="020B0604020202020204" pitchFamily="34" charset="0"/>
        <a:buChar char="•"/>
        <a:defRPr sz="1200" kern="1200" baseline="0">
          <a:solidFill>
            <a:schemeClr val="tx1"/>
          </a:solidFill>
          <a:latin typeface="+mn-lt"/>
          <a:ea typeface="+mn-ea"/>
          <a:cs typeface="+mn-cs"/>
        </a:defRPr>
      </a:lvl7pPr>
      <a:lvl8pPr marL="1080000" indent="-216000" algn="l" defTabSz="914400" rtl="0" eaLnBrk="1" latinLnBrk="0" hangingPunct="1">
        <a:lnSpc>
          <a:spcPct val="90000"/>
        </a:lnSpc>
        <a:spcBef>
          <a:spcPts val="750"/>
        </a:spcBef>
        <a:buFont typeface="Arial" panose="020B0604020202020204" pitchFamily="34" charset="0"/>
        <a:buChar char="•"/>
        <a:defRPr sz="1200" kern="1200">
          <a:solidFill>
            <a:schemeClr val="tx1"/>
          </a:solidFill>
          <a:latin typeface="+mn-lt"/>
          <a:ea typeface="+mn-ea"/>
          <a:cs typeface="+mn-cs"/>
        </a:defRPr>
      </a:lvl8pPr>
      <a:lvl9pPr marL="1080000" indent="-216000" algn="l" defTabSz="914400" rtl="0" eaLnBrk="1" latinLnBrk="0" hangingPunct="1">
        <a:lnSpc>
          <a:spcPct val="90000"/>
        </a:lnSpc>
        <a:spcBef>
          <a:spcPts val="750"/>
        </a:spcBef>
        <a:buFont typeface="Arial" panose="020B060402020202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19">
          <p15:clr>
            <a:srgbClr val="F26B43"/>
          </p15:clr>
        </p15:guide>
        <p15:guide id="2" pos="7061">
          <p15:clr>
            <a:srgbClr val="F26B43"/>
          </p15:clr>
        </p15:guide>
        <p15:guide id="3" orient="horz" pos="1797">
          <p15:clr>
            <a:srgbClr val="F26B43"/>
          </p15:clr>
        </p15:guide>
        <p15:guide id="4" orient="horz" pos="3878">
          <p15:clr>
            <a:srgbClr val="F26B43"/>
          </p15:clr>
        </p15:guide>
        <p15:guide id="5" orient="horz" pos="1207">
          <p15:clr>
            <a:srgbClr val="F26B43"/>
          </p15:clr>
        </p15:guide>
        <p15:guide id="6" orient="horz" pos="1729">
          <p15:clr>
            <a:srgbClr val="F26B43"/>
          </p15:clr>
        </p15:guide>
        <p15:guide id="7" orient="horz" pos="754">
          <p15:clr>
            <a:srgbClr val="F26B43"/>
          </p15:clr>
        </p15:guide>
        <p15:guide id="8" orient="horz" pos="1275">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1.xml"/><Relationship Id="rId1" Type="http://schemas.openxmlformats.org/officeDocument/2006/relationships/tags" Target="../tags/tag26.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customXml" Target="../ink/ink1.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BA9DB1F5-65A5-4B42-A01B-2402CF80442E}"/>
              </a:ext>
            </a:extLst>
          </p:cNvPr>
          <p:cNvSpPr txBox="1">
            <a:spLocks/>
          </p:cNvSpPr>
          <p:nvPr/>
        </p:nvSpPr>
        <p:spPr>
          <a:xfrm>
            <a:off x="672001" y="440669"/>
            <a:ext cx="11400663" cy="622587"/>
          </a:xfrm>
          <a:prstGeom prst="rect">
            <a:avLst/>
          </a:prstGeom>
        </p:spPr>
        <p:txBody>
          <a:bodyPr lIns="91440" tIns="45720" rIns="91440" bIns="45720" anchor="b"/>
          <a:lstStyle>
            <a:lvl1pPr algn="l" defTabSz="914400" rtl="0" eaLnBrk="1" latinLnBrk="0" hangingPunct="1">
              <a:lnSpc>
                <a:spcPts val="3200"/>
              </a:lnSpc>
              <a:spcBef>
                <a:spcPct val="0"/>
              </a:spcBef>
              <a:buNone/>
              <a:defRPr sz="3000" b="1" kern="1200">
                <a:solidFill>
                  <a:srgbClr val="0F218B"/>
                </a:solidFill>
                <a:latin typeface="Calibri" panose="020F0502020204030204" pitchFamily="34" charset="0"/>
                <a:ea typeface="+mj-ea"/>
                <a:cs typeface="Calibri" panose="020F0502020204030204" pitchFamily="34" charset="0"/>
              </a:defRPr>
            </a:lvl1pPr>
          </a:lstStyle>
          <a:p>
            <a:pPr>
              <a:defRPr/>
            </a:pPr>
            <a:r>
              <a:rPr kumimoji="0" lang="en-US" sz="3200" b="1" i="1" u="none" strike="noStrike" kern="1200" cap="none" spc="0" normalizeH="0" baseline="0" noProof="0">
                <a:ln>
                  <a:noFill/>
                </a:ln>
                <a:solidFill>
                  <a:srgbClr val="0F218B"/>
                </a:solidFill>
                <a:effectLst/>
                <a:uLnTx/>
                <a:uFillTx/>
                <a:latin typeface="Calibri"/>
                <a:ea typeface="Calibri"/>
                <a:cs typeface="Calibri"/>
              </a:rPr>
              <a:t>LTFBA update for MESC meeting</a:t>
            </a:r>
            <a:endParaRPr kumimoji="0" lang="en-GB" sz="3000" b="1" i="0" u="none" strike="noStrike" kern="1200" cap="none" spc="0" normalizeH="0" baseline="0" noProof="0">
              <a:ln>
                <a:noFill/>
              </a:ln>
              <a:solidFill>
                <a:srgbClr val="0F218B"/>
              </a:solidFill>
              <a:effectLst/>
              <a:uLnTx/>
              <a:uFillTx/>
              <a:latin typeface="Calibri" panose="020F0502020204030204" pitchFamily="34" charset="0"/>
              <a:ea typeface="+mj-ea"/>
              <a:cs typeface="Calibri" panose="020F0502020204030204" pitchFamily="34" charset="0"/>
            </a:endParaRPr>
          </a:p>
        </p:txBody>
      </p:sp>
      <p:sp>
        <p:nvSpPr>
          <p:cNvPr id="4" name="Espace réservé du texte 3">
            <a:extLst>
              <a:ext uri="{FF2B5EF4-FFF2-40B4-BE49-F238E27FC236}">
                <a16:creationId xmlns:a16="http://schemas.microsoft.com/office/drawing/2014/main" id="{9920A053-024D-872A-BCE6-2DB781910FD7}"/>
              </a:ext>
            </a:extLst>
          </p:cNvPr>
          <p:cNvSpPr>
            <a:spLocks noGrp="1"/>
          </p:cNvSpPr>
          <p:nvPr>
            <p:ph type="body" sz="quarter" idx="12"/>
          </p:nvPr>
        </p:nvSpPr>
        <p:spPr>
          <a:xfrm>
            <a:off x="672001" y="1163757"/>
            <a:ext cx="11281639" cy="806447"/>
          </a:xfrm>
        </p:spPr>
        <p:txBody>
          <a:bodyPr vert="horz" lIns="91440" tIns="45720" rIns="91440" bIns="45720" rtlCol="0" anchor="t">
            <a:normAutofit/>
          </a:bodyPr>
          <a:lstStyle/>
          <a:p>
            <a:r>
              <a:rPr lang="fr-FR" i="1">
                <a:latin typeface="Calibri"/>
                <a:ea typeface="Calibri"/>
                <a:cs typeface="Calibri"/>
              </a:rPr>
              <a:t>3 July 2025</a:t>
            </a:r>
            <a:endParaRPr lang="en-US">
              <a:ea typeface="Calibri" panose="020F0502020204030204" pitchFamily="34" charset="0"/>
            </a:endParaRPr>
          </a:p>
        </p:txBody>
      </p:sp>
    </p:spTree>
    <p:extLst>
      <p:ext uri="{BB962C8B-B14F-4D97-AF65-F5344CB8AC3E}">
        <p14:creationId xmlns:p14="http://schemas.microsoft.com/office/powerpoint/2010/main" val="15850213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8" name="Objec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364D351-E937-BC0C-5D05-40C0218ED7C6}"/>
              </a:ext>
            </a:extLst>
          </p:cNvPr>
          <p:cNvSpPr>
            <a:spLocks noGrp="1"/>
          </p:cNvSpPr>
          <p:nvPr>
            <p:ph type="title"/>
          </p:nvPr>
        </p:nvSpPr>
        <p:spPr>
          <a:xfrm>
            <a:off x="391880" y="569896"/>
            <a:ext cx="11608496" cy="440101"/>
          </a:xfrm>
        </p:spPr>
        <p:txBody>
          <a:bodyPr vert="horz" lIns="91440" tIns="45720" rIns="91440" bIns="45720" anchor="ctr"/>
          <a:lstStyle/>
          <a:p>
            <a:r>
              <a:rPr lang="en-US" sz="2800">
                <a:latin typeface="Calibri"/>
                <a:ea typeface="Calibri"/>
                <a:cs typeface="Calibri"/>
              </a:rPr>
              <a:t>LTFBA timeline focused on MP involvement </a:t>
            </a:r>
            <a:br>
              <a:rPr lang="en-US" sz="2800" i="1"/>
            </a:br>
            <a:endParaRPr lang="en-US" sz="2700"/>
          </a:p>
        </p:txBody>
      </p:sp>
      <p:graphicFrame>
        <p:nvGraphicFramePr>
          <p:cNvPr id="7" name="Table 6">
            <a:extLst>
              <a:ext uri="{FF2B5EF4-FFF2-40B4-BE49-F238E27FC236}">
                <a16:creationId xmlns:a16="http://schemas.microsoft.com/office/drawing/2014/main" id="{BE4F6F72-B728-A6C9-A8A6-25B3F08C86BC}"/>
              </a:ext>
            </a:extLst>
          </p:cNvPr>
          <p:cNvGraphicFramePr>
            <a:graphicFrameLocks/>
          </p:cNvGraphicFramePr>
          <p:nvPr>
            <p:extLst>
              <p:ext uri="{D42A27DB-BD31-4B8C-83A1-F6EECF244321}">
                <p14:modId xmlns:p14="http://schemas.microsoft.com/office/powerpoint/2010/main" val="3100616676"/>
              </p:ext>
            </p:extLst>
          </p:nvPr>
        </p:nvGraphicFramePr>
        <p:xfrm>
          <a:off x="382588" y="896880"/>
          <a:ext cx="11426831" cy="3406510"/>
        </p:xfrm>
        <a:graphic>
          <a:graphicData uri="http://schemas.openxmlformats.org/drawingml/2006/table">
            <a:tbl>
              <a:tblPr firstRow="1" bandRow="1">
                <a:tableStyleId>{5C22544A-7EE6-4342-B048-85BDC9FD1C3A}</a:tableStyleId>
              </a:tblPr>
              <a:tblGrid>
                <a:gridCol w="3780495">
                  <a:extLst>
                    <a:ext uri="{9D8B030D-6E8A-4147-A177-3AD203B41FA5}">
                      <a16:colId xmlns:a16="http://schemas.microsoft.com/office/drawing/2014/main" val="2101031258"/>
                    </a:ext>
                  </a:extLst>
                </a:gridCol>
                <a:gridCol w="477896">
                  <a:extLst>
                    <a:ext uri="{9D8B030D-6E8A-4147-A177-3AD203B41FA5}">
                      <a16:colId xmlns:a16="http://schemas.microsoft.com/office/drawing/2014/main" val="4166867709"/>
                    </a:ext>
                  </a:extLst>
                </a:gridCol>
                <a:gridCol w="477896">
                  <a:extLst>
                    <a:ext uri="{9D8B030D-6E8A-4147-A177-3AD203B41FA5}">
                      <a16:colId xmlns:a16="http://schemas.microsoft.com/office/drawing/2014/main" val="1754214543"/>
                    </a:ext>
                  </a:extLst>
                </a:gridCol>
                <a:gridCol w="477896">
                  <a:extLst>
                    <a:ext uri="{9D8B030D-6E8A-4147-A177-3AD203B41FA5}">
                      <a16:colId xmlns:a16="http://schemas.microsoft.com/office/drawing/2014/main" val="3753080008"/>
                    </a:ext>
                  </a:extLst>
                </a:gridCol>
                <a:gridCol w="477896">
                  <a:extLst>
                    <a:ext uri="{9D8B030D-6E8A-4147-A177-3AD203B41FA5}">
                      <a16:colId xmlns:a16="http://schemas.microsoft.com/office/drawing/2014/main" val="1319021155"/>
                    </a:ext>
                  </a:extLst>
                </a:gridCol>
                <a:gridCol w="477896">
                  <a:extLst>
                    <a:ext uri="{9D8B030D-6E8A-4147-A177-3AD203B41FA5}">
                      <a16:colId xmlns:a16="http://schemas.microsoft.com/office/drawing/2014/main" val="1624347907"/>
                    </a:ext>
                  </a:extLst>
                </a:gridCol>
                <a:gridCol w="477896">
                  <a:extLst>
                    <a:ext uri="{9D8B030D-6E8A-4147-A177-3AD203B41FA5}">
                      <a16:colId xmlns:a16="http://schemas.microsoft.com/office/drawing/2014/main" val="1190534542"/>
                    </a:ext>
                  </a:extLst>
                </a:gridCol>
                <a:gridCol w="477896">
                  <a:extLst>
                    <a:ext uri="{9D8B030D-6E8A-4147-A177-3AD203B41FA5}">
                      <a16:colId xmlns:a16="http://schemas.microsoft.com/office/drawing/2014/main" val="2188462004"/>
                    </a:ext>
                  </a:extLst>
                </a:gridCol>
                <a:gridCol w="477896">
                  <a:extLst>
                    <a:ext uri="{9D8B030D-6E8A-4147-A177-3AD203B41FA5}">
                      <a16:colId xmlns:a16="http://schemas.microsoft.com/office/drawing/2014/main" val="804945629"/>
                    </a:ext>
                  </a:extLst>
                </a:gridCol>
                <a:gridCol w="477896">
                  <a:extLst>
                    <a:ext uri="{9D8B030D-6E8A-4147-A177-3AD203B41FA5}">
                      <a16:colId xmlns:a16="http://schemas.microsoft.com/office/drawing/2014/main" val="924120644"/>
                    </a:ext>
                  </a:extLst>
                </a:gridCol>
                <a:gridCol w="477896">
                  <a:extLst>
                    <a:ext uri="{9D8B030D-6E8A-4147-A177-3AD203B41FA5}">
                      <a16:colId xmlns:a16="http://schemas.microsoft.com/office/drawing/2014/main" val="2574086787"/>
                    </a:ext>
                  </a:extLst>
                </a:gridCol>
                <a:gridCol w="477896">
                  <a:extLst>
                    <a:ext uri="{9D8B030D-6E8A-4147-A177-3AD203B41FA5}">
                      <a16:colId xmlns:a16="http://schemas.microsoft.com/office/drawing/2014/main" val="670969079"/>
                    </a:ext>
                  </a:extLst>
                </a:gridCol>
                <a:gridCol w="477896">
                  <a:extLst>
                    <a:ext uri="{9D8B030D-6E8A-4147-A177-3AD203B41FA5}">
                      <a16:colId xmlns:a16="http://schemas.microsoft.com/office/drawing/2014/main" val="4107094220"/>
                    </a:ext>
                  </a:extLst>
                </a:gridCol>
                <a:gridCol w="477896">
                  <a:extLst>
                    <a:ext uri="{9D8B030D-6E8A-4147-A177-3AD203B41FA5}">
                      <a16:colId xmlns:a16="http://schemas.microsoft.com/office/drawing/2014/main" val="3944463720"/>
                    </a:ext>
                  </a:extLst>
                </a:gridCol>
                <a:gridCol w="477896">
                  <a:extLst>
                    <a:ext uri="{9D8B030D-6E8A-4147-A177-3AD203B41FA5}">
                      <a16:colId xmlns:a16="http://schemas.microsoft.com/office/drawing/2014/main" val="672555267"/>
                    </a:ext>
                  </a:extLst>
                </a:gridCol>
                <a:gridCol w="477896">
                  <a:extLst>
                    <a:ext uri="{9D8B030D-6E8A-4147-A177-3AD203B41FA5}">
                      <a16:colId xmlns:a16="http://schemas.microsoft.com/office/drawing/2014/main" val="2102614832"/>
                    </a:ext>
                  </a:extLst>
                </a:gridCol>
                <a:gridCol w="477896">
                  <a:extLst>
                    <a:ext uri="{9D8B030D-6E8A-4147-A177-3AD203B41FA5}">
                      <a16:colId xmlns:a16="http://schemas.microsoft.com/office/drawing/2014/main" val="696053981"/>
                    </a:ext>
                  </a:extLst>
                </a:gridCol>
              </a:tblGrid>
              <a:tr h="650042">
                <a:tc>
                  <a:txBody>
                    <a:bodyPr/>
                    <a:lstStyle/>
                    <a:p>
                      <a:pPr algn="ctr"/>
                      <a:r>
                        <a:rPr lang="en-US" sz="1200"/>
                        <a:t>Activity</a:t>
                      </a:r>
                    </a:p>
                  </a:txBody>
                  <a:tcPr anchor="ctr"/>
                </a:tc>
                <a:tc>
                  <a:txBody>
                    <a:bodyPr/>
                    <a:lstStyle/>
                    <a:p>
                      <a:pPr algn="ctr"/>
                      <a:r>
                        <a:rPr lang="en-US" sz="1200"/>
                        <a:t>Aug</a:t>
                      </a:r>
                    </a:p>
                    <a:p>
                      <a:pPr algn="ctr"/>
                      <a:r>
                        <a:rPr lang="en-US" sz="1200"/>
                        <a:t>25</a:t>
                      </a:r>
                    </a:p>
                  </a:txBody>
                  <a:tcPr marL="0" marR="0" marT="0" marB="0" anchor="ctr"/>
                </a:tc>
                <a:tc>
                  <a:txBody>
                    <a:bodyPr/>
                    <a:lstStyle/>
                    <a:p>
                      <a:pPr algn="ctr"/>
                      <a:r>
                        <a:rPr lang="en-US" sz="1200"/>
                        <a:t>Sep</a:t>
                      </a:r>
                    </a:p>
                    <a:p>
                      <a:pPr algn="ctr"/>
                      <a:r>
                        <a:rPr lang="en-US" sz="1200"/>
                        <a:t>25</a:t>
                      </a:r>
                    </a:p>
                  </a:txBody>
                  <a:tcPr marL="0" marR="0" marT="0" marB="0" anchor="ctr"/>
                </a:tc>
                <a:tc>
                  <a:txBody>
                    <a:bodyPr/>
                    <a:lstStyle/>
                    <a:p>
                      <a:pPr algn="ctr"/>
                      <a:r>
                        <a:rPr lang="en-US" sz="1200"/>
                        <a:t>Oct</a:t>
                      </a:r>
                    </a:p>
                    <a:p>
                      <a:pPr algn="ctr"/>
                      <a:r>
                        <a:rPr lang="en-US" sz="1200"/>
                        <a:t>25</a:t>
                      </a:r>
                    </a:p>
                  </a:txBody>
                  <a:tcPr marL="0" marR="0" marT="0" marB="0" anchor="ctr"/>
                </a:tc>
                <a:tc>
                  <a:txBody>
                    <a:bodyPr/>
                    <a:lstStyle/>
                    <a:p>
                      <a:pPr algn="ctr"/>
                      <a:r>
                        <a:rPr lang="en-US" sz="1200"/>
                        <a:t>Nov</a:t>
                      </a:r>
                    </a:p>
                    <a:p>
                      <a:pPr algn="ctr"/>
                      <a:r>
                        <a:rPr lang="en-US" sz="1200"/>
                        <a:t>25</a:t>
                      </a:r>
                    </a:p>
                  </a:txBody>
                  <a:tcPr marL="0" marR="0" marT="0" marB="0" anchor="ctr"/>
                </a:tc>
                <a:tc>
                  <a:txBody>
                    <a:bodyPr/>
                    <a:lstStyle/>
                    <a:p>
                      <a:pPr algn="ctr"/>
                      <a:r>
                        <a:rPr lang="en-US" sz="1200"/>
                        <a:t>Dec</a:t>
                      </a:r>
                    </a:p>
                    <a:p>
                      <a:pPr algn="ctr"/>
                      <a:r>
                        <a:rPr lang="en-US" sz="1200"/>
                        <a:t>25</a:t>
                      </a:r>
                    </a:p>
                  </a:txBody>
                  <a:tcPr marL="0" marR="0" marT="0" marB="0" anchor="ctr"/>
                </a:tc>
                <a:tc>
                  <a:txBody>
                    <a:bodyPr/>
                    <a:lstStyle/>
                    <a:p>
                      <a:pPr algn="ctr"/>
                      <a:r>
                        <a:rPr lang="en-US" sz="1200"/>
                        <a:t>Jan</a:t>
                      </a:r>
                    </a:p>
                    <a:p>
                      <a:pPr algn="ctr"/>
                      <a:r>
                        <a:rPr lang="en-US" sz="1200"/>
                        <a:t>26</a:t>
                      </a:r>
                    </a:p>
                  </a:txBody>
                  <a:tcPr marL="0" marR="0" marT="0" marB="0" anchor="ctr"/>
                </a:tc>
                <a:tc>
                  <a:txBody>
                    <a:bodyPr/>
                    <a:lstStyle/>
                    <a:p>
                      <a:pPr algn="ctr"/>
                      <a:r>
                        <a:rPr lang="en-US" sz="1200"/>
                        <a:t>Feb</a:t>
                      </a:r>
                    </a:p>
                    <a:p>
                      <a:pPr algn="ctr"/>
                      <a:r>
                        <a:rPr lang="en-US" sz="1200"/>
                        <a:t>26</a:t>
                      </a:r>
                    </a:p>
                  </a:txBody>
                  <a:tcPr marL="0" marR="0" marT="0" marB="0" anchor="ctr"/>
                </a:tc>
                <a:tc>
                  <a:txBody>
                    <a:bodyPr/>
                    <a:lstStyle/>
                    <a:p>
                      <a:pPr algn="ctr"/>
                      <a:r>
                        <a:rPr lang="en-US" sz="1200"/>
                        <a:t>Mar</a:t>
                      </a:r>
                    </a:p>
                    <a:p>
                      <a:pPr algn="ctr"/>
                      <a:r>
                        <a:rPr lang="en-US" sz="1200"/>
                        <a:t>26</a:t>
                      </a:r>
                    </a:p>
                  </a:txBody>
                  <a:tcPr marL="0" marR="0" marT="0" marB="0" anchor="ctr"/>
                </a:tc>
                <a:tc>
                  <a:txBody>
                    <a:bodyPr/>
                    <a:lstStyle/>
                    <a:p>
                      <a:pPr algn="ctr"/>
                      <a:r>
                        <a:rPr lang="en-US" sz="1200"/>
                        <a:t>Apr</a:t>
                      </a:r>
                    </a:p>
                    <a:p>
                      <a:pPr algn="ctr"/>
                      <a:r>
                        <a:rPr lang="en-US" sz="1200"/>
                        <a:t>26</a:t>
                      </a:r>
                    </a:p>
                  </a:txBody>
                  <a:tcPr marL="0" marR="0" marT="0" marB="0" anchor="ctr"/>
                </a:tc>
                <a:tc>
                  <a:txBody>
                    <a:bodyPr/>
                    <a:lstStyle/>
                    <a:p>
                      <a:pPr algn="ctr"/>
                      <a:r>
                        <a:rPr lang="en-US" sz="1200"/>
                        <a:t>May</a:t>
                      </a:r>
                    </a:p>
                    <a:p>
                      <a:pPr algn="ctr"/>
                      <a:r>
                        <a:rPr lang="en-US" sz="1200"/>
                        <a:t>26</a:t>
                      </a:r>
                    </a:p>
                  </a:txBody>
                  <a:tcPr marL="0" marR="0" marT="0" marB="0" anchor="ctr"/>
                </a:tc>
                <a:tc>
                  <a:txBody>
                    <a:bodyPr/>
                    <a:lstStyle/>
                    <a:p>
                      <a:pPr algn="ctr"/>
                      <a:r>
                        <a:rPr lang="en-US" sz="1200"/>
                        <a:t>Jun</a:t>
                      </a:r>
                    </a:p>
                    <a:p>
                      <a:pPr algn="ctr"/>
                      <a:r>
                        <a:rPr lang="en-US" sz="1200"/>
                        <a:t>26</a:t>
                      </a:r>
                    </a:p>
                  </a:txBody>
                  <a:tcPr marL="0" marR="0" marT="0" marB="0" anchor="ctr"/>
                </a:tc>
                <a:tc>
                  <a:txBody>
                    <a:bodyPr/>
                    <a:lstStyle/>
                    <a:p>
                      <a:pPr algn="ctr"/>
                      <a:r>
                        <a:rPr lang="en-US" sz="1200"/>
                        <a:t>Jul</a:t>
                      </a:r>
                    </a:p>
                    <a:p>
                      <a:pPr algn="ctr"/>
                      <a:r>
                        <a:rPr lang="en-US" sz="1200"/>
                        <a:t>26</a:t>
                      </a:r>
                    </a:p>
                  </a:txBody>
                  <a:tcPr marL="0" marR="0" marT="0" marB="0" anchor="ctr"/>
                </a:tc>
                <a:tc>
                  <a:txBody>
                    <a:bodyPr/>
                    <a:lstStyle/>
                    <a:p>
                      <a:pPr algn="ctr"/>
                      <a:r>
                        <a:rPr lang="en-US" sz="1200"/>
                        <a:t>Aug</a:t>
                      </a:r>
                    </a:p>
                    <a:p>
                      <a:pPr algn="ctr"/>
                      <a:r>
                        <a:rPr lang="en-US" sz="1200"/>
                        <a:t>26</a:t>
                      </a:r>
                    </a:p>
                  </a:txBody>
                  <a:tcPr marL="0" marR="0" marT="0" marB="0" anchor="ctr"/>
                </a:tc>
                <a:tc>
                  <a:txBody>
                    <a:bodyPr/>
                    <a:lstStyle/>
                    <a:p>
                      <a:pPr algn="ctr"/>
                      <a:r>
                        <a:rPr lang="en-US" sz="1200"/>
                        <a:t>Sep</a:t>
                      </a:r>
                    </a:p>
                    <a:p>
                      <a:pPr algn="ctr"/>
                      <a:r>
                        <a:rPr lang="en-US" sz="1200"/>
                        <a:t>26</a:t>
                      </a:r>
                    </a:p>
                  </a:txBody>
                  <a:tcPr marL="0" marR="0" marT="0" marB="0" anchor="ctr"/>
                </a:tc>
                <a:tc>
                  <a:txBody>
                    <a:bodyPr/>
                    <a:lstStyle/>
                    <a:p>
                      <a:pPr algn="ctr"/>
                      <a:r>
                        <a:rPr lang="en-US" sz="1200"/>
                        <a:t>Oct</a:t>
                      </a:r>
                    </a:p>
                    <a:p>
                      <a:pPr algn="ctr"/>
                      <a:r>
                        <a:rPr lang="en-US" sz="1200"/>
                        <a:t>26</a:t>
                      </a:r>
                    </a:p>
                  </a:txBody>
                  <a:tcPr marL="0" marR="0" marT="0" marB="0" anchor="ctr"/>
                </a:tc>
                <a:tc>
                  <a:txBody>
                    <a:bodyPr/>
                    <a:lstStyle/>
                    <a:p>
                      <a:pPr algn="ctr"/>
                      <a:r>
                        <a:rPr lang="en-US" sz="1200" b="1"/>
                        <a:t>Nov</a:t>
                      </a:r>
                    </a:p>
                    <a:p>
                      <a:pPr algn="ctr"/>
                      <a:r>
                        <a:rPr lang="en-US" sz="1200" b="1"/>
                        <a:t>26</a:t>
                      </a:r>
                    </a:p>
                  </a:txBody>
                  <a:tcPr marL="0" marR="0" marT="0" marB="0" anchor="ctr"/>
                </a:tc>
                <a:extLst>
                  <a:ext uri="{0D108BD9-81ED-4DB2-BD59-A6C34878D82A}">
                    <a16:rowId xmlns:a16="http://schemas.microsoft.com/office/drawing/2014/main" val="1295818922"/>
                  </a:ext>
                </a:extLst>
              </a:tr>
              <a:tr h="48085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t>Simulation Platform</a:t>
                      </a:r>
                    </a:p>
                  </a:txBody>
                  <a:tcPr anchor="ct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extLst>
                  <a:ext uri="{0D108BD9-81ED-4DB2-BD59-A6C34878D82A}">
                    <a16:rowId xmlns:a16="http://schemas.microsoft.com/office/drawing/2014/main" val="2533202811"/>
                  </a:ext>
                </a:extLst>
              </a:tr>
              <a:tr h="48085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err="1"/>
                        <a:t>eCAT</a:t>
                      </a:r>
                      <a:r>
                        <a:rPr lang="en-US" sz="1200" b="1"/>
                        <a:t> 8.0 (Cycle 6)</a:t>
                      </a:r>
                    </a:p>
                  </a:txBody>
                  <a:tcPr anchor="ct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extLst>
                  <a:ext uri="{0D108BD9-81ED-4DB2-BD59-A6C34878D82A}">
                    <a16:rowId xmlns:a16="http://schemas.microsoft.com/office/drawing/2014/main" val="3029626768"/>
                  </a:ext>
                </a:extLst>
              </a:tr>
              <a:tr h="48085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t>CRDS</a:t>
                      </a:r>
                    </a:p>
                  </a:txBody>
                  <a:tcPr anchor="ct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extLst>
                  <a:ext uri="{0D108BD9-81ED-4DB2-BD59-A6C34878D82A}">
                    <a16:rowId xmlns:a16="http://schemas.microsoft.com/office/drawing/2014/main" val="1997784605"/>
                  </a:ext>
                </a:extLst>
              </a:tr>
              <a:tr h="833060">
                <a:tc>
                  <a:txBody>
                    <a:bodyPr/>
                    <a:lstStyle/>
                    <a:p>
                      <a:pPr algn="ctr"/>
                      <a:r>
                        <a:rPr lang="en-US" sz="1200" b="1"/>
                        <a:t>Website &amp; Publication Tool</a:t>
                      </a:r>
                    </a:p>
                  </a:txBody>
                  <a:tcPr anchor="ct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extLst>
                  <a:ext uri="{0D108BD9-81ED-4DB2-BD59-A6C34878D82A}">
                    <a16:rowId xmlns:a16="http://schemas.microsoft.com/office/drawing/2014/main" val="1495748345"/>
                  </a:ext>
                </a:extLst>
              </a:tr>
              <a:tr h="480852">
                <a:tc>
                  <a:txBody>
                    <a:bodyPr/>
                    <a:lstStyle/>
                    <a:p>
                      <a:pPr algn="ctr"/>
                      <a:r>
                        <a:rPr lang="en-US" sz="1200" b="1"/>
                        <a:t>Go Live</a:t>
                      </a:r>
                    </a:p>
                  </a:txBody>
                  <a:tcPr anchor="ct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extLst>
                  <a:ext uri="{0D108BD9-81ED-4DB2-BD59-A6C34878D82A}">
                    <a16:rowId xmlns:a16="http://schemas.microsoft.com/office/drawing/2014/main" val="4280848694"/>
                  </a:ext>
                </a:extLst>
              </a:tr>
            </a:tbl>
          </a:graphicData>
        </a:graphic>
      </p:graphicFrame>
      <p:sp>
        <p:nvSpPr>
          <p:cNvPr id="9" name="Triangle 20">
            <a:extLst>
              <a:ext uri="{FF2B5EF4-FFF2-40B4-BE49-F238E27FC236}">
                <a16:creationId xmlns:a16="http://schemas.microsoft.com/office/drawing/2014/main" id="{6C9783BD-0756-E79C-9560-8E8C4F045AD5}"/>
              </a:ext>
            </a:extLst>
          </p:cNvPr>
          <p:cNvSpPr/>
          <p:nvPr/>
        </p:nvSpPr>
        <p:spPr>
          <a:xfrm>
            <a:off x="11431179" y="4097746"/>
            <a:ext cx="228588" cy="210998"/>
          </a:xfrm>
          <a:prstGeom prst="triangle">
            <a:avLst/>
          </a:prstGeom>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LU"/>
          </a:p>
        </p:txBody>
      </p:sp>
      <p:sp>
        <p:nvSpPr>
          <p:cNvPr id="10" name="ZoneTexte 233">
            <a:extLst>
              <a:ext uri="{FF2B5EF4-FFF2-40B4-BE49-F238E27FC236}">
                <a16:creationId xmlns:a16="http://schemas.microsoft.com/office/drawing/2014/main" id="{1B8F1800-779D-CF29-C321-EC7D2C8A5339}"/>
              </a:ext>
            </a:extLst>
          </p:cNvPr>
          <p:cNvSpPr txBox="1">
            <a:spLocks noChangeArrowheads="1"/>
          </p:cNvSpPr>
          <p:nvPr/>
        </p:nvSpPr>
        <p:spPr bwMode="auto">
          <a:xfrm>
            <a:off x="4168298" y="1598236"/>
            <a:ext cx="482407" cy="442428"/>
          </a:xfrm>
          <a:prstGeom prst="rect">
            <a:avLst/>
          </a:prstGeom>
          <a:solidFill>
            <a:srgbClr val="00B0F0"/>
          </a:solidFill>
          <a:ln w="12700" cap="flat" cmpd="sng" algn="ctr">
            <a:solidFill>
              <a:schemeClr val="tx1"/>
            </a:solidFill>
            <a:prstDash val="solid"/>
            <a:round/>
            <a:headEnd type="none" w="sm" len="sm"/>
            <a:tailEnd type="none" w="sm" len="sm"/>
          </a:ln>
          <a:effectLst/>
        </p:spPr>
        <p:txBody>
          <a:bodyPr lIns="0" tIns="18000" rIns="0" bIns="0" anchor="ctr"/>
          <a:lstStyle>
            <a:defPPr>
              <a:defRPr lang="fr-FR"/>
            </a:defPPr>
            <a:lvl1pPr algn="ctr" eaLnBrk="0" fontAlgn="auto" hangingPunct="0">
              <a:lnSpc>
                <a:spcPct val="80000"/>
              </a:lnSpc>
              <a:spcBef>
                <a:spcPts val="0"/>
              </a:spcBef>
              <a:spcAft>
                <a:spcPts val="0"/>
              </a:spcAft>
              <a:defRPr sz="800" kern="0">
                <a:latin typeface="Calibri" pitchFamily="34" charset="0"/>
                <a:ea typeface="ＭＳ Ｐゴシック" charset="-128"/>
                <a:cs typeface="Calibri" pitchFamily="34" charset="0"/>
              </a:defRPr>
            </a:lvl1pPr>
          </a:lstStyle>
          <a:p>
            <a:pPr defTabSz="914400">
              <a:defRPr/>
            </a:pPr>
            <a:r>
              <a:rPr lang="en-US" sz="1100">
                <a:solidFill>
                  <a:srgbClr val="FFFFFF"/>
                </a:solidFill>
              </a:rPr>
              <a:t>Test w. MPs</a:t>
            </a:r>
          </a:p>
        </p:txBody>
      </p:sp>
      <p:sp>
        <p:nvSpPr>
          <p:cNvPr id="11" name="ZoneTexte 233">
            <a:extLst>
              <a:ext uri="{FF2B5EF4-FFF2-40B4-BE49-F238E27FC236}">
                <a16:creationId xmlns:a16="http://schemas.microsoft.com/office/drawing/2014/main" id="{D77D8C07-D555-A71F-D705-0CB76C4CC84E}"/>
              </a:ext>
            </a:extLst>
          </p:cNvPr>
          <p:cNvSpPr txBox="1">
            <a:spLocks noChangeArrowheads="1"/>
          </p:cNvSpPr>
          <p:nvPr/>
        </p:nvSpPr>
        <p:spPr bwMode="auto">
          <a:xfrm>
            <a:off x="8466664" y="2129900"/>
            <a:ext cx="1421614" cy="275870"/>
          </a:xfrm>
          <a:prstGeom prst="rect">
            <a:avLst/>
          </a:prstGeom>
          <a:solidFill>
            <a:srgbClr val="00947F"/>
          </a:solidFill>
          <a:ln w="9525" cap="flat" cmpd="sng" algn="ctr">
            <a:solidFill>
              <a:schemeClr val="tx1"/>
            </a:solidFill>
            <a:prstDash val="solid"/>
            <a:round/>
            <a:headEnd type="none" w="sm" len="sm"/>
            <a:tailEnd type="none" w="sm" len="sm"/>
          </a:ln>
          <a:effectLst/>
        </p:spPr>
        <p:txBody>
          <a:bodyPr lIns="0" tIns="0" rIns="0" bIns="0" anchor="ctr"/>
          <a:lstStyle>
            <a:defPPr>
              <a:defRPr lang="fr-FR"/>
            </a:defPPr>
            <a:lvl1pPr algn="ctr" eaLnBrk="0" fontAlgn="auto" hangingPunct="0">
              <a:lnSpc>
                <a:spcPct val="80000"/>
              </a:lnSpc>
              <a:spcBef>
                <a:spcPts val="0"/>
              </a:spcBef>
              <a:spcAft>
                <a:spcPts val="0"/>
              </a:spcAft>
              <a:defRPr sz="800" kern="0">
                <a:latin typeface="Calibri" pitchFamily="34" charset="0"/>
                <a:ea typeface="ＭＳ Ｐゴシック" charset="-128"/>
                <a:cs typeface="Calibri" pitchFamily="34" charset="0"/>
              </a:defRPr>
            </a:lvl1pPr>
          </a:lstStyle>
          <a:p>
            <a:r>
              <a:rPr lang="en-US" sz="1100" dirty="0">
                <a:solidFill>
                  <a:schemeClr val="bg1"/>
                </a:solidFill>
                <a:latin typeface="Calibri"/>
                <a:ea typeface="ＭＳ Ｐゴシック"/>
                <a:cs typeface="Calibri"/>
              </a:rPr>
              <a:t>SIT* – RCCs, TSOs &amp; MPs</a:t>
            </a:r>
          </a:p>
        </p:txBody>
      </p:sp>
      <p:sp>
        <p:nvSpPr>
          <p:cNvPr id="12" name="ZoneTexte 233">
            <a:extLst>
              <a:ext uri="{FF2B5EF4-FFF2-40B4-BE49-F238E27FC236}">
                <a16:creationId xmlns:a16="http://schemas.microsoft.com/office/drawing/2014/main" id="{24BE8491-2D4F-FAE2-64DC-344ED1BACBE6}"/>
              </a:ext>
            </a:extLst>
          </p:cNvPr>
          <p:cNvSpPr txBox="1">
            <a:spLocks noChangeArrowheads="1"/>
          </p:cNvSpPr>
          <p:nvPr/>
        </p:nvSpPr>
        <p:spPr bwMode="auto">
          <a:xfrm>
            <a:off x="8466664" y="2596326"/>
            <a:ext cx="1421614" cy="275870"/>
          </a:xfrm>
          <a:prstGeom prst="rect">
            <a:avLst/>
          </a:prstGeom>
          <a:solidFill>
            <a:srgbClr val="00947F"/>
          </a:solidFill>
          <a:ln w="9525" cap="flat" cmpd="sng" algn="ctr">
            <a:solidFill>
              <a:schemeClr val="tx1"/>
            </a:solidFill>
            <a:prstDash val="solid"/>
            <a:round/>
            <a:headEnd type="none" w="sm" len="sm"/>
            <a:tailEnd type="none" w="sm" len="sm"/>
          </a:ln>
          <a:effectLst/>
        </p:spPr>
        <p:txBody>
          <a:bodyPr lIns="0" tIns="0" rIns="0" bIns="0" anchor="ctr"/>
          <a:lstStyle>
            <a:defPPr>
              <a:defRPr lang="fr-FR"/>
            </a:defPPr>
            <a:lvl1pPr algn="ctr" eaLnBrk="0" fontAlgn="auto" hangingPunct="0">
              <a:lnSpc>
                <a:spcPct val="80000"/>
              </a:lnSpc>
              <a:spcBef>
                <a:spcPts val="0"/>
              </a:spcBef>
              <a:spcAft>
                <a:spcPts val="0"/>
              </a:spcAft>
              <a:defRPr sz="800" kern="0">
                <a:latin typeface="Calibri" pitchFamily="34" charset="0"/>
                <a:ea typeface="ＭＳ Ｐゴシック" charset="-128"/>
                <a:cs typeface="Calibri" pitchFamily="34" charset="0"/>
              </a:defRPr>
            </a:lvl1pPr>
          </a:lstStyle>
          <a:p>
            <a:r>
              <a:rPr lang="en-US" sz="1100">
                <a:solidFill>
                  <a:schemeClr val="bg1"/>
                </a:solidFill>
              </a:rPr>
              <a:t>SIT – RCCs, TSOs &amp; MPs</a:t>
            </a:r>
          </a:p>
        </p:txBody>
      </p:sp>
      <p:sp>
        <p:nvSpPr>
          <p:cNvPr id="13" name="ZoneTexte 233">
            <a:extLst>
              <a:ext uri="{FF2B5EF4-FFF2-40B4-BE49-F238E27FC236}">
                <a16:creationId xmlns:a16="http://schemas.microsoft.com/office/drawing/2014/main" id="{2FC968B6-CF8B-F625-164F-792B2C3277B4}"/>
              </a:ext>
            </a:extLst>
          </p:cNvPr>
          <p:cNvSpPr txBox="1">
            <a:spLocks noChangeArrowheads="1"/>
          </p:cNvSpPr>
          <p:nvPr/>
        </p:nvSpPr>
        <p:spPr bwMode="auto">
          <a:xfrm>
            <a:off x="7714345" y="3030006"/>
            <a:ext cx="2173933" cy="275870"/>
          </a:xfrm>
          <a:prstGeom prst="rect">
            <a:avLst/>
          </a:prstGeom>
          <a:solidFill>
            <a:srgbClr val="00947F"/>
          </a:solidFill>
          <a:ln w="9525" cap="flat" cmpd="sng" algn="ctr">
            <a:solidFill>
              <a:schemeClr val="tx1"/>
            </a:solidFill>
            <a:prstDash val="solid"/>
            <a:round/>
            <a:headEnd type="none" w="sm" len="sm"/>
            <a:tailEnd type="none" w="sm" len="sm"/>
          </a:ln>
          <a:effectLst/>
        </p:spPr>
        <p:txBody>
          <a:bodyPr lIns="0" tIns="0" rIns="0" bIns="0" anchor="ctr"/>
          <a:lstStyle>
            <a:defPPr>
              <a:defRPr lang="fr-FR"/>
            </a:defPPr>
            <a:lvl1pPr algn="ctr" eaLnBrk="0" fontAlgn="auto" hangingPunct="0">
              <a:lnSpc>
                <a:spcPct val="80000"/>
              </a:lnSpc>
              <a:spcBef>
                <a:spcPts val="0"/>
              </a:spcBef>
              <a:spcAft>
                <a:spcPts val="0"/>
              </a:spcAft>
              <a:defRPr sz="800" kern="0">
                <a:latin typeface="Calibri" pitchFamily="34" charset="0"/>
                <a:ea typeface="ＭＳ Ｐゴシック" charset="-128"/>
                <a:cs typeface="Calibri" pitchFamily="34" charset="0"/>
              </a:defRPr>
            </a:lvl1pPr>
          </a:lstStyle>
          <a:p>
            <a:r>
              <a:rPr lang="en-US" sz="1100">
                <a:solidFill>
                  <a:schemeClr val="bg1"/>
                </a:solidFill>
              </a:rPr>
              <a:t>Website SIT – RCCs, TSOs &amp; MPs</a:t>
            </a:r>
          </a:p>
        </p:txBody>
      </p:sp>
      <p:sp>
        <p:nvSpPr>
          <p:cNvPr id="14" name="ZoneTexte 233">
            <a:extLst>
              <a:ext uri="{FF2B5EF4-FFF2-40B4-BE49-F238E27FC236}">
                <a16:creationId xmlns:a16="http://schemas.microsoft.com/office/drawing/2014/main" id="{AB960E43-41E1-B492-57ED-A055BD6C56D8}"/>
              </a:ext>
            </a:extLst>
          </p:cNvPr>
          <p:cNvSpPr txBox="1">
            <a:spLocks noChangeArrowheads="1"/>
          </p:cNvSpPr>
          <p:nvPr/>
        </p:nvSpPr>
        <p:spPr bwMode="auto">
          <a:xfrm>
            <a:off x="6107641" y="3427229"/>
            <a:ext cx="4233687" cy="275870"/>
          </a:xfrm>
          <a:prstGeom prst="rect">
            <a:avLst/>
          </a:prstGeom>
          <a:solidFill>
            <a:srgbClr val="00B0F0"/>
          </a:solidFill>
          <a:ln w="12700" cap="flat" cmpd="sng" algn="ctr">
            <a:solidFill>
              <a:schemeClr val="tx1"/>
            </a:solidFill>
            <a:prstDash val="solid"/>
            <a:round/>
            <a:headEnd type="none" w="sm" len="sm"/>
            <a:tailEnd type="none" w="sm" len="sm"/>
          </a:ln>
          <a:effectLst/>
        </p:spPr>
        <p:txBody>
          <a:bodyPr lIns="0" tIns="18000" rIns="0" bIns="0" anchor="ctr"/>
          <a:lstStyle>
            <a:defPPr>
              <a:defRPr lang="fr-FR"/>
            </a:defPPr>
            <a:lvl1pPr algn="ctr" eaLnBrk="0" fontAlgn="auto" hangingPunct="0">
              <a:lnSpc>
                <a:spcPct val="80000"/>
              </a:lnSpc>
              <a:spcBef>
                <a:spcPts val="0"/>
              </a:spcBef>
              <a:spcAft>
                <a:spcPts val="0"/>
              </a:spcAft>
              <a:defRPr sz="800" kern="0">
                <a:latin typeface="Calibri" pitchFamily="34" charset="0"/>
                <a:ea typeface="ＭＳ Ｐゴシック" charset="-128"/>
                <a:cs typeface="Calibri" pitchFamily="34" charset="0"/>
              </a:defRPr>
            </a:lvl1pPr>
          </a:lstStyle>
          <a:p>
            <a:pPr defTabSz="914400">
              <a:defRPr/>
            </a:pPr>
            <a:r>
              <a:rPr lang="en-US" sz="1100"/>
              <a:t>Dates TBC: Publication Tool Ext. Parallel Run with MP engagement</a:t>
            </a:r>
          </a:p>
        </p:txBody>
      </p:sp>
      <p:sp>
        <p:nvSpPr>
          <p:cNvPr id="44" name="TextBox 43">
            <a:extLst>
              <a:ext uri="{FF2B5EF4-FFF2-40B4-BE49-F238E27FC236}">
                <a16:creationId xmlns:a16="http://schemas.microsoft.com/office/drawing/2014/main" id="{5738F403-9086-3E3D-2F08-583EC19EC56E}"/>
              </a:ext>
            </a:extLst>
          </p:cNvPr>
          <p:cNvSpPr txBox="1"/>
          <p:nvPr/>
        </p:nvSpPr>
        <p:spPr>
          <a:xfrm>
            <a:off x="381583" y="4902129"/>
            <a:ext cx="11421228" cy="1661993"/>
          </a:xfrm>
          <a:prstGeom prst="rect">
            <a:avLst/>
          </a:prstGeom>
          <a:noFill/>
        </p:spPr>
        <p:txBody>
          <a:bodyPr wrap="square" lIns="91440" tIns="45720" rIns="91440" bIns="45720" rtlCol="0" anchor="t">
            <a:spAutoFit/>
          </a:bodyPr>
          <a:lstStyle/>
          <a:p>
            <a:pPr algn="just"/>
            <a:r>
              <a:rPr lang="en-GB" sz="1700" b="0" i="0" u="none" strike="noStrike">
                <a:solidFill>
                  <a:srgbClr val="3A3A3F"/>
                </a:solidFill>
                <a:effectLst/>
                <a:latin typeface="Calibri" panose="020F0502020204030204" pitchFamily="34" charset="0"/>
              </a:rPr>
              <a:t>Ahead of each</a:t>
            </a:r>
            <a:r>
              <a:rPr lang="en-GB" sz="1700">
                <a:solidFill>
                  <a:srgbClr val="3A3A3F"/>
                </a:solidFill>
                <a:latin typeface="Calibri" panose="020F0502020204030204" pitchFamily="34" charset="0"/>
              </a:rPr>
              <a:t> activity </a:t>
            </a:r>
            <a:r>
              <a:rPr lang="en-GB" sz="1700" b="0" i="0" u="none" strike="noStrike">
                <a:solidFill>
                  <a:srgbClr val="3A3A3F"/>
                </a:solidFill>
                <a:effectLst/>
                <a:latin typeface="Calibri" panose="020F0502020204030204" pitchFamily="34" charset="0"/>
              </a:rPr>
              <a:t>JAO will formally issue comms to Market Participants with more information regarding their involvement. Dates are to be confirmed but will include timings and details of workshops and alignments, engagement forums and format.</a:t>
            </a:r>
          </a:p>
          <a:p>
            <a:pPr algn="just"/>
            <a:endParaRPr lang="en-GB" sz="1700">
              <a:solidFill>
                <a:srgbClr val="3A3A3F"/>
              </a:solidFill>
              <a:latin typeface="Calibri" panose="020F0502020204030204" pitchFamily="34" charset="0"/>
            </a:endParaRPr>
          </a:p>
          <a:p>
            <a:pPr algn="just"/>
            <a:r>
              <a:rPr lang="en-GB" sz="1700">
                <a:solidFill>
                  <a:srgbClr val="3A3A3F"/>
                </a:solidFill>
                <a:latin typeface="Calibri"/>
                <a:ea typeface="Calibri"/>
                <a:cs typeface="Calibri"/>
              </a:rPr>
              <a:t>B</a:t>
            </a:r>
            <a:r>
              <a:rPr lang="en-GB" sz="1700" b="0" i="0" u="none" strike="noStrike">
                <a:solidFill>
                  <a:srgbClr val="3A3A3F"/>
                </a:solidFill>
                <a:effectLst/>
                <a:latin typeface="Calibri"/>
                <a:ea typeface="Calibri"/>
                <a:cs typeface="Calibri"/>
              </a:rPr>
              <a:t>id files will be available for MPs on the simulation platform, and output files expected for MPs (e.g. accepted bids and any additional files) - c</a:t>
            </a:r>
            <a:r>
              <a:rPr lang="en-GB" sz="1700">
                <a:solidFill>
                  <a:srgbClr val="3A3A3F"/>
                </a:solidFill>
                <a:latin typeface="Calibri"/>
                <a:ea typeface="Calibri"/>
                <a:cs typeface="Calibri"/>
              </a:rPr>
              <a:t>onfirmed for 2024 and 2025. Also, there is flexibility to select which order book will be made available to the Market Participants for the simulations.</a:t>
            </a:r>
            <a:endParaRPr lang="en-LU" sz="1700">
              <a:solidFill>
                <a:srgbClr val="3A3A3F"/>
              </a:solidFill>
              <a:latin typeface="Calibri"/>
              <a:ea typeface="Calibri"/>
              <a:cs typeface="Calibri"/>
            </a:endParaRPr>
          </a:p>
        </p:txBody>
      </p:sp>
      <p:sp>
        <p:nvSpPr>
          <p:cNvPr id="3" name="TextBox 2">
            <a:extLst>
              <a:ext uri="{FF2B5EF4-FFF2-40B4-BE49-F238E27FC236}">
                <a16:creationId xmlns:a16="http://schemas.microsoft.com/office/drawing/2014/main" id="{B440C79B-379A-71CD-4F0A-0FD6426244FF}"/>
              </a:ext>
            </a:extLst>
          </p:cNvPr>
          <p:cNvSpPr txBox="1"/>
          <p:nvPr/>
        </p:nvSpPr>
        <p:spPr>
          <a:xfrm>
            <a:off x="391880" y="4304886"/>
            <a:ext cx="11431525" cy="400110"/>
          </a:xfrm>
          <a:prstGeom prst="rect">
            <a:avLst/>
          </a:prstGeom>
          <a:noFill/>
        </p:spPr>
        <p:txBody>
          <a:bodyPr wrap="square" lIns="91440" tIns="45720" rIns="91440" bIns="45720" rtlCol="0" anchor="t">
            <a:spAutoFit/>
          </a:bodyPr>
          <a:lstStyle/>
          <a:p>
            <a:pPr algn="just"/>
            <a:r>
              <a:rPr lang="en-GB" sz="1000" dirty="0">
                <a:solidFill>
                  <a:srgbClr val="3A3A3F"/>
                </a:solidFill>
                <a:latin typeface="Calibri"/>
                <a:ea typeface="Calibri"/>
                <a:cs typeface="Calibri"/>
              </a:rPr>
              <a:t>*SIT: System Integration Testing = overall test of the complete system including the various sub-components. The benefit of aligning the SITs is that JAO and the MPs will see how the developments made as part of the LTFBA project interact as a whole.</a:t>
            </a:r>
            <a:endParaRPr lang="en-US" sz="1000" dirty="0"/>
          </a:p>
        </p:txBody>
      </p:sp>
    </p:spTree>
    <p:extLst>
      <p:ext uri="{BB962C8B-B14F-4D97-AF65-F5344CB8AC3E}">
        <p14:creationId xmlns:p14="http://schemas.microsoft.com/office/powerpoint/2010/main" val="29521592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C7F61F-4D89-70C3-6117-D709E595635A}"/>
            </a:ext>
          </a:extLst>
        </p:cNvPr>
        <p:cNvGrpSpPr/>
        <p:nvPr/>
      </p:nvGrpSpPr>
      <p:grpSpPr>
        <a:xfrm>
          <a:off x="0" y="0"/>
          <a:ext cx="0" cy="0"/>
          <a:chOff x="0" y="0"/>
          <a:chExt cx="0" cy="0"/>
        </a:xfrm>
      </p:grpSpPr>
      <p:sp>
        <p:nvSpPr>
          <p:cNvPr id="7" name="Rectangle 3">
            <a:extLst>
              <a:ext uri="{FF2B5EF4-FFF2-40B4-BE49-F238E27FC236}">
                <a16:creationId xmlns:a16="http://schemas.microsoft.com/office/drawing/2014/main" id="{67EF4DA3-FE5F-B253-31F2-C4692FB5E067}"/>
              </a:ext>
            </a:extLst>
          </p:cNvPr>
          <p:cNvSpPr>
            <a:spLocks noChangeArrowheads="1"/>
          </p:cNvSpPr>
          <p:nvPr/>
        </p:nvSpPr>
        <p:spPr bwMode="auto">
          <a:xfrm>
            <a:off x="382588" y="3884246"/>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23" name="Title 1">
            <a:extLst>
              <a:ext uri="{FF2B5EF4-FFF2-40B4-BE49-F238E27FC236}">
                <a16:creationId xmlns:a16="http://schemas.microsoft.com/office/drawing/2014/main" id="{87B1F60E-5B6A-915A-58B0-B1F16AACF0A0}"/>
              </a:ext>
            </a:extLst>
          </p:cNvPr>
          <p:cNvSpPr txBox="1">
            <a:spLocks/>
          </p:cNvSpPr>
          <p:nvPr/>
        </p:nvSpPr>
        <p:spPr>
          <a:xfrm>
            <a:off x="382588" y="462201"/>
            <a:ext cx="11617788" cy="356467"/>
          </a:xfrm>
          <a:prstGeom prst="rect">
            <a:avLst/>
          </a:prstGeom>
          <a:ln>
            <a:noFill/>
          </a:ln>
        </p:spPr>
        <p:txBody>
          <a:bodyPr lIns="91440" tIns="45720" rIns="91440" bIns="45720" anchor="ctr"/>
          <a:lstStyle>
            <a:lvl1pPr algn="l" defTabSz="914400" rtl="0" eaLnBrk="1" latinLnBrk="0" hangingPunct="1">
              <a:lnSpc>
                <a:spcPts val="3200"/>
              </a:lnSpc>
              <a:spcBef>
                <a:spcPct val="0"/>
              </a:spcBef>
              <a:buNone/>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US" err="1">
                <a:latin typeface="Calibri"/>
                <a:ea typeface="Calibri"/>
                <a:cs typeface="Calibri"/>
              </a:rPr>
              <a:t>Harmonised</a:t>
            </a:r>
            <a:r>
              <a:rPr lang="en-US">
                <a:latin typeface="Calibri"/>
                <a:ea typeface="Calibri"/>
                <a:cs typeface="Calibri"/>
              </a:rPr>
              <a:t> Allocation Rules Update</a:t>
            </a:r>
            <a:endParaRPr lang="en-US">
              <a:ea typeface="Calibri"/>
            </a:endParaRPr>
          </a:p>
        </p:txBody>
      </p:sp>
      <mc:AlternateContent xmlns:mc="http://schemas.openxmlformats.org/markup-compatibility/2006" xmlns:p14="http://schemas.microsoft.com/office/powerpoint/2010/main">
        <mc:Choice Requires="p14">
          <p:contentPart p14:bwMode="auto" r:id="rId2">
            <p14:nvContentPartPr>
              <p14:cNvPr id="5" name="Ink 4">
                <a:extLst>
                  <a:ext uri="{FF2B5EF4-FFF2-40B4-BE49-F238E27FC236}">
                    <a16:creationId xmlns:a16="http://schemas.microsoft.com/office/drawing/2014/main" id="{186DA76D-A293-A313-6528-CA72E479F563}"/>
                  </a:ext>
                </a:extLst>
              </p14:cNvPr>
              <p14:cNvContentPartPr/>
              <p14:nvPr/>
            </p14:nvContentPartPr>
            <p14:xfrm>
              <a:off x="12046584" y="6813549"/>
              <a:ext cx="15875" cy="15875"/>
            </p14:xfrm>
          </p:contentPart>
        </mc:Choice>
        <mc:Fallback xmlns="">
          <p:pic>
            <p:nvPicPr>
              <p:cNvPr id="5" name="Ink 4">
                <a:extLst>
                  <a:ext uri="{FF2B5EF4-FFF2-40B4-BE49-F238E27FC236}">
                    <a16:creationId xmlns:a16="http://schemas.microsoft.com/office/drawing/2014/main" id="{186DA76D-A293-A313-6528-CA72E479F563}"/>
                  </a:ext>
                </a:extLst>
              </p:cNvPr>
              <p:cNvPicPr/>
              <p:nvPr/>
            </p:nvPicPr>
            <p:blipFill>
              <a:blip r:embed="rId3"/>
              <a:stretch>
                <a:fillRect/>
              </a:stretch>
            </p:blipFill>
            <p:spPr>
              <a:xfrm>
                <a:off x="11252834" y="6019799"/>
                <a:ext cx="1587500" cy="1587500"/>
              </a:xfrm>
              <a:prstGeom prst="rect">
                <a:avLst/>
              </a:prstGeom>
            </p:spPr>
          </p:pic>
        </mc:Fallback>
      </mc:AlternateContent>
      <p:sp>
        <p:nvSpPr>
          <p:cNvPr id="4" name="TextBox 3">
            <a:extLst>
              <a:ext uri="{FF2B5EF4-FFF2-40B4-BE49-F238E27FC236}">
                <a16:creationId xmlns:a16="http://schemas.microsoft.com/office/drawing/2014/main" id="{FFC70BE4-3639-757C-1183-D7DE17871E02}"/>
              </a:ext>
            </a:extLst>
          </p:cNvPr>
          <p:cNvSpPr txBox="1"/>
          <p:nvPr/>
        </p:nvSpPr>
        <p:spPr>
          <a:xfrm>
            <a:off x="418307" y="1868675"/>
            <a:ext cx="11391105" cy="3416320"/>
          </a:xfrm>
          <a:prstGeom prst="rect">
            <a:avLst/>
          </a:prstGeom>
          <a:noFill/>
        </p:spPr>
        <p:txBody>
          <a:bodyPr wrap="square" lIns="91440" tIns="45720" rIns="91440" bIns="45720" anchor="t">
            <a:spAutoFit/>
          </a:bodyPr>
          <a:lstStyle/>
          <a:p>
            <a:pPr algn="l" rtl="0" fontAlgn="base"/>
            <a:r>
              <a:rPr lang="en-US" sz="1800" b="0" i="1" u="none" strike="noStrike">
                <a:solidFill>
                  <a:srgbClr val="3A3A3F"/>
                </a:solidFill>
                <a:effectLst/>
                <a:latin typeface="Calibri" panose="020F0502020204030204" pitchFamily="34" charset="0"/>
              </a:rPr>
              <a:t>On 27 March 2025, All TSOs submitted to ACER their proposal for the amendment of the harmonized allocation rules (HAR) pursuant to Article 51 of Commission Regulation (EU) 2016/1719 of 26 September 2016.</a:t>
            </a:r>
            <a:r>
              <a:rPr lang="en-US" sz="1800" b="0" i="0">
                <a:solidFill>
                  <a:srgbClr val="3A3A3F"/>
                </a:solidFill>
                <a:effectLst/>
                <a:latin typeface="Calibri" panose="020F0502020204030204" pitchFamily="34" charset="0"/>
              </a:rPr>
              <a:t>​</a:t>
            </a:r>
          </a:p>
          <a:p>
            <a:pPr algn="l" rtl="0" fontAlgn="base"/>
            <a:endParaRPr lang="en-US" b="0" i="0">
              <a:solidFill>
                <a:srgbClr val="3A3A3F"/>
              </a:solidFill>
              <a:effectLst/>
              <a:latin typeface="Segoe UI" panose="020B0502040204020203" pitchFamily="34" charset="0"/>
            </a:endParaRPr>
          </a:p>
          <a:p>
            <a:pPr algn="l" rtl="0" fontAlgn="base"/>
            <a:r>
              <a:rPr lang="en-US" sz="1800" b="0" i="1" u="none" strike="noStrike">
                <a:solidFill>
                  <a:srgbClr val="3A3A3F"/>
                </a:solidFill>
                <a:effectLst/>
                <a:latin typeface="Calibri"/>
                <a:ea typeface="Calibri"/>
                <a:cs typeface="Calibri"/>
              </a:rPr>
              <a:t>ACER has notified that they have commenced the procedure ref. ACER-ELE-2025-003 under Article 5(2)(b) of Regulation (EU) 2019/942 and Articles 4(6)(d), 4(12) and 51 of Regulation (EU) 2016/1719 with a view to decide on this matter within six months, i.e. by 29 September 2025.</a:t>
            </a:r>
            <a:r>
              <a:rPr lang="en-US" sz="1800" b="0" i="0">
                <a:solidFill>
                  <a:srgbClr val="3A3A3F"/>
                </a:solidFill>
                <a:effectLst/>
                <a:latin typeface="Calibri"/>
                <a:ea typeface="Calibri"/>
                <a:cs typeface="Calibri"/>
              </a:rPr>
              <a:t>​</a:t>
            </a:r>
          </a:p>
          <a:p>
            <a:pPr algn="l" rtl="0" fontAlgn="base"/>
            <a:endParaRPr lang="en-US" b="0" i="0">
              <a:solidFill>
                <a:srgbClr val="3A3A3F"/>
              </a:solidFill>
              <a:effectLst/>
              <a:latin typeface="Segoe UI" panose="020B0502040204020203" pitchFamily="34" charset="0"/>
            </a:endParaRPr>
          </a:p>
          <a:p>
            <a:pPr algn="l" rtl="0" fontAlgn="base"/>
            <a:r>
              <a:rPr lang="en-US" sz="1800" b="0" i="1" u="none" strike="noStrike">
                <a:solidFill>
                  <a:srgbClr val="3A3A3F"/>
                </a:solidFill>
                <a:effectLst/>
                <a:latin typeface="Calibri" panose="020F0502020204030204" pitchFamily="34" charset="0"/>
              </a:rPr>
              <a:t>As part of the decision procedure, ACER launched a public consultation on the proposed amendment of the HAR on 24 April 2025 until 22 May 2025. More information on this consultation can be found on ACER’s website.</a:t>
            </a:r>
            <a:r>
              <a:rPr lang="en-US" sz="1800" b="0" i="0">
                <a:solidFill>
                  <a:srgbClr val="3A3A3F"/>
                </a:solidFill>
                <a:effectLst/>
                <a:latin typeface="Calibri" panose="020F0502020204030204" pitchFamily="34" charset="0"/>
              </a:rPr>
              <a:t>​</a:t>
            </a:r>
          </a:p>
          <a:p>
            <a:pPr algn="l" rtl="0" fontAlgn="base"/>
            <a:endParaRPr lang="en-US" b="0" i="0">
              <a:solidFill>
                <a:srgbClr val="3A3A3F"/>
              </a:solidFill>
              <a:effectLst/>
              <a:latin typeface="Segoe UI" panose="020B0502040204020203" pitchFamily="34" charset="0"/>
            </a:endParaRPr>
          </a:p>
          <a:p>
            <a:pPr algn="l" rtl="0" fontAlgn="base"/>
            <a:r>
              <a:rPr lang="en-US" sz="1800" b="0" i="1" u="none" strike="noStrike">
                <a:solidFill>
                  <a:srgbClr val="3A3A3F"/>
                </a:solidFill>
                <a:effectLst/>
                <a:latin typeface="Calibri"/>
                <a:ea typeface="Calibri"/>
                <a:cs typeface="Calibri"/>
              </a:rPr>
              <a:t>Several meetings with ACER, </a:t>
            </a:r>
            <a:r>
              <a:rPr lang="en-US" i="1">
                <a:solidFill>
                  <a:srgbClr val="3A3A3F"/>
                </a:solidFill>
                <a:latin typeface="Calibri"/>
                <a:ea typeface="Calibri"/>
                <a:cs typeface="Calibri"/>
              </a:rPr>
              <a:t>NRAs</a:t>
            </a:r>
            <a:r>
              <a:rPr lang="en-US" sz="1800" b="0" i="1" u="none" strike="noStrike">
                <a:solidFill>
                  <a:srgbClr val="3A3A3F"/>
                </a:solidFill>
                <a:effectLst/>
                <a:latin typeface="Calibri"/>
                <a:ea typeface="Calibri"/>
                <a:cs typeface="Calibri"/>
              </a:rPr>
              <a:t> and TSOs were held between 16 April and 12 June. ACER preliminary position is expected on 20 June.</a:t>
            </a:r>
            <a:endParaRPr lang="en-US" b="0" i="0">
              <a:solidFill>
                <a:srgbClr val="3A3A3F"/>
              </a:solidFill>
              <a:effectLst/>
              <a:latin typeface="Calibri"/>
              <a:ea typeface="Calibri"/>
              <a:cs typeface="Calibri"/>
            </a:endParaRPr>
          </a:p>
        </p:txBody>
      </p:sp>
      <p:sp>
        <p:nvSpPr>
          <p:cNvPr id="8" name="Text Placeholder 7">
            <a:extLst>
              <a:ext uri="{FF2B5EF4-FFF2-40B4-BE49-F238E27FC236}">
                <a16:creationId xmlns:a16="http://schemas.microsoft.com/office/drawing/2014/main" id="{74618436-CF26-5708-C10B-3C2D7A492E01}"/>
              </a:ext>
            </a:extLst>
          </p:cNvPr>
          <p:cNvSpPr>
            <a:spLocks noGrp="1"/>
          </p:cNvSpPr>
          <p:nvPr>
            <p:ph type="body" sz="quarter" idx="12"/>
          </p:nvPr>
        </p:nvSpPr>
        <p:spPr/>
        <p:txBody>
          <a:bodyPr/>
          <a:lstStyle/>
          <a:p>
            <a:endParaRPr lang="en-GB"/>
          </a:p>
        </p:txBody>
      </p:sp>
    </p:spTree>
    <p:extLst>
      <p:ext uri="{BB962C8B-B14F-4D97-AF65-F5344CB8AC3E}">
        <p14:creationId xmlns:p14="http://schemas.microsoft.com/office/powerpoint/2010/main" val="26515857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259&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4&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6&quot;&gt;&lt;elem m_fUsage=&quot;4.77050943215971123834E+00&quot;&gt;&lt;m_msothmcolidx val=&quot;0&quot;/&gt;&lt;m_rgb r=&quot;0F&quot; g=&quot;21&quot; b=&quot;8B&quot;/&gt;&lt;/elem&gt;&lt;elem m_fUsage=&quot;3.59871775811396066302E+00&quot;&gt;&lt;m_msothmcolidx val=&quot;0&quot;/&gt;&lt;m_rgb r=&quot;00&quot; g=&quot;94&quot; b=&quot;7F&quot;/&gt;&lt;/elem&gt;&lt;elem m_fUsage=&quot;6.88845639477159155106E-01&quot;&gt;&lt;m_msothmcolidx val=&quot;0&quot;/&gt;&lt;m_rgb r=&quot;F7&quot; g=&quot;54&quot; b=&quot;B1&quot;/&gt;&lt;/elem&gt;&lt;elem m_fUsage=&quot;4.30467210000000155556E-01&quot;&gt;&lt;m_msothmcolidx val=&quot;0&quot;/&gt;&lt;m_rgb r=&quot;F0&quot; g=&quot;F0&quot; b=&quot;F0&quot;/&gt;&lt;/elem&gt;&lt;elem m_fUsage=&quot;7.17897987691853145531E-02&quot;&gt;&lt;m_msothmcolidx val=&quot;0&quot;/&gt;&lt;m_rgb r=&quot;6B&quot; g=&quot;6B&quot; b=&quot;6F&quot;/&gt;&lt;/elem&gt;&lt;elem m_fUsage=&quot;5.81497370030401097840E-02&quot;&gt;&lt;m_msothmcolidx val=&quot;0&quot;/&gt;&lt;m_rgb r=&quot;92&quot; g=&quot;D0&quot; b=&quot;5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ENTSO-E Content">
  <a:themeElements>
    <a:clrScheme name="ENTSO-E">
      <a:dk1>
        <a:srgbClr val="3A3A3F"/>
      </a:dk1>
      <a:lt1>
        <a:srgbClr val="FFFFFF"/>
      </a:lt1>
      <a:dk2>
        <a:srgbClr val="3A3A3F"/>
      </a:dk2>
      <a:lt2>
        <a:srgbClr val="E7E6E6"/>
      </a:lt2>
      <a:accent1>
        <a:srgbClr val="2054A5"/>
      </a:accent1>
      <a:accent2>
        <a:srgbClr val="0FB29A"/>
      </a:accent2>
      <a:accent3>
        <a:srgbClr val="F37020"/>
      </a:accent3>
      <a:accent4>
        <a:srgbClr val="F7A431"/>
      </a:accent4>
      <a:accent5>
        <a:srgbClr val="3A3A3A"/>
      </a:accent5>
      <a:accent6>
        <a:srgbClr val="0073C8"/>
      </a:accent6>
      <a:hlink>
        <a:srgbClr val="0563C1"/>
      </a:hlink>
      <a:folHlink>
        <a:srgbClr val="954F72"/>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ntso-e_ppt_template_with_new title_slides_210709.pptx" id="{AD71176E-1EE7-4AA8-AF3C-1E0837130DDD}" vid="{6436E805-6281-4D28-9214-61C90FC0BFD2}"/>
    </a:ext>
  </a:extLst>
</a:theme>
</file>

<file path=ppt/theme/theme2.xml><?xml version="1.0" encoding="utf-8"?>
<a:theme xmlns:a="http://schemas.openxmlformats.org/drawingml/2006/main" name="5_ENTSO-E Content">
  <a:themeElements>
    <a:clrScheme name="ENTSO-E">
      <a:dk1>
        <a:srgbClr val="3A3A3F"/>
      </a:dk1>
      <a:lt1>
        <a:srgbClr val="FFFFFF"/>
      </a:lt1>
      <a:dk2>
        <a:srgbClr val="3A3A3F"/>
      </a:dk2>
      <a:lt2>
        <a:srgbClr val="E7E6E6"/>
      </a:lt2>
      <a:accent1>
        <a:srgbClr val="2054A5"/>
      </a:accent1>
      <a:accent2>
        <a:srgbClr val="0FB29A"/>
      </a:accent2>
      <a:accent3>
        <a:srgbClr val="F37020"/>
      </a:accent3>
      <a:accent4>
        <a:srgbClr val="F7A431"/>
      </a:accent4>
      <a:accent5>
        <a:srgbClr val="3A3A3A"/>
      </a:accent5>
      <a:accent6>
        <a:srgbClr val="0073C8"/>
      </a:accent6>
      <a:hlink>
        <a:srgbClr val="0563C1"/>
      </a:hlink>
      <a:folHlink>
        <a:srgbClr val="954F72"/>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42B0DF6B-7160-394F-9876-CC35ABDDDBD6}" vid="{C5760BF1-A972-D844-8595-9E61C43D0D9C}"/>
    </a:ext>
  </a:extLst>
</a:theme>
</file>

<file path=ppt/theme/theme3.xml><?xml version="1.0" encoding="utf-8"?>
<a:theme xmlns:a="http://schemas.openxmlformats.org/drawingml/2006/main" name="12_Magnus Red 4ENERGY">
  <a:themeElements>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FF"/>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b="0" i="0" u="none" strike="noStrike" cap="none" normalizeH="0" baseline="0" smtClean="0">
            <a:ln>
              <a:noFill/>
            </a:ln>
            <a:solidFill>
              <a:schemeClr val="tx1"/>
            </a:solidFill>
            <a:effectLst/>
            <a:latin typeface="+mn-lt"/>
          </a:defRPr>
        </a:defPPr>
      </a:lstStyle>
    </a:spDef>
    <a:lnDef>
      <a:spPr bwMode="auto">
        <a:solidFill>
          <a:schemeClr val="accent1"/>
        </a:solidFill>
        <a:ln w="19050" cap="flat" cmpd="sng" algn="ctr">
          <a:solidFill>
            <a:schemeClr val="tx1"/>
          </a:solidFill>
          <a:prstDash val="solid"/>
          <a:round/>
          <a:headEnd type="none" w="med" len="med"/>
          <a:tailEnd type="arrow"/>
        </a:ln>
        <a:effectLst/>
      </a:spPr>
      <a:bodyPr/>
      <a:lstStyle/>
    </a:lnDef>
    <a:txDef>
      <a:spPr>
        <a:noFill/>
      </a:spPr>
      <a:bodyPr wrap="none" rtlCol="0">
        <a:spAutoFit/>
      </a:bodyPr>
      <a:lstStyle>
        <a:defPPr algn="l">
          <a:defRPr sz="1400" smtClean="0">
            <a:solidFill>
              <a:schemeClr val="tx2"/>
            </a:solidFill>
            <a:latin typeface="Arial" panose="020B0604020202020204" pitchFamily="34" charset="0"/>
            <a:cs typeface="Arial" panose="020B0604020202020204" pitchFamily="34" charset="0"/>
          </a:defRPr>
        </a:defPPr>
      </a:lstStyle>
    </a:txDef>
  </a:objectDefaults>
  <a:extraClrSchemeLst>
    <a:extraClrScheme>
      <a:clrScheme name="Nouvelle pré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ouvelle pré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ouvelle pré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ouvelle pré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ouvelle pré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ouvelle pré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ouvelle pré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ouvelle pré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ouvelle pré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ouvelle pré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ouvelle pré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ouvelle pré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emplate CWE slides 2" id="{9C6C80EF-07BA-4316-A3B7-3AC9E50EED1F}" vid="{7A22D3B6-89C6-4749-A306-7BF1AB253485}"/>
    </a:ext>
  </a:extLst>
</a:theme>
</file>

<file path=ppt/theme/theme4.xml><?xml version="1.0" encoding="utf-8"?>
<a:theme xmlns:a="http://schemas.openxmlformats.org/drawingml/2006/main" name="Content">
  <a:themeElements>
    <a:clrScheme name="Elia Theme">
      <a:dk1>
        <a:srgbClr val="000000"/>
      </a:dk1>
      <a:lt1>
        <a:srgbClr val="FFFFFF"/>
      </a:lt1>
      <a:dk2>
        <a:srgbClr val="258998"/>
      </a:dk2>
      <a:lt2>
        <a:srgbClr val="FF7300"/>
      </a:lt2>
      <a:accent1>
        <a:srgbClr val="6AA9A0"/>
      </a:accent1>
      <a:accent2>
        <a:srgbClr val="394D55"/>
      </a:accent2>
      <a:accent3>
        <a:srgbClr val="E85422"/>
      </a:accent3>
      <a:accent4>
        <a:srgbClr val="990035"/>
      </a:accent4>
      <a:accent5>
        <a:srgbClr val="447583"/>
      </a:accent5>
      <a:accent6>
        <a:srgbClr val="9AC3CE"/>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defRPr sz="1600" dirty="0" err="1" smtClean="0">
            <a:solidFill>
              <a:schemeClr val="accent2"/>
            </a:solidFill>
          </a:defRPr>
        </a:defPPr>
      </a:lstStyle>
    </a:txDef>
  </a:objectDefaults>
  <a:extraClrSchemeLst/>
  <a:extLst>
    <a:ext uri="{05A4C25C-085E-4340-85A3-A5531E510DB2}">
      <thm15:themeFamily xmlns:thm15="http://schemas.microsoft.com/office/thememl/2012/main" name="Elia_template_2020_compressed.potx" id="{98D52251-9B2A-4335-A348-C82DCCF13A23}" vid="{E9B8D0BB-B6AA-47FD-8436-7C342490D552}"/>
    </a:ext>
  </a:extLst>
</a:theme>
</file>

<file path=ppt/theme/theme5.xml><?xml version="1.0" encoding="utf-8"?>
<a:theme xmlns:a="http://schemas.openxmlformats.org/drawingml/2006/main" name="Energinet templates">
  <a:themeElements>
    <a:clrScheme name="Energinet-tema 1">
      <a:dk1>
        <a:srgbClr val="000000"/>
      </a:dk1>
      <a:lt1>
        <a:srgbClr val="FFFFFF"/>
      </a:lt1>
      <a:dk2>
        <a:srgbClr val="A0C1C2"/>
      </a:dk2>
      <a:lt2>
        <a:srgbClr val="A0CD92"/>
      </a:lt2>
      <a:accent1>
        <a:srgbClr val="008B8B"/>
      </a:accent1>
      <a:accent2>
        <a:srgbClr val="0A515D"/>
      </a:accent2>
      <a:accent3>
        <a:srgbClr val="FFD424"/>
      </a:accent3>
      <a:accent4>
        <a:srgbClr val="C2E5F1"/>
      </a:accent4>
      <a:accent5>
        <a:srgbClr val="00A98F"/>
      </a:accent5>
      <a:accent6>
        <a:srgbClr val="00A7BD"/>
      </a:accent6>
      <a:hlink>
        <a:srgbClr val="00A98F"/>
      </a:hlink>
      <a:folHlink>
        <a:srgbClr val="00A6BC"/>
      </a:folHlink>
    </a:clrScheme>
    <a:fontScheme name="Energinet.dk">
      <a:majorFont>
        <a:latin typeface="Calibri Light"/>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90000"/>
          </a:lnSpc>
          <a:spcBef>
            <a:spcPts val="750"/>
          </a:spcBef>
          <a:defRPr sz="2000" noProof="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Præsentation1" id="{2B3D7A74-2AD2-5146-BEBD-8855304F168E}" vid="{2217B3B7-8824-4642-9CB9-AE768D595932}"/>
    </a:ext>
  </a:extLst>
</a:theme>
</file>

<file path=ppt/theme/theme6.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e3fb2008-9808-4f29-aa32-2f66631018ed">
      <Value>5</Value>
      <Value>4</Value>
      <Value>3</Value>
    </TaxCatchAll>
    <Open_x0020_to_x0020_ACER xmlns="e3fb2008-9808-4f29-aa32-2f66631018ed">false</Open_x0020_to_x0020_ACER>
    <o9b5552cd29f405b8612d2920cb859c4 xmlns="e3fb2008-9808-4f29-aa32-2f66631018ed" xsi:nil="true"/>
    <Document_x0020_Type xmlns="e3fb2008-9808-4f29-aa32-2f66631018ed">125</Document_x0020_Type>
    <i85e4520245b48aa896a2e6f400e83f6 xmlns="e3fb2008-9808-4f29-aa32-2f66631018ed" xsi:nil="true"/>
    <Business_x0020_Record xmlns="e3fb2008-9808-4f29-aa32-2f66631018ed" xsi:nil="true"/>
    <a11881793d4943049370f281afa2b378 xmlns="e3fb2008-9808-4f29-aa32-2f66631018ed" xsi:nil="true"/>
    <Approval_x0020_Level xmlns="e3fb2008-9808-4f29-aa32-2f66631018ed" xsi:nil="true"/>
    <Work_x0020_Area xmlns="e3fb2008-9808-4f29-aa32-2f66631018ed" xsi:nil="true"/>
    <Open_x0020_to_x0020_EC xmlns="e3fb2008-9808-4f29-aa32-2f66631018ed">false</Open_x0020_to_x0020_EC>
    <Meeting xmlns="e3fb2008-9808-4f29-aa32-2f66631018ed" xsi:nil="true"/>
    <TaxKeywordTaxHTField xmlns="e3fb2008-9808-4f29-aa32-2f66631018ed">
      <Terms xmlns="http://schemas.microsoft.com/office/infopath/2007/PartnerControls">
        <TermInfo xmlns="http://schemas.microsoft.com/office/infopath/2007/PartnerControls">
          <TermName xmlns="http://schemas.microsoft.com/office/infopath/2007/PartnerControls">ENTSO-E PowerPoint</TermName>
          <TermId xmlns="http://schemas.microsoft.com/office/infopath/2007/PartnerControls">00000000-0000-0000-0000-000000000000</TermId>
        </TermInfo>
      </Terms>
    </TaxKeywordTaxHTField>
    <MYENTSOE_SiteType xmlns="bca4c1c7-ecb6-4582-a708-ca09c7f7ccf2">MYENTSOE</MYENTSOE_SiteType>
    <p1852c58db394add9408608ec1b6c45a xmlns="bca4c1c7-ecb6-4582-a708-ca09c7f7ccf2">
      <Terms xmlns="http://schemas.microsoft.com/office/infopath/2007/PartnerControls"/>
    </p1852c58db394add9408608ec1b6c45a>
    <f84e6894a10f4f1aaa4a69eb636318cb xmlns="bca4c1c7-ecb6-4582-a708-ca09c7f7ccf2">
      <Terms xmlns="http://schemas.microsoft.com/office/infopath/2007/PartnerControls">
        <TermInfo xmlns="http://schemas.microsoft.com/office/infopath/2007/PartnerControls">
          <TermName xmlns="http://schemas.microsoft.com/office/infopath/2007/PartnerControls">MC</TermName>
          <TermId xmlns="http://schemas.microsoft.com/office/infopath/2007/PartnerControls">7366e961-a820-475f-a3d2-d45454cbc454</TermId>
        </TermInfo>
      </Terms>
    </f84e6894a10f4f1aaa4a69eb636318cb>
    <k48e940cc0754c639dadc8a7b35e5103 xmlns="bca4c1c7-ecb6-4582-a708-ca09c7f7ccf2">
      <Terms xmlns="http://schemas.microsoft.com/office/infopath/2007/PartnerControls"/>
    </k48e940cc0754c639dadc8a7b35e5103>
    <a9672d3bf7a74cca9799b23521328606 xmlns="bca4c1c7-ecb6-4582-a708-ca09c7f7ccf2">
      <Terms xmlns="http://schemas.microsoft.com/office/infopath/2007/PartnerControls">
        <TermInfo xmlns="http://schemas.microsoft.com/office/infopath/2007/PartnerControls">
          <TermName xmlns="http://schemas.microsoft.com/office/infopath/2007/PartnerControls">Extranet</TermName>
          <TermId xmlns="http://schemas.microsoft.com/office/infopath/2007/PartnerControls">922fc1ba-0c8d-4fbf-b30d-83722d0f30f2</TermId>
        </TermInfo>
      </Terms>
    </a9672d3bf7a74cca9799b23521328606>
    <k6f14fe62bd84d3e9f4c290f11b27ed1 xmlns="bca4c1c7-ecb6-4582-a708-ca09c7f7ccf2">
      <Terms xmlns="http://schemas.microsoft.com/office/infopath/2007/PartnerControls"/>
    </k6f14fe62bd84d3e9f4c290f11b27ed1>
    <b4c38addb6ba4d6ea04d5a5e1fdeb395 xmlns="bca4c1c7-ecb6-4582-a708-ca09c7f7ccf2">
      <Terms xmlns="http://schemas.microsoft.com/office/infopath/2007/PartnerControls"/>
    </b4c38addb6ba4d6ea04d5a5e1fdeb395>
    <pbee1c4014ca48d69e85f88d499ac871 xmlns="bca4c1c7-ecb6-4582-a708-ca09c7f7ccf2">
      <Terms xmlns="http://schemas.microsoft.com/office/infopath/2007/PartnerControls">
        <TermInfo xmlns="http://schemas.microsoft.com/office/infopath/2007/PartnerControls">
          <TermName xmlns="http://schemas.microsoft.com/office/infopath/2007/PartnerControls">Shared</TermName>
          <TermId xmlns="http://schemas.microsoft.com/office/infopath/2007/PartnerControls">04da8cfa-2b68-4725-9db5-e7b66ab623e6</TermId>
        </TermInfo>
      </Terms>
    </pbee1c4014ca48d69e85f88d499ac871>
    <bd4a75322cf242db8e867a226512a92a xmlns="bca4c1c7-ecb6-4582-a708-ca09c7f7ccf2">
      <Terms xmlns="http://schemas.microsoft.com/office/infopath/2007/PartnerControls"/>
    </bd4a75322cf242db8e867a226512a92a>
    <a7cf0c0da8f245acbfc0b75c18c71c01 xmlns="bca4c1c7-ecb6-4582-a708-ca09c7f7ccf2">
      <Terms xmlns="http://schemas.microsoft.com/office/infopath/2007/PartnerControls"/>
    </a7cf0c0da8f245acbfc0b75c18c71c01>
    <pa2762511e8c45a99a143d0797376ecf xmlns="bca4c1c7-ecb6-4582-a708-ca09c7f7ccf2">
      <Terms xmlns="http://schemas.microsoft.com/office/infopath/2007/PartnerControls"/>
    </pa2762511e8c45a99a143d0797376ecf>
    <jaf702f8665841b5a1db349f2bdef64a xmlns="bca4c1c7-ecb6-4582-a708-ca09c7f7ccf2">
      <Terms xmlns="http://schemas.microsoft.com/office/infopath/2007/PartnerControls"/>
    </jaf702f8665841b5a1db349f2bdef64a>
  </documentManagement>
</p:properties>
</file>

<file path=customXml/item2.xml><?xml version="1.0" encoding="utf-8"?>
<?mso-contentType ?>
<FormTemplates xmlns="http://schemas.microsoft.com/sharepoint/v3/contenttype/forms"/>
</file>

<file path=customXml/item3.xml><?xml version="1.0" encoding="utf-8"?>
<ct:contentTypeSchema xmlns:ct="http://schemas.microsoft.com/office/2006/metadata/contentType" xmlns:ma="http://schemas.microsoft.com/office/2006/metadata/properties/metaAttributes" ct:_="" ma:_="" ma:contentTypeName="ENTSO-E Meeting" ma:contentTypeID="0x010100470991402C76AE478B96F78D260C0E54010055E83513B5291549B5F7F66D566CAF95" ma:contentTypeVersion="52" ma:contentTypeDescription="" ma:contentTypeScope="" ma:versionID="ed1d183d46a58b8d58aa1dc8b372ff9c">
  <xsd:schema xmlns:xsd="http://www.w3.org/2001/XMLSchema" xmlns:xs="http://www.w3.org/2001/XMLSchema" xmlns:p="http://schemas.microsoft.com/office/2006/metadata/properties" xmlns:ns2="e3fb2008-9808-4f29-aa32-2f66631018ed" xmlns:ns3="bca4c1c7-ecb6-4582-a708-ca09c7f7ccf2" targetNamespace="http://schemas.microsoft.com/office/2006/metadata/properties" ma:root="true" ma:fieldsID="713de0d62861425fac5f2311a92282b9" ns2:_="" ns3:_="">
    <xsd:import namespace="e3fb2008-9808-4f29-aa32-2f66631018ed"/>
    <xsd:import namespace="bca4c1c7-ecb6-4582-a708-ca09c7f7ccf2"/>
    <xsd:element name="properties">
      <xsd:complexType>
        <xsd:sequence>
          <xsd:element name="documentManagement">
            <xsd:complexType>
              <xsd:all>
                <xsd:element ref="ns2:TaxCatchAll" minOccurs="0"/>
                <xsd:element ref="ns2:Open_x0020_to_x0020_ACER" minOccurs="0"/>
                <xsd:element ref="ns2:Open_x0020_to_x0020_EC" minOccurs="0"/>
                <xsd:element ref="ns2:Document_x0020_Type" minOccurs="0"/>
                <xsd:element ref="ns2:Work_x0020_Area" minOccurs="0"/>
                <xsd:element ref="ns2:Business_x0020_Record" minOccurs="0"/>
                <xsd:element ref="ns2:Meeting" minOccurs="0"/>
                <xsd:element ref="ns2:Approval_x0020_Level" minOccurs="0"/>
                <xsd:element ref="ns2:o9b5552cd29f405b8612d2920cb859c4" minOccurs="0"/>
                <xsd:element ref="ns2:TaxCatchAllLabel" minOccurs="0"/>
                <xsd:element ref="ns2:a11881793d4943049370f281afa2b378" minOccurs="0"/>
                <xsd:element ref="ns2:i85e4520245b48aa896a2e6f400e83f6" minOccurs="0"/>
                <xsd:element ref="ns2:TaxKeywordTaxHTField" minOccurs="0"/>
                <xsd:element ref="ns3:MediaServiceMetadata" minOccurs="0"/>
                <xsd:element ref="ns3:MediaServiceFastMetadata" minOccurs="0"/>
                <xsd:element ref="ns3:MediaServiceSearchProperties" minOccurs="0"/>
                <xsd:element ref="ns3:MediaServiceObjectDetectorVersions" minOccurs="0"/>
                <xsd:element ref="ns3:MYENTSOE_SiteType" minOccurs="0"/>
                <xsd:element ref="ns3:a9672d3bf7a74cca9799b23521328606" minOccurs="0"/>
                <xsd:element ref="ns3:f84e6894a10f4f1aaa4a69eb636318cb" minOccurs="0"/>
                <xsd:element ref="ns3:bd4a75322cf242db8e867a226512a92a" minOccurs="0"/>
                <xsd:element ref="ns3:jaf702f8665841b5a1db349f2bdef64a" minOccurs="0"/>
                <xsd:element ref="ns3:a7cf0c0da8f245acbfc0b75c18c71c01" minOccurs="0"/>
                <xsd:element ref="ns3:b4c38addb6ba4d6ea04d5a5e1fdeb395" minOccurs="0"/>
                <xsd:element ref="ns3:pbee1c4014ca48d69e85f88d499ac871" minOccurs="0"/>
                <xsd:element ref="ns3:k6f14fe62bd84d3e9f4c290f11b27ed1" minOccurs="0"/>
                <xsd:element ref="ns3:k48e940cc0754c639dadc8a7b35e5103" minOccurs="0"/>
                <xsd:element ref="ns3:pa2762511e8c45a99a143d0797376ecf" minOccurs="0"/>
                <xsd:element ref="ns3:p1852c58db394add9408608ec1b6c45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3fb2008-9808-4f29-aa32-2f66631018ed"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51772ddf-d174-42d7-91d7-853f406e9969}" ma:internalName="TaxCatchAll" ma:readOnly="false" ma:showField="CatchAllData" ma:web="e3fb2008-9808-4f29-aa32-2f66631018ed">
      <xsd:complexType>
        <xsd:complexContent>
          <xsd:extension base="dms:MultiChoiceLookup">
            <xsd:sequence>
              <xsd:element name="Value" type="dms:Lookup" maxOccurs="unbounded" minOccurs="0" nillable="true"/>
            </xsd:sequence>
          </xsd:extension>
        </xsd:complexContent>
      </xsd:complexType>
    </xsd:element>
    <xsd:element name="Open_x0020_to_x0020_ACER" ma:index="9" nillable="true" ma:displayName="Open to ACER" ma:default="0" ma:description="This field should indicate if, from a business point of view, there is acceptance to share the data or document with ACER. In case the data or document is not open to ACER and there is a request from ACER, the legal basis for this request needs to be assessed by ENTSO-E Legal Section." ma:internalName="Open_x0020_to_x0020_ACER" ma:readOnly="false">
      <xsd:simpleType>
        <xsd:restriction base="dms:Boolean"/>
      </xsd:simpleType>
    </xsd:element>
    <xsd:element name="Open_x0020_to_x0020_EC" ma:index="10" nillable="true" ma:displayName="Open to EC" ma:default="0" ma:description="This field should indicate if, from a business point of view, there is acceptance to share the data or document with the EC. In case the data or document is not open to the EC and there is a request from the EC, the legal basis for this request needs to be assessed by ENTSO-E Legal Section." ma:internalName="Open_x0020_to_x0020_EC" ma:readOnly="false">
      <xsd:simpleType>
        <xsd:restriction base="dms:Boolean"/>
      </xsd:simpleType>
    </xsd:element>
    <xsd:element name="Document_x0020_Type" ma:index="11" nillable="true" ma:displayName="Document Type" ma:list="{9ed8d07d-2cf7-40fc-9cab-dc5e06c61705}" ma:internalName="Document_x0020_Type" ma:readOnly="false" ma:showField="Title" ma:web="e3fb2008-9808-4f29-aa32-2f66631018ed">
      <xsd:simpleType>
        <xsd:restriction base="dms:Lookup"/>
      </xsd:simpleType>
    </xsd:element>
    <xsd:element name="Work_x0020_Area" ma:index="13" nillable="true" ma:displayName="Work Area" ma:list="{67fd9c33-2680-4da8-8df1-5892e7892197}" ma:internalName="Work_x0020_Area" ma:readOnly="false" ma:showField="Title" ma:web="e3fb2008-9808-4f29-aa32-2f66631018ed">
      <xsd:simpleType>
        <xsd:restriction base="dms:Lookup"/>
      </xsd:simpleType>
    </xsd:element>
    <xsd:element name="Business_x0020_Record" ma:index="14" nillable="true" ma:displayName="Business Record" ma:list="{a0066da0-e5ac-40e4-b9bf-e8818053e13a}" ma:internalName="Business_x0020_Record" ma:readOnly="false" ma:showField="Title" ma:web="e3fb2008-9808-4f29-aa32-2f66631018ed">
      <xsd:simpleType>
        <xsd:restriction base="dms:Lookup"/>
      </xsd:simpleType>
    </xsd:element>
    <xsd:element name="Meeting" ma:index="15" nillable="true" ma:displayName="Meeting" ma:internalName="Meeting" ma:readOnly="false">
      <xsd:simpleType>
        <xsd:restriction base="dms:Text">
          <xsd:maxLength value="255"/>
        </xsd:restriction>
      </xsd:simpleType>
    </xsd:element>
    <xsd:element name="Approval_x0020_Level" ma:index="16" nillable="true" ma:displayName="Approval Level" ma:list="{cd56f3f1-79c9-40eb-a5e5-9429b6d8f84d}" ma:internalName="Approval_x0020_Level" ma:readOnly="false" ma:showField="Title" ma:web="e3fb2008-9808-4f29-aa32-2f66631018ed">
      <xsd:simpleType>
        <xsd:restriction base="dms:Lookup"/>
      </xsd:simpleType>
    </xsd:element>
    <xsd:element name="o9b5552cd29f405b8612d2920cb859c4" ma:index="17" nillable="true" ma:displayName="Data Classification_0" ma:hidden="true" ma:internalName="o9b5552cd29f405b8612d2920cb859c4" ma:readOnly="false">
      <xsd:simpleType>
        <xsd:restriction base="dms:Note"/>
      </xsd:simpleType>
    </xsd:element>
    <xsd:element name="TaxCatchAllLabel" ma:index="18" nillable="true" ma:displayName="Taxonomy Catch All Column1" ma:hidden="true" ma:list="{51772ddf-d174-42d7-91d7-853f406e9969}" ma:internalName="TaxCatchAllLabel" ma:readOnly="true" ma:showField="CatchAllDataLabel" ma:web="e3fb2008-9808-4f29-aa32-2f66631018ed">
      <xsd:complexType>
        <xsd:complexContent>
          <xsd:extension base="dms:MultiChoiceLookup">
            <xsd:sequence>
              <xsd:element name="Value" type="dms:Lookup" maxOccurs="unbounded" minOccurs="0" nillable="true"/>
            </xsd:sequence>
          </xsd:extension>
        </xsd:complexContent>
      </xsd:complexType>
    </xsd:element>
    <xsd:element name="a11881793d4943049370f281afa2b378" ma:index="19" nillable="true" ma:displayName="Data Origin_0" ma:hidden="true" ma:internalName="a11881793d4943049370f281afa2b378" ma:readOnly="false">
      <xsd:simpleType>
        <xsd:restriction base="dms:Note"/>
      </xsd:simpleType>
    </xsd:element>
    <xsd:element name="i85e4520245b48aa896a2e6f400e83f6" ma:index="20" nillable="true" ma:displayName="Level of Disclosure_0" ma:hidden="true" ma:internalName="i85e4520245b48aa896a2e6f400e83f6" ma:readOnly="false">
      <xsd:simpleType>
        <xsd:restriction base="dms:Note"/>
      </xsd:simpleType>
    </xsd:element>
    <xsd:element name="TaxKeywordTaxHTField" ma:index="21" nillable="true" ma:taxonomy="true" ma:internalName="TaxKeywordTaxHTField" ma:taxonomyFieldName="TaxKeyword" ma:displayName="Document Tags" ma:readOnly="false" ma:fieldId="{23f27201-bee3-471e-b2e7-b64fd8b7ca38}" ma:taxonomyMulti="true" ma:sspId="0cf2b176-d4dc-4d18-8c95-51f9f2dafcd3"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ca4c1c7-ecb6-4582-a708-ca09c7f7ccf2" elementFormDefault="qualified">
    <xsd:import namespace="http://schemas.microsoft.com/office/2006/documentManagement/types"/>
    <xsd:import namespace="http://schemas.microsoft.com/office/infopath/2007/PartnerControls"/>
    <xsd:element name="MediaServiceMetadata" ma:index="22" nillable="true" ma:displayName="MediaServiceMetadata" ma:hidden="true" ma:internalName="MediaServiceMetadata" ma:readOnly="true">
      <xsd:simpleType>
        <xsd:restriction base="dms:Note"/>
      </xsd:simpleType>
    </xsd:element>
    <xsd:element name="MediaServiceFastMetadata" ma:index="23" nillable="true" ma:displayName="MediaServiceFastMetadata" ma:hidden="true" ma:internalName="MediaServiceFastMetadata" ma:readOnly="true">
      <xsd:simpleType>
        <xsd:restriction base="dms:Note"/>
      </xsd:simple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ObjectDetectorVersions" ma:index="25" nillable="true" ma:displayName="MediaServiceObjectDetectorVersions" ma:description="" ma:hidden="true" ma:internalName="MediaServiceObjectDetectorVersions" ma:readOnly="true">
      <xsd:simpleType>
        <xsd:restriction base="dms:Text"/>
      </xsd:simpleType>
    </xsd:element>
    <xsd:element name="MYENTSOE_SiteType" ma:index="26" nillable="true" ma:displayName="Site Type" ma:default="MYENTSOE" ma:internalName="MYENTSOE_SiteType">
      <xsd:simpleType>
        <xsd:restriction base="dms:Text"/>
      </xsd:simpleType>
    </xsd:element>
    <xsd:element name="a9672d3bf7a74cca9799b23521328606" ma:index="28" nillable="true" ma:taxonomy="true" ma:internalName="a9672d3bf7a74cca9799b23521328606" ma:taxonomyFieldName="MYENTSOE_PublicType" ma:displayName="Public Type" ma:readOnly="false" ma:default="-1;#Extranet|922fc1ba-0c8d-4fbf-b30d-83722d0f30f2" ma:fieldId="{a9672d3b-f7a7-4cca-9799-b23521328606}" ma:sspId="0cf2b176-d4dc-4d18-8c95-51f9f2dafcd3" ma:termSetId="a0d7c562-4a8e-458a-9f8a-6a29e3d3b260" ma:anchorId="00000000-0000-0000-0000-000000000000" ma:open="false" ma:isKeyword="false">
      <xsd:complexType>
        <xsd:sequence>
          <xsd:element ref="pc:Terms" minOccurs="0" maxOccurs="1"/>
        </xsd:sequence>
      </xsd:complexType>
    </xsd:element>
    <xsd:element name="f84e6894a10f4f1aaa4a69eb636318cb" ma:index="30" nillable="true" ma:taxonomy="true" ma:internalName="f84e6894a10f4f1aaa4a69eb636318cb" ma:taxonomyFieldName="MYENTSOE_Section" ma:displayName="Section" ma:readOnly="false" ma:default="-1;#MC|7366e961-a820-475f-a3d2-d45454cbc454" ma:fieldId="{f84e6894-a10f-4f1a-aa4a-69eb636318cb}" ma:sspId="0cf2b176-d4dc-4d18-8c95-51f9f2dafcd3" ma:termSetId="ca6f290f-ffad-40e7-8c84-e8889b665443" ma:anchorId="00000000-0000-0000-0000-000000000000" ma:open="false" ma:isKeyword="false">
      <xsd:complexType>
        <xsd:sequence>
          <xsd:element ref="pc:Terms" minOccurs="0" maxOccurs="1"/>
        </xsd:sequence>
      </xsd:complexType>
    </xsd:element>
    <xsd:element name="bd4a75322cf242db8e867a226512a92a" ma:index="32" nillable="true" ma:taxonomy="true" ma:internalName="bd4a75322cf242db8e867a226512a92a" ma:taxonomyFieldName="MYENTSOE_Classification1" ma:displayName="Classification 1" ma:readOnly="false" ma:fieldId="{bd4a7532-2cf2-42db-8e86-7a226512a92a}" ma:sspId="0cf2b176-d4dc-4d18-8c95-51f9f2dafcd3" ma:termSetId="dedbf0d3-7411-4d77-a10b-23d4d399690e" ma:anchorId="00000000-0000-0000-0000-000000000000" ma:open="false" ma:isKeyword="false">
      <xsd:complexType>
        <xsd:sequence>
          <xsd:element ref="pc:Terms" minOccurs="0" maxOccurs="1"/>
        </xsd:sequence>
      </xsd:complexType>
    </xsd:element>
    <xsd:element name="jaf702f8665841b5a1db349f2bdef64a" ma:index="34" nillable="true" ma:taxonomy="true" ma:internalName="jaf702f8665841b5a1db349f2bdef64a" ma:taxonomyFieldName="MYENTSOE_Classification2" ma:displayName="Classification 2" ma:readOnly="false" ma:fieldId="{3af702f8-6658-41b5-a1db-349f2bdef64a}" ma:sspId="0cf2b176-d4dc-4d18-8c95-51f9f2dafcd3" ma:termSetId="dedbf0d3-7411-4d77-a10b-23d4d399690e" ma:anchorId="00000000-0000-0000-0000-000000000000" ma:open="false" ma:isKeyword="false">
      <xsd:complexType>
        <xsd:sequence>
          <xsd:element ref="pc:Terms" minOccurs="0" maxOccurs="1"/>
        </xsd:sequence>
      </xsd:complexType>
    </xsd:element>
    <xsd:element name="a7cf0c0da8f245acbfc0b75c18c71c01" ma:index="36" nillable="true" ma:taxonomy="true" ma:internalName="a7cf0c0da8f245acbfc0b75c18c71c01" ma:taxonomyFieldName="MYENTSOE_Classification3" ma:displayName="Classification 3" ma:readOnly="false" ma:fieldId="{a7cf0c0d-a8f2-45ac-bfc0-b75c18c71c01}" ma:sspId="0cf2b176-d4dc-4d18-8c95-51f9f2dafcd3" ma:termSetId="dedbf0d3-7411-4d77-a10b-23d4d399690e" ma:anchorId="00000000-0000-0000-0000-000000000000" ma:open="false" ma:isKeyword="false">
      <xsd:complexType>
        <xsd:sequence>
          <xsd:element ref="pc:Terms" minOccurs="0" maxOccurs="1"/>
        </xsd:sequence>
      </xsd:complexType>
    </xsd:element>
    <xsd:element name="b4c38addb6ba4d6ea04d5a5e1fdeb395" ma:index="38" nillable="true" ma:taxonomy="true" ma:internalName="b4c38addb6ba4d6ea04d5a5e1fdeb395" ma:taxonomyFieldName="MYENTSOE_Classification4" ma:displayName="Classification 4" ma:readOnly="false" ma:fieldId="{b4c38add-b6ba-4d6e-a04d-5a5e1fdeb395}" ma:sspId="0cf2b176-d4dc-4d18-8c95-51f9f2dafcd3" ma:termSetId="dedbf0d3-7411-4d77-a10b-23d4d399690e" ma:anchorId="00000000-0000-0000-0000-000000000000" ma:open="false" ma:isKeyword="false">
      <xsd:complexType>
        <xsd:sequence>
          <xsd:element ref="pc:Terms" minOccurs="0" maxOccurs="1"/>
        </xsd:sequence>
      </xsd:complexType>
    </xsd:element>
    <xsd:element name="pbee1c4014ca48d69e85f88d499ac871" ma:index="40" nillable="true" ma:taxonomy="true" ma:internalName="pbee1c4014ca48d69e85f88d499ac871" ma:taxonomyFieldName="MYENTSOE_SharingType" ma:displayName="Sharing Type" ma:readOnly="false" ma:default="-1;#Shared|04da8cfa-2b68-4725-9db5-e7b66ab623e6" ma:fieldId="{9bee1c40-14ca-48d6-9e85-f88d499ac871}" ma:sspId="0cf2b176-d4dc-4d18-8c95-51f9f2dafcd3" ma:termSetId="09b229b3-e0b6-423a-b819-7f93001a6e2a" ma:anchorId="00000000-0000-0000-0000-000000000000" ma:open="false" ma:isKeyword="false">
      <xsd:complexType>
        <xsd:sequence>
          <xsd:element ref="pc:Terms" minOccurs="0" maxOccurs="1"/>
        </xsd:sequence>
      </xsd:complexType>
    </xsd:element>
    <xsd:element name="k6f14fe62bd84d3e9f4c290f11b27ed1" ma:index="42" nillable="true" ma:taxonomy="true" ma:internalName="k6f14fe62bd84d3e9f4c290f11b27ed1" ma:taxonomyFieldName="Confidentiality" ma:displayName="Confidentiality" ma:readOnly="false" ma:fieldId="{46f14fe6-2bd8-4d3e-9f4c-290f11b27ed1}" ma:sspId="0cf2b176-d4dc-4d18-8c95-51f9f2dafcd3" ma:termSetId="1aeb3a4d-5a56-4fc5-b0c8-230b3cd7bda4" ma:anchorId="00000000-0000-0000-0000-000000000000" ma:open="false" ma:isKeyword="false">
      <xsd:complexType>
        <xsd:sequence>
          <xsd:element ref="pc:Terms" minOccurs="0" maxOccurs="1"/>
        </xsd:sequence>
      </xsd:complexType>
    </xsd:element>
    <xsd:element name="k48e940cc0754c639dadc8a7b35e5103" ma:index="44" nillable="true" ma:taxonomy="true" ma:internalName="k48e940cc0754c639dadc8a7b35e5103" ma:taxonomyFieldName="MYENTSOE_DataClassification" ma:displayName="Data Classification" ma:fieldId="{448e940c-c075-4c63-9dad-c8a7b35e5103}" ma:sspId="0cf2b176-d4dc-4d18-8c95-51f9f2dafcd3" ma:termSetId="ed1fa8aa-003c-40ab-bfad-ae0429370d98" ma:anchorId="00000000-0000-0000-0000-000000000000" ma:open="false" ma:isKeyword="false">
      <xsd:complexType>
        <xsd:sequence>
          <xsd:element ref="pc:Terms" minOccurs="0" maxOccurs="1"/>
        </xsd:sequence>
      </xsd:complexType>
    </xsd:element>
    <xsd:element name="pa2762511e8c45a99a143d0797376ecf" ma:index="46" nillable="true" ma:taxonomy="true" ma:internalName="pa2762511e8c45a99a143d0797376ecf" ma:taxonomyFieldName="MYENTSOE_DocumentClassification" ma:displayName="Document Classification" ma:fieldId="{9a276251-1e8c-45a9-9a14-3d0797376ecf}" ma:sspId="0cf2b176-d4dc-4d18-8c95-51f9f2dafcd3" ma:termSetId="8b91b5eb-b01b-44d4-a921-6f52ae5aec30" ma:anchorId="00000000-0000-0000-0000-000000000000" ma:open="false" ma:isKeyword="false">
      <xsd:complexType>
        <xsd:sequence>
          <xsd:element ref="pc:Terms" minOccurs="0" maxOccurs="1"/>
        </xsd:sequence>
      </xsd:complexType>
    </xsd:element>
    <xsd:element name="p1852c58db394add9408608ec1b6c45a" ma:index="48" nillable="true" ma:taxonomy="true" ma:internalName="p1852c58db394add9408608ec1b6c45a" ma:taxonomyFieldName="Document_x0020_Category" ma:displayName="Document Category" ma:fieldId="{91852c58-db39-4add-9408-608ec1b6c45a}" ma:sspId="0cf2b176-d4dc-4d18-8c95-51f9f2dafcd3" ma:termSetId="b6272f75-190c-4d15-bd6d-713db5013935"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A6A3DC6-D96E-4665-B894-4DDCCA045DA7}">
  <ds:schemaRefs>
    <ds:schemaRef ds:uri="bca4c1c7-ecb6-4582-a708-ca09c7f7ccf2"/>
    <ds:schemaRef ds:uri="e3335f26-5599-450c-ba5a-6e1632a8eec8"/>
    <ds:schemaRef ds:uri="e3fb2008-9808-4f29-aa32-2f66631018e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781FADE3-1BDE-449F-ADFB-0639F9E42EE8}">
  <ds:schemaRefs>
    <ds:schemaRef ds:uri="http://schemas.microsoft.com/sharepoint/v3/contenttype/forms"/>
  </ds:schemaRefs>
</ds:datastoreItem>
</file>

<file path=customXml/itemProps3.xml><?xml version="1.0" encoding="utf-8"?>
<ds:datastoreItem xmlns:ds="http://schemas.openxmlformats.org/officeDocument/2006/customXml" ds:itemID="{61DE6312-B64B-4ED8-A1CD-2C28BC49111C}">
  <ds:schemaRefs>
    <ds:schemaRef ds:uri="bca4c1c7-ecb6-4582-a708-ca09c7f7ccf2"/>
    <ds:schemaRef ds:uri="e3fb2008-9808-4f29-aa32-2f66631018e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22c8c8a3-66f2-43ac-a16c-90612a5f5b89}" enabled="1" method="Privileged" siteId="{eccd734e-7022-4709-aba5-a5dd77929e27}" contentBits="0" removed="0"/>
  <clbl:label id="{6e118e09-08be-4360-a815-3fc29828016d}" enabled="1" method="Standard" siteId="{15b734ef-4a07-47e7-90f4-22cc84a7af23}" contentBits="0" removed="0"/>
</clbl:labelList>
</file>

<file path=docProps/app.xml><?xml version="1.0" encoding="utf-8"?>
<Properties xmlns="http://schemas.openxmlformats.org/officeDocument/2006/extended-properties" xmlns:vt="http://schemas.openxmlformats.org/officeDocument/2006/docPropsVTypes">
  <Template>entso-e new powerpoint template (2)</Template>
  <Application>Microsoft Office PowerPoint</Application>
  <PresentationFormat>Widescreen</PresentationFormat>
  <Slides>3</Slides>
  <Notes>1</Notes>
  <HiddenSlides>0</HiddenSlides>
  <ScaleCrop>false</ScaleCrop>
  <HeadingPairs>
    <vt:vector size="4" baseType="variant">
      <vt:variant>
        <vt:lpstr>Theme</vt:lpstr>
      </vt:variant>
      <vt:variant>
        <vt:i4>5</vt:i4>
      </vt:variant>
      <vt:variant>
        <vt:lpstr>Slide Titles</vt:lpstr>
      </vt:variant>
      <vt:variant>
        <vt:i4>3</vt:i4>
      </vt:variant>
    </vt:vector>
  </HeadingPairs>
  <TitlesOfParts>
    <vt:vector size="8" baseType="lpstr">
      <vt:lpstr>4_ENTSO-E Content</vt:lpstr>
      <vt:lpstr>5_ENTSO-E Content</vt:lpstr>
      <vt:lpstr>12_Magnus Red 4ENERGY</vt:lpstr>
      <vt:lpstr>Content</vt:lpstr>
      <vt:lpstr>Energinet templates</vt:lpstr>
      <vt:lpstr>PowerPoint Presentation</vt:lpstr>
      <vt:lpstr>LTFBA timeline focused on MP involvement  </vt:lpstr>
      <vt:lpstr>PowerPoint Presentation</vt:lpstr>
    </vt:vector>
  </TitlesOfParts>
  <Company/>
  <LinksUpToDate>false</LinksUpToDate>
  <SharedDoc>false</SharedDoc>
  <HyperlinkBase>https://www.evg-online.org/</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owerPoint Master</dc:subject>
  <dc:creator>RTE</dc:creator>
  <cp:keywords>ENTSO-E PowerPoint</cp:keywords>
  <cp:revision>24</cp:revision>
  <dcterms:created xsi:type="dcterms:W3CDTF">2021-06-08T11:51:26Z</dcterms:created>
  <dcterms:modified xsi:type="dcterms:W3CDTF">2025-06-18T14:20:04Z</dcterms:modified>
  <cp:category>PowerPoint</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TaxKeyword">
    <vt:lpwstr>63;#ENTSO-E PowerPoint|6e3f1693-d05d-43c6-ad09-86e7e46fc6db</vt:lpwstr>
  </property>
  <property fmtid="{D5CDD505-2E9C-101B-9397-08002B2CF9AE}" pid="4" name="Level of Disclosure">
    <vt:lpwstr/>
  </property>
  <property fmtid="{D5CDD505-2E9C-101B-9397-08002B2CF9AE}" pid="5" name="Data Classification">
    <vt:lpwstr/>
  </property>
  <property fmtid="{D5CDD505-2E9C-101B-9397-08002B2CF9AE}" pid="6" name="Data Origin">
    <vt:lpwstr/>
  </property>
  <property fmtid="{D5CDD505-2E9C-101B-9397-08002B2CF9AE}" pid="7" name="ContentTypeId">
    <vt:lpwstr>0x010100470991402C76AE478B96F78D260C0E54010055E83513B5291549B5F7F66D566CAF95</vt:lpwstr>
  </property>
  <property fmtid="{D5CDD505-2E9C-101B-9397-08002B2CF9AE}" pid="8" name="TaxKeywordTaxHTField">
    <vt:lpwstr>ENTSO-E PowerPoint|6e3f1693-d05d-43c6-ad09-86e7e46fc6db</vt:lpwstr>
  </property>
  <property fmtid="{D5CDD505-2E9C-101B-9397-08002B2CF9AE}" pid="9" name="o9b5552cd29f405b8612d2920cb859c4">
    <vt:lpwstr/>
  </property>
  <property fmtid="{D5CDD505-2E9C-101B-9397-08002B2CF9AE}" pid="10" name="TaxCatchAll">
    <vt:lpwstr>4078;#ENTSO-E PowerPoint</vt:lpwstr>
  </property>
  <property fmtid="{D5CDD505-2E9C-101B-9397-08002B2CF9AE}" pid="11" name="i85e4520245b48aa896a2e6f400e83f6">
    <vt:lpwstr/>
  </property>
  <property fmtid="{D5CDD505-2E9C-101B-9397-08002B2CF9AE}" pid="12" name="a11881793d4943049370f281afa2b378">
    <vt:lpwstr/>
  </property>
  <property fmtid="{D5CDD505-2E9C-101B-9397-08002B2CF9AE}" pid="13" name="m21e1f176c4a4ad491d679d83442a8a3">
    <vt:lpwstr/>
  </property>
  <property fmtid="{D5CDD505-2E9C-101B-9397-08002B2CF9AE}" pid="14" name="b">
    <vt:lpwstr/>
  </property>
  <property fmtid="{D5CDD505-2E9C-101B-9397-08002B2CF9AE}" pid="15" name="MSIP_Label_fdb8ca38-d964-47c3-a4bc-9a4163838779_Enabled">
    <vt:lpwstr>true</vt:lpwstr>
  </property>
  <property fmtid="{D5CDD505-2E9C-101B-9397-08002B2CF9AE}" pid="16" name="MSIP_Label_fdb8ca38-d964-47c3-a4bc-9a4163838779_SetDate">
    <vt:lpwstr>2024-09-10T05:46:06Z</vt:lpwstr>
  </property>
  <property fmtid="{D5CDD505-2E9C-101B-9397-08002B2CF9AE}" pid="17" name="MSIP_Label_fdb8ca38-d964-47c3-a4bc-9a4163838779_Method">
    <vt:lpwstr>Privileged</vt:lpwstr>
  </property>
  <property fmtid="{D5CDD505-2E9C-101B-9397-08002B2CF9AE}" pid="18" name="MSIP_Label_fdb8ca38-d964-47c3-a4bc-9a4163838779_Name">
    <vt:lpwstr>Offentlig</vt:lpwstr>
  </property>
  <property fmtid="{D5CDD505-2E9C-101B-9397-08002B2CF9AE}" pid="19" name="MSIP_Label_fdb8ca38-d964-47c3-a4bc-9a4163838779_SiteId">
    <vt:lpwstr>f7619355-6c67-4100-9a78-1847f30742e2</vt:lpwstr>
  </property>
  <property fmtid="{D5CDD505-2E9C-101B-9397-08002B2CF9AE}" pid="20" name="MSIP_Label_fdb8ca38-d964-47c3-a4bc-9a4163838779_ActionId">
    <vt:lpwstr>84a6bfa0-cdb9-4b80-990b-47b74005ed2a</vt:lpwstr>
  </property>
  <property fmtid="{D5CDD505-2E9C-101B-9397-08002B2CF9AE}" pid="21" name="MSIP_Label_fdb8ca38-d964-47c3-a4bc-9a4163838779_ContentBits">
    <vt:lpwstr>0</vt:lpwstr>
  </property>
  <property fmtid="{D5CDD505-2E9C-101B-9397-08002B2CF9AE}" pid="22" name="j7317d09ecf149c08fdb7ebfaf17cdb6">
    <vt:lpwstr>Extranet|922fc1ba-0c8d-4fbf-b30d-83722d0f30f2</vt:lpwstr>
  </property>
  <property fmtid="{D5CDD505-2E9C-101B-9397-08002B2CF9AE}" pid="23" name="fc87a0e2a7b04820b38498334f6da775">
    <vt:lpwstr>MC|7366e961-a820-475f-a3d2-d45454cbc454</vt:lpwstr>
  </property>
  <property fmtid="{D5CDD505-2E9C-101B-9397-08002B2CF9AE}" pid="24" name="f3926a5cec894b0d90ac9caf3ac5c791">
    <vt:lpwstr>Shared|04da8cfa-2b68-4725-9db5-e7b66ab623e6</vt:lpwstr>
  </property>
  <property fmtid="{D5CDD505-2E9C-101B-9397-08002B2CF9AE}" pid="25" name="g72a2b61457b4155a38d59de7dbc1175">
    <vt:lpwstr/>
  </property>
  <property fmtid="{D5CDD505-2E9C-101B-9397-08002B2CF9AE}" pid="26" name="MYENTSOE_Classification2">
    <vt:lpwstr/>
  </property>
  <property fmtid="{D5CDD505-2E9C-101B-9397-08002B2CF9AE}" pid="27" name="Confidentiality">
    <vt:lpwstr/>
  </property>
  <property fmtid="{D5CDD505-2E9C-101B-9397-08002B2CF9AE}" pid="28" name="e179e24c163e4088b29c9670aa0f3d44">
    <vt:lpwstr/>
  </property>
  <property fmtid="{D5CDD505-2E9C-101B-9397-08002B2CF9AE}" pid="29" name="MYENTSOE_SiteType">
    <vt:lpwstr>MYENTSOE</vt:lpwstr>
  </property>
  <property fmtid="{D5CDD505-2E9C-101B-9397-08002B2CF9AE}" pid="30" name="Open to ACER">
    <vt:bool>false</vt:bool>
  </property>
  <property fmtid="{D5CDD505-2E9C-101B-9397-08002B2CF9AE}" pid="31" name="MYENTSOE_Classification3">
    <vt:lpwstr/>
  </property>
  <property fmtid="{D5CDD505-2E9C-101B-9397-08002B2CF9AE}" pid="32" name="kd1857f04f2845dc84bf574066f4bd53">
    <vt:lpwstr/>
  </property>
  <property fmtid="{D5CDD505-2E9C-101B-9397-08002B2CF9AE}" pid="33" name="j6ec0a0604954e67a9d1860ffabfa471">
    <vt:lpwstr/>
  </property>
  <property fmtid="{D5CDD505-2E9C-101B-9397-08002B2CF9AE}" pid="34" name="h197ced533e348df856dc663720d5378">
    <vt:lpwstr/>
  </property>
  <property fmtid="{D5CDD505-2E9C-101B-9397-08002B2CF9AE}" pid="35" name="n8ccbfe2b17d4a4fa53d3eefb8b41767">
    <vt:lpwstr/>
  </property>
  <property fmtid="{D5CDD505-2E9C-101B-9397-08002B2CF9AE}" pid="36" name="MYENTSOE_DocumentClassification">
    <vt:lpwstr/>
  </property>
  <property fmtid="{D5CDD505-2E9C-101B-9397-08002B2CF9AE}" pid="37" name="MYENTSOE_Classification1">
    <vt:lpwstr/>
  </property>
  <property fmtid="{D5CDD505-2E9C-101B-9397-08002B2CF9AE}" pid="38" name="MYENTSOE_Classification4">
    <vt:lpwstr/>
  </property>
  <property fmtid="{D5CDD505-2E9C-101B-9397-08002B2CF9AE}" pid="39" name="kdae264e823b474f8072feb43cf016ff">
    <vt:lpwstr/>
  </property>
  <property fmtid="{D5CDD505-2E9C-101B-9397-08002B2CF9AE}" pid="40" name="MYENTSOE_DataClassification">
    <vt:lpwstr/>
  </property>
  <property fmtid="{D5CDD505-2E9C-101B-9397-08002B2CF9AE}" pid="41" name="Open to EC">
    <vt:bool>false</vt:bool>
  </property>
  <property fmtid="{D5CDD505-2E9C-101B-9397-08002B2CF9AE}" pid="42" name="Document Category">
    <vt:lpwstr/>
  </property>
  <property fmtid="{D5CDD505-2E9C-101B-9397-08002B2CF9AE}" pid="43" name="Document_x0020_Category">
    <vt:lpwstr/>
  </property>
  <property fmtid="{D5CDD505-2E9C-101B-9397-08002B2CF9AE}" pid="44" name="MYENTSOE_PublicType">
    <vt:lpwstr>3;#Extranet|922fc1ba-0c8d-4fbf-b30d-83722d0f30f2</vt:lpwstr>
  </property>
  <property fmtid="{D5CDD505-2E9C-101B-9397-08002B2CF9AE}" pid="45" name="MYENTSOE_SharingType">
    <vt:lpwstr>5;#Shared|04da8cfa-2b68-4725-9db5-e7b66ab623e6</vt:lpwstr>
  </property>
  <property fmtid="{D5CDD505-2E9C-101B-9397-08002B2CF9AE}" pid="46" name="MYENTSOE_Section">
    <vt:lpwstr>4;#MC|7366e961-a820-475f-a3d2-d45454cbc454</vt:lpwstr>
  </property>
</Properties>
</file>